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docx" ContentType="application/vnd.openxmlformats-officedocument.wordprocessingml.document"/>
  <Default Extension="vml" ContentType="application/vnd.openxmlformats-officedocument.vmlDrawing"/>
  <Default Extension="doc" ContentType="application/msword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heme/themeOverride1.xml" ContentType="application/vnd.openxmlformats-officedocument.themeOverr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ags/tag4.xml" ContentType="application/vnd.openxmlformats-officedocument.presentationml.tags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35"/>
  </p:notesMasterIdLst>
  <p:handoutMasterIdLst>
    <p:handoutMasterId r:id="rId36"/>
  </p:handoutMasterIdLst>
  <p:sldIdLst>
    <p:sldId id="312" r:id="rId2"/>
    <p:sldId id="314" r:id="rId3"/>
    <p:sldId id="311" r:id="rId4"/>
    <p:sldId id="382" r:id="rId5"/>
    <p:sldId id="366" r:id="rId6"/>
    <p:sldId id="367" r:id="rId7"/>
    <p:sldId id="368" r:id="rId8"/>
    <p:sldId id="370" r:id="rId9"/>
    <p:sldId id="358" r:id="rId10"/>
    <p:sldId id="301" r:id="rId11"/>
    <p:sldId id="302" r:id="rId12"/>
    <p:sldId id="303" r:id="rId13"/>
    <p:sldId id="304" r:id="rId14"/>
    <p:sldId id="371" r:id="rId15"/>
    <p:sldId id="374" r:id="rId16"/>
    <p:sldId id="379" r:id="rId17"/>
    <p:sldId id="380" r:id="rId18"/>
    <p:sldId id="381" r:id="rId19"/>
    <p:sldId id="360" r:id="rId20"/>
    <p:sldId id="351" r:id="rId21"/>
    <p:sldId id="333" r:id="rId22"/>
    <p:sldId id="339" r:id="rId23"/>
    <p:sldId id="340" r:id="rId24"/>
    <p:sldId id="334" r:id="rId25"/>
    <p:sldId id="349" r:id="rId26"/>
    <p:sldId id="361" r:id="rId27"/>
    <p:sldId id="373" r:id="rId28"/>
    <p:sldId id="362" r:id="rId29"/>
    <p:sldId id="332" r:id="rId30"/>
    <p:sldId id="363" r:id="rId31"/>
    <p:sldId id="365" r:id="rId32"/>
    <p:sldId id="372" r:id="rId33"/>
    <p:sldId id="261" r:id="rId34"/>
  </p:sldIdLst>
  <p:sldSz cx="9144000" cy="5143500" type="screen16x9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94949"/>
    <a:srgbClr val="F2F2F2"/>
    <a:srgbClr val="B7ECFF"/>
    <a:srgbClr val="E7F9FF"/>
    <a:srgbClr val="F6D072"/>
    <a:srgbClr val="79D06A"/>
    <a:srgbClr val="FFC6B7"/>
    <a:srgbClr val="A20000"/>
    <a:srgbClr val="A40000"/>
    <a:srgbClr val="9E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浅色样式 3 - 强调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999" autoAdjust="0"/>
    <p:restoredTop sz="96182" autoAdjust="0"/>
  </p:normalViewPr>
  <p:slideViewPr>
    <p:cSldViewPr snapToGrid="0">
      <p:cViewPr varScale="1">
        <p:scale>
          <a:sx n="148" d="100"/>
          <a:sy n="148" d="100"/>
        </p:scale>
        <p:origin x="144" y="126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heme" Target="theme/theme1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2" Type="http://schemas.openxmlformats.org/officeDocument/2006/relationships/image" Target="../media/image27.wmf"/><Relationship Id="rId1" Type="http://schemas.openxmlformats.org/officeDocument/2006/relationships/image" Target="../media/image26.w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w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19/5/31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93444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19/5/31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6280" y="1143000"/>
            <a:ext cx="548544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444890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286000" y="514350"/>
            <a:ext cx="4572000" cy="2571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 dirty="0" smtClean="0"/>
              <a:t>My First Templ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784488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286000" y="514350"/>
            <a:ext cx="4572000" cy="2571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 dirty="0" smtClean="0"/>
              <a:t>My First Templ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50014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286000" y="514350"/>
            <a:ext cx="4572000" cy="2571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 dirty="0" smtClean="0"/>
              <a:t>My First Templ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792017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286000" y="514350"/>
            <a:ext cx="4572000" cy="2571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 dirty="0" smtClean="0"/>
              <a:t>My First Templ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412950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286000" y="514350"/>
            <a:ext cx="4572000" cy="2571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 dirty="0" smtClean="0"/>
              <a:t>My First Templ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950055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>
                <a:solidFill>
                  <a:prstClr val="black"/>
                </a:solidFill>
              </a:rPr>
              <a:t>27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484548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286000" y="514350"/>
            <a:ext cx="4572000" cy="2571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 dirty="0" smtClean="0"/>
              <a:t>My First Templ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925196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>
                <a:solidFill>
                  <a:prstClr val="black"/>
                </a:solidFill>
              </a:rPr>
              <a:t>31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493989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>
                <a:solidFill>
                  <a:prstClr val="black"/>
                </a:solidFill>
              </a:rPr>
              <a:t>32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462001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57200" indent="-457200">
              <a:buFont typeface="+mj-lt"/>
              <a:buAutoNum type="arabicPeriod"/>
            </a:pPr>
            <a:endParaRPr lang="en-US" altLang="zh-CN" sz="1200" dirty="0" smtClean="0">
              <a:latin typeface="仿宋" panose="02010609060101010101" charset="-122"/>
              <a:ea typeface="仿宋" panose="02010609060101010101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ADB879F-D16B-4D60-A4F6-02DA709B8177}" type="slidenum">
              <a:rPr lang="zh-CN" altLang="en-US" smtClean="0">
                <a:solidFill>
                  <a:prstClr val="black"/>
                </a:solidFill>
              </a:rPr>
              <a:t>5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280854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sz="1600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>
                <a:solidFill>
                  <a:prstClr val="black"/>
                </a:solidFill>
              </a:rPr>
              <a:t>6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60901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>
                <a:solidFill>
                  <a:prstClr val="black"/>
                </a:solidFill>
              </a:rPr>
              <a:t>7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304594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286000" y="514350"/>
            <a:ext cx="4572000" cy="2571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 dirty="0" smtClean="0"/>
              <a:t>My First Templ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399742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286000" y="514350"/>
            <a:ext cx="4572000" cy="2571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 dirty="0" smtClean="0"/>
              <a:t>My First Templ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622055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286000" y="514350"/>
            <a:ext cx="4572000" cy="2571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 dirty="0" smtClean="0"/>
              <a:t>My First Templ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074601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286000" y="514350"/>
            <a:ext cx="4572000" cy="2571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 dirty="0" smtClean="0"/>
              <a:t>My First Templ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555992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286000" y="514350"/>
            <a:ext cx="4572000" cy="2571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 dirty="0" smtClean="0"/>
              <a:t>My First Templ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20909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rgbClr val="E7F9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502444" y="3610606"/>
            <a:ext cx="8134350" cy="298837"/>
          </a:xfrm>
        </p:spPr>
        <p:txBody>
          <a:bodyPr anchor="t">
            <a:normAutofit/>
          </a:bodyPr>
          <a:lstStyle>
            <a:lvl1pPr marL="0" indent="0" algn="ctr">
              <a:buNone/>
              <a:defRPr sz="900">
                <a:solidFill>
                  <a:schemeClr val="accent1">
                    <a:lumMod val="50000"/>
                  </a:schemeClr>
                </a:solidFill>
              </a:defRPr>
            </a:lvl1pPr>
            <a:lvl2pPr marL="257175" indent="0" algn="ctr">
              <a:buNone/>
              <a:defRPr sz="1125"/>
            </a:lvl2pPr>
            <a:lvl3pPr marL="514350" indent="0" algn="ctr">
              <a:buNone/>
              <a:defRPr sz="1015"/>
            </a:lvl3pPr>
            <a:lvl4pPr marL="771525" indent="0" algn="ctr">
              <a:buNone/>
              <a:defRPr sz="900"/>
            </a:lvl4pPr>
            <a:lvl5pPr marL="1028700" indent="0" algn="ctr">
              <a:buNone/>
              <a:defRPr sz="900"/>
            </a:lvl5pPr>
            <a:lvl6pPr marL="1285875" indent="0" algn="ctr">
              <a:buNone/>
              <a:defRPr sz="900"/>
            </a:lvl6pPr>
            <a:lvl7pPr marL="1543050" indent="0" algn="ctr">
              <a:buNone/>
              <a:defRPr sz="900"/>
            </a:lvl7pPr>
            <a:lvl8pPr marL="1800225" indent="0" algn="ctr">
              <a:buNone/>
              <a:defRPr sz="900"/>
            </a:lvl8pPr>
            <a:lvl9pPr marL="2058035" indent="0" algn="ctr">
              <a:buNone/>
              <a:defRPr sz="9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502444" y="2055314"/>
            <a:ext cx="8134350" cy="1555292"/>
          </a:xfrm>
        </p:spPr>
        <p:txBody>
          <a:bodyPr anchor="b">
            <a:normAutofit/>
          </a:bodyPr>
          <a:lstStyle>
            <a:lvl1pPr algn="ctr">
              <a:defRPr sz="225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504824" y="3899979"/>
            <a:ext cx="8134350" cy="222242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790" b="0">
                <a:solidFill>
                  <a:schemeClr val="accent1">
                    <a:lumMod val="50000"/>
                  </a:schemeClr>
                </a:solidFill>
              </a:defRPr>
            </a:lvl1pPr>
            <a:lvl2pPr marL="257175" indent="0">
              <a:buNone/>
              <a:defRPr/>
            </a:lvl2pPr>
            <a:lvl3pPr marL="514350" indent="0">
              <a:buNone/>
              <a:defRPr/>
            </a:lvl3pPr>
            <a:lvl4pPr marL="771525" indent="0">
              <a:buNone/>
              <a:defRPr/>
            </a:lvl4pPr>
            <a:lvl5pPr marL="10287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504824" y="4128999"/>
            <a:ext cx="8134350" cy="222242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790" b="0">
                <a:solidFill>
                  <a:schemeClr val="accent1">
                    <a:lumMod val="50000"/>
                  </a:schemeClr>
                </a:solidFill>
              </a:defRPr>
            </a:lvl1pPr>
            <a:lvl2pPr marL="257175" indent="0">
              <a:buNone/>
              <a:defRPr/>
            </a:lvl2pPr>
            <a:lvl3pPr marL="514350" indent="0">
              <a:buNone/>
              <a:defRPr/>
            </a:lvl3pPr>
            <a:lvl4pPr marL="771525" indent="0">
              <a:buNone/>
              <a:defRPr/>
            </a:lvl4pPr>
            <a:lvl5pPr marL="10287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2463737" y="2388987"/>
            <a:ext cx="2821277" cy="671630"/>
          </a:xfrm>
        </p:spPr>
        <p:txBody>
          <a:bodyPr anchor="b">
            <a:normAutofit/>
          </a:bodyPr>
          <a:lstStyle>
            <a:lvl1pPr algn="l">
              <a:defRPr sz="1350" b="1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2464574" y="3060618"/>
            <a:ext cx="2821277" cy="761851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620">
                <a:solidFill>
                  <a:schemeClr val="accent1">
                    <a:lumMod val="50000"/>
                  </a:schemeClr>
                </a:solidFill>
              </a:defRPr>
            </a:lvl1pPr>
            <a:lvl2pPr marL="257175" indent="0">
              <a:buNone/>
              <a:defRPr sz="1125">
                <a:solidFill>
                  <a:schemeClr val="tx1">
                    <a:tint val="75000"/>
                  </a:schemeClr>
                </a:solidFill>
              </a:defRPr>
            </a:lvl2pPr>
            <a:lvl3pPr marL="514350" indent="0">
              <a:buNone/>
              <a:defRPr sz="1015">
                <a:solidFill>
                  <a:schemeClr val="tx1">
                    <a:tint val="75000"/>
                  </a:schemeClr>
                </a:solidFill>
              </a:defRPr>
            </a:lvl3pPr>
            <a:lvl4pPr marL="771525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4pPr>
            <a:lvl5pPr marL="1028700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5pPr>
            <a:lvl6pPr marL="1285875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6pPr>
            <a:lvl7pPr marL="1543050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7pPr>
            <a:lvl8pPr marL="1800225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8pPr>
            <a:lvl9pPr marL="2058035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grpSp>
        <p:nvGrpSpPr>
          <p:cNvPr id="330" name="组合 329"/>
          <p:cNvGrpSpPr/>
          <p:nvPr userDrawn="1"/>
        </p:nvGrpSpPr>
        <p:grpSpPr>
          <a:xfrm>
            <a:off x="5451475" y="1748790"/>
            <a:ext cx="3461385" cy="2383155"/>
            <a:chOff x="4182268" y="1357312"/>
            <a:chExt cx="3821113" cy="2555877"/>
          </a:xfrm>
        </p:grpSpPr>
        <p:sp>
          <p:nvSpPr>
            <p:cNvPr id="331" name="Oval 5"/>
            <p:cNvSpPr>
              <a:spLocks noChangeArrowheads="1"/>
            </p:cNvSpPr>
            <p:nvPr userDrawn="1"/>
          </p:nvSpPr>
          <p:spPr bwMode="auto">
            <a:xfrm>
              <a:off x="4509293" y="3679826"/>
              <a:ext cx="3232150" cy="233363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32" name="Freeform 6"/>
            <p:cNvSpPr/>
            <p:nvPr userDrawn="1"/>
          </p:nvSpPr>
          <p:spPr bwMode="auto">
            <a:xfrm>
              <a:off x="6661943" y="3721101"/>
              <a:ext cx="122238" cy="42863"/>
            </a:xfrm>
            <a:custGeom>
              <a:avLst/>
              <a:gdLst>
                <a:gd name="T0" fmla="*/ 16 w 45"/>
                <a:gd name="T1" fmla="*/ 0 h 16"/>
                <a:gd name="T2" fmla="*/ 44 w 45"/>
                <a:gd name="T3" fmla="*/ 11 h 16"/>
                <a:gd name="T4" fmla="*/ 44 w 45"/>
                <a:gd name="T5" fmla="*/ 16 h 16"/>
                <a:gd name="T6" fmla="*/ 0 w 45"/>
                <a:gd name="T7" fmla="*/ 16 h 16"/>
                <a:gd name="T8" fmla="*/ 0 w 45"/>
                <a:gd name="T9" fmla="*/ 0 h 16"/>
                <a:gd name="T10" fmla="*/ 16 w 45"/>
                <a:gd name="T11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5" h="16">
                  <a:moveTo>
                    <a:pt x="16" y="0"/>
                  </a:moveTo>
                  <a:cubicBezTo>
                    <a:pt x="16" y="0"/>
                    <a:pt x="43" y="10"/>
                    <a:pt x="44" y="11"/>
                  </a:cubicBezTo>
                  <a:cubicBezTo>
                    <a:pt x="45" y="12"/>
                    <a:pt x="44" y="16"/>
                    <a:pt x="44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6" y="0"/>
                  </a:lnTo>
                  <a:close/>
                </a:path>
              </a:pathLst>
            </a:custGeom>
            <a:solidFill>
              <a:srgbClr val="E6E6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33" name="Freeform 7"/>
            <p:cNvSpPr/>
            <p:nvPr userDrawn="1"/>
          </p:nvSpPr>
          <p:spPr bwMode="auto">
            <a:xfrm>
              <a:off x="6542881" y="3721101"/>
              <a:ext cx="119063" cy="42863"/>
            </a:xfrm>
            <a:custGeom>
              <a:avLst/>
              <a:gdLst>
                <a:gd name="T0" fmla="*/ 29 w 44"/>
                <a:gd name="T1" fmla="*/ 0 h 16"/>
                <a:gd name="T2" fmla="*/ 1 w 44"/>
                <a:gd name="T3" fmla="*/ 11 h 16"/>
                <a:gd name="T4" fmla="*/ 1 w 44"/>
                <a:gd name="T5" fmla="*/ 16 h 16"/>
                <a:gd name="T6" fmla="*/ 44 w 44"/>
                <a:gd name="T7" fmla="*/ 16 h 16"/>
                <a:gd name="T8" fmla="*/ 44 w 44"/>
                <a:gd name="T9" fmla="*/ 0 h 16"/>
                <a:gd name="T10" fmla="*/ 29 w 44"/>
                <a:gd name="T11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" h="16">
                  <a:moveTo>
                    <a:pt x="29" y="0"/>
                  </a:moveTo>
                  <a:cubicBezTo>
                    <a:pt x="29" y="0"/>
                    <a:pt x="2" y="10"/>
                    <a:pt x="1" y="11"/>
                  </a:cubicBezTo>
                  <a:cubicBezTo>
                    <a:pt x="0" y="12"/>
                    <a:pt x="1" y="16"/>
                    <a:pt x="1" y="16"/>
                  </a:cubicBezTo>
                  <a:cubicBezTo>
                    <a:pt x="44" y="16"/>
                    <a:pt x="44" y="16"/>
                    <a:pt x="44" y="16"/>
                  </a:cubicBezTo>
                  <a:cubicBezTo>
                    <a:pt x="44" y="0"/>
                    <a:pt x="44" y="0"/>
                    <a:pt x="44" y="0"/>
                  </a:cubicBezTo>
                  <a:lnTo>
                    <a:pt x="29" y="0"/>
                  </a:lnTo>
                  <a:close/>
                </a:path>
              </a:pathLst>
            </a:custGeom>
            <a:solidFill>
              <a:srgbClr val="E6E6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34" name="Freeform 8"/>
            <p:cNvSpPr/>
            <p:nvPr userDrawn="1"/>
          </p:nvSpPr>
          <p:spPr bwMode="auto">
            <a:xfrm>
              <a:off x="6566693" y="3078163"/>
              <a:ext cx="196850" cy="642938"/>
            </a:xfrm>
            <a:custGeom>
              <a:avLst/>
              <a:gdLst>
                <a:gd name="T0" fmla="*/ 7 w 124"/>
                <a:gd name="T1" fmla="*/ 84 h 405"/>
                <a:gd name="T2" fmla="*/ 35 w 124"/>
                <a:gd name="T3" fmla="*/ 405 h 405"/>
                <a:gd name="T4" fmla="*/ 60 w 124"/>
                <a:gd name="T5" fmla="*/ 405 h 405"/>
                <a:gd name="T6" fmla="*/ 88 w 124"/>
                <a:gd name="T7" fmla="*/ 405 h 405"/>
                <a:gd name="T8" fmla="*/ 117 w 124"/>
                <a:gd name="T9" fmla="*/ 86 h 405"/>
                <a:gd name="T10" fmla="*/ 124 w 124"/>
                <a:gd name="T11" fmla="*/ 0 h 405"/>
                <a:gd name="T12" fmla="*/ 0 w 124"/>
                <a:gd name="T13" fmla="*/ 0 h 405"/>
                <a:gd name="T14" fmla="*/ 7 w 124"/>
                <a:gd name="T15" fmla="*/ 84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4" h="405">
                  <a:moveTo>
                    <a:pt x="7" y="84"/>
                  </a:moveTo>
                  <a:lnTo>
                    <a:pt x="35" y="405"/>
                  </a:lnTo>
                  <a:lnTo>
                    <a:pt x="60" y="405"/>
                  </a:lnTo>
                  <a:lnTo>
                    <a:pt x="88" y="405"/>
                  </a:lnTo>
                  <a:lnTo>
                    <a:pt x="117" y="86"/>
                  </a:lnTo>
                  <a:lnTo>
                    <a:pt x="124" y="0"/>
                  </a:lnTo>
                  <a:lnTo>
                    <a:pt x="0" y="0"/>
                  </a:lnTo>
                  <a:lnTo>
                    <a:pt x="7" y="84"/>
                  </a:lnTo>
                  <a:close/>
                </a:path>
              </a:pathLst>
            </a:custGeom>
            <a:solidFill>
              <a:srgbClr val="D99C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35" name="Freeform 9"/>
            <p:cNvSpPr/>
            <p:nvPr userDrawn="1"/>
          </p:nvSpPr>
          <p:spPr bwMode="auto">
            <a:xfrm>
              <a:off x="6509543" y="3078163"/>
              <a:ext cx="320675" cy="414338"/>
            </a:xfrm>
            <a:custGeom>
              <a:avLst/>
              <a:gdLst>
                <a:gd name="T0" fmla="*/ 12 w 202"/>
                <a:gd name="T1" fmla="*/ 74 h 261"/>
                <a:gd name="T2" fmla="*/ 0 w 202"/>
                <a:gd name="T3" fmla="*/ 261 h 261"/>
                <a:gd name="T4" fmla="*/ 202 w 202"/>
                <a:gd name="T5" fmla="*/ 261 h 261"/>
                <a:gd name="T6" fmla="*/ 185 w 202"/>
                <a:gd name="T7" fmla="*/ 72 h 261"/>
                <a:gd name="T8" fmla="*/ 160 w 202"/>
                <a:gd name="T9" fmla="*/ 0 h 261"/>
                <a:gd name="T10" fmla="*/ 36 w 202"/>
                <a:gd name="T11" fmla="*/ 0 h 261"/>
                <a:gd name="T12" fmla="*/ 12 w 202"/>
                <a:gd name="T13" fmla="*/ 74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2" h="261">
                  <a:moveTo>
                    <a:pt x="12" y="74"/>
                  </a:moveTo>
                  <a:lnTo>
                    <a:pt x="0" y="261"/>
                  </a:lnTo>
                  <a:lnTo>
                    <a:pt x="202" y="261"/>
                  </a:lnTo>
                  <a:lnTo>
                    <a:pt x="185" y="72"/>
                  </a:lnTo>
                  <a:lnTo>
                    <a:pt x="160" y="0"/>
                  </a:lnTo>
                  <a:lnTo>
                    <a:pt x="36" y="0"/>
                  </a:lnTo>
                  <a:lnTo>
                    <a:pt x="12" y="74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36" name="Rectangle 10"/>
            <p:cNvSpPr>
              <a:spLocks noChangeArrowheads="1"/>
            </p:cNvSpPr>
            <p:nvPr userDrawn="1"/>
          </p:nvSpPr>
          <p:spPr bwMode="auto">
            <a:xfrm>
              <a:off x="6634956" y="2689226"/>
              <a:ext cx="57150" cy="82550"/>
            </a:xfrm>
            <a:prstGeom prst="rect">
              <a:avLst/>
            </a:prstGeom>
            <a:solidFill>
              <a:srgbClr val="BD89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37" name="Freeform 11"/>
            <p:cNvSpPr/>
            <p:nvPr userDrawn="1"/>
          </p:nvSpPr>
          <p:spPr bwMode="auto">
            <a:xfrm>
              <a:off x="6474618" y="2935288"/>
              <a:ext cx="79375" cy="293688"/>
            </a:xfrm>
            <a:custGeom>
              <a:avLst/>
              <a:gdLst>
                <a:gd name="T0" fmla="*/ 18 w 29"/>
                <a:gd name="T1" fmla="*/ 93 h 108"/>
                <a:gd name="T2" fmla="*/ 20 w 29"/>
                <a:gd name="T3" fmla="*/ 90 h 108"/>
                <a:gd name="T4" fmla="*/ 16 w 29"/>
                <a:gd name="T5" fmla="*/ 83 h 108"/>
                <a:gd name="T6" fmla="*/ 20 w 29"/>
                <a:gd name="T7" fmla="*/ 24 h 108"/>
                <a:gd name="T8" fmla="*/ 29 w 29"/>
                <a:gd name="T9" fmla="*/ 0 h 108"/>
                <a:gd name="T10" fmla="*/ 8 w 29"/>
                <a:gd name="T11" fmla="*/ 1 h 108"/>
                <a:gd name="T12" fmla="*/ 5 w 29"/>
                <a:gd name="T13" fmla="*/ 25 h 108"/>
                <a:gd name="T14" fmla="*/ 5 w 29"/>
                <a:gd name="T15" fmla="*/ 83 h 108"/>
                <a:gd name="T16" fmla="*/ 1 w 29"/>
                <a:gd name="T17" fmla="*/ 98 h 108"/>
                <a:gd name="T18" fmla="*/ 11 w 29"/>
                <a:gd name="T19" fmla="*/ 108 h 108"/>
                <a:gd name="T20" fmla="*/ 21 w 29"/>
                <a:gd name="T21" fmla="*/ 99 h 108"/>
                <a:gd name="T22" fmla="*/ 18 w 29"/>
                <a:gd name="T23" fmla="*/ 9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9" h="108">
                  <a:moveTo>
                    <a:pt x="18" y="93"/>
                  </a:moveTo>
                  <a:cubicBezTo>
                    <a:pt x="18" y="93"/>
                    <a:pt x="19" y="92"/>
                    <a:pt x="20" y="90"/>
                  </a:cubicBezTo>
                  <a:cubicBezTo>
                    <a:pt x="20" y="87"/>
                    <a:pt x="16" y="83"/>
                    <a:pt x="16" y="83"/>
                  </a:cubicBezTo>
                  <a:cubicBezTo>
                    <a:pt x="20" y="24"/>
                    <a:pt x="20" y="24"/>
                    <a:pt x="20" y="24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5" y="25"/>
                    <a:pt x="5" y="25"/>
                    <a:pt x="5" y="25"/>
                  </a:cubicBezTo>
                  <a:cubicBezTo>
                    <a:pt x="5" y="83"/>
                    <a:pt x="5" y="83"/>
                    <a:pt x="5" y="83"/>
                  </a:cubicBezTo>
                  <a:cubicBezTo>
                    <a:pt x="4" y="89"/>
                    <a:pt x="0" y="95"/>
                    <a:pt x="1" y="98"/>
                  </a:cubicBezTo>
                  <a:cubicBezTo>
                    <a:pt x="3" y="101"/>
                    <a:pt x="8" y="108"/>
                    <a:pt x="11" y="108"/>
                  </a:cubicBezTo>
                  <a:cubicBezTo>
                    <a:pt x="15" y="106"/>
                    <a:pt x="20" y="104"/>
                    <a:pt x="21" y="99"/>
                  </a:cubicBezTo>
                  <a:cubicBezTo>
                    <a:pt x="21" y="96"/>
                    <a:pt x="18" y="93"/>
                    <a:pt x="18" y="93"/>
                  </a:cubicBezTo>
                  <a:close/>
                </a:path>
              </a:pathLst>
            </a:custGeom>
            <a:solidFill>
              <a:srgbClr val="E8A7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38" name="Freeform 12"/>
            <p:cNvSpPr/>
            <p:nvPr userDrawn="1"/>
          </p:nvSpPr>
          <p:spPr bwMode="auto">
            <a:xfrm>
              <a:off x="6496843" y="2935288"/>
              <a:ext cx="57150" cy="26988"/>
            </a:xfrm>
            <a:custGeom>
              <a:avLst/>
              <a:gdLst>
                <a:gd name="T0" fmla="*/ 29 w 36"/>
                <a:gd name="T1" fmla="*/ 17 h 17"/>
                <a:gd name="T2" fmla="*/ 36 w 36"/>
                <a:gd name="T3" fmla="*/ 0 h 17"/>
                <a:gd name="T4" fmla="*/ 0 w 36"/>
                <a:gd name="T5" fmla="*/ 1 h 17"/>
                <a:gd name="T6" fmla="*/ 0 w 36"/>
                <a:gd name="T7" fmla="*/ 7 h 17"/>
                <a:gd name="T8" fmla="*/ 29 w 36"/>
                <a:gd name="T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17">
                  <a:moveTo>
                    <a:pt x="29" y="17"/>
                  </a:moveTo>
                  <a:lnTo>
                    <a:pt x="36" y="0"/>
                  </a:lnTo>
                  <a:lnTo>
                    <a:pt x="0" y="1"/>
                  </a:lnTo>
                  <a:lnTo>
                    <a:pt x="0" y="7"/>
                  </a:lnTo>
                  <a:lnTo>
                    <a:pt x="29" y="17"/>
                  </a:lnTo>
                  <a:close/>
                </a:path>
              </a:pathLst>
            </a:custGeom>
            <a:solidFill>
              <a:srgbClr val="BD89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39" name="Freeform 13"/>
            <p:cNvSpPr/>
            <p:nvPr userDrawn="1"/>
          </p:nvSpPr>
          <p:spPr bwMode="auto">
            <a:xfrm>
              <a:off x="6493668" y="2757488"/>
              <a:ext cx="90488" cy="196850"/>
            </a:xfrm>
            <a:custGeom>
              <a:avLst/>
              <a:gdLst>
                <a:gd name="T0" fmla="*/ 23 w 33"/>
                <a:gd name="T1" fmla="*/ 0 h 72"/>
                <a:gd name="T2" fmla="*/ 0 w 33"/>
                <a:gd name="T3" fmla="*/ 67 h 72"/>
                <a:gd name="T4" fmla="*/ 21 w 33"/>
                <a:gd name="T5" fmla="*/ 72 h 72"/>
                <a:gd name="T6" fmla="*/ 33 w 33"/>
                <a:gd name="T7" fmla="*/ 34 h 72"/>
                <a:gd name="T8" fmla="*/ 23 w 33"/>
                <a:gd name="T9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72">
                  <a:moveTo>
                    <a:pt x="23" y="0"/>
                  </a:moveTo>
                  <a:cubicBezTo>
                    <a:pt x="14" y="0"/>
                    <a:pt x="0" y="67"/>
                    <a:pt x="0" y="67"/>
                  </a:cubicBezTo>
                  <a:cubicBezTo>
                    <a:pt x="21" y="72"/>
                    <a:pt x="21" y="72"/>
                    <a:pt x="21" y="72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4"/>
                    <a:pt x="30" y="0"/>
                    <a:pt x="23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40" name="Freeform 14"/>
            <p:cNvSpPr/>
            <p:nvPr userDrawn="1"/>
          </p:nvSpPr>
          <p:spPr bwMode="auto">
            <a:xfrm>
              <a:off x="6779418" y="2935288"/>
              <a:ext cx="73025" cy="293688"/>
            </a:xfrm>
            <a:custGeom>
              <a:avLst/>
              <a:gdLst>
                <a:gd name="T0" fmla="*/ 9 w 27"/>
                <a:gd name="T1" fmla="*/ 93 h 108"/>
                <a:gd name="T2" fmla="*/ 7 w 27"/>
                <a:gd name="T3" fmla="*/ 90 h 108"/>
                <a:gd name="T4" fmla="*/ 11 w 27"/>
                <a:gd name="T5" fmla="*/ 83 h 108"/>
                <a:gd name="T6" fmla="*/ 12 w 27"/>
                <a:gd name="T7" fmla="*/ 83 h 108"/>
                <a:gd name="T8" fmla="*/ 6 w 27"/>
                <a:gd name="T9" fmla="*/ 22 h 108"/>
                <a:gd name="T10" fmla="*/ 0 w 27"/>
                <a:gd name="T11" fmla="*/ 3 h 108"/>
                <a:gd name="T12" fmla="*/ 18 w 27"/>
                <a:gd name="T13" fmla="*/ 0 h 108"/>
                <a:gd name="T14" fmla="*/ 22 w 27"/>
                <a:gd name="T15" fmla="*/ 21 h 108"/>
                <a:gd name="T16" fmla="*/ 22 w 27"/>
                <a:gd name="T17" fmla="*/ 83 h 108"/>
                <a:gd name="T18" fmla="*/ 26 w 27"/>
                <a:gd name="T19" fmla="*/ 98 h 108"/>
                <a:gd name="T20" fmla="*/ 16 w 27"/>
                <a:gd name="T21" fmla="*/ 108 h 108"/>
                <a:gd name="T22" fmla="*/ 5 w 27"/>
                <a:gd name="T23" fmla="*/ 99 h 108"/>
                <a:gd name="T24" fmla="*/ 9 w 27"/>
                <a:gd name="T25" fmla="*/ 9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" h="108">
                  <a:moveTo>
                    <a:pt x="9" y="93"/>
                  </a:moveTo>
                  <a:cubicBezTo>
                    <a:pt x="9" y="93"/>
                    <a:pt x="7" y="92"/>
                    <a:pt x="7" y="90"/>
                  </a:cubicBezTo>
                  <a:cubicBezTo>
                    <a:pt x="6" y="87"/>
                    <a:pt x="11" y="83"/>
                    <a:pt x="11" y="83"/>
                  </a:cubicBezTo>
                  <a:cubicBezTo>
                    <a:pt x="12" y="83"/>
                    <a:pt x="12" y="83"/>
                    <a:pt x="12" y="83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2" y="83"/>
                    <a:pt x="22" y="83"/>
                    <a:pt x="22" y="83"/>
                  </a:cubicBezTo>
                  <a:cubicBezTo>
                    <a:pt x="22" y="89"/>
                    <a:pt x="27" y="95"/>
                    <a:pt x="26" y="98"/>
                  </a:cubicBezTo>
                  <a:cubicBezTo>
                    <a:pt x="23" y="101"/>
                    <a:pt x="19" y="108"/>
                    <a:pt x="16" y="108"/>
                  </a:cubicBezTo>
                  <a:cubicBezTo>
                    <a:pt x="12" y="106"/>
                    <a:pt x="7" y="104"/>
                    <a:pt x="5" y="99"/>
                  </a:cubicBezTo>
                  <a:cubicBezTo>
                    <a:pt x="6" y="96"/>
                    <a:pt x="9" y="93"/>
                    <a:pt x="9" y="93"/>
                  </a:cubicBezTo>
                  <a:close/>
                </a:path>
              </a:pathLst>
            </a:custGeom>
            <a:solidFill>
              <a:srgbClr val="E8A7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41" name="Freeform 15"/>
            <p:cNvSpPr/>
            <p:nvPr userDrawn="1"/>
          </p:nvSpPr>
          <p:spPr bwMode="auto">
            <a:xfrm>
              <a:off x="6779418" y="2935288"/>
              <a:ext cx="50800" cy="19050"/>
            </a:xfrm>
            <a:custGeom>
              <a:avLst/>
              <a:gdLst>
                <a:gd name="T0" fmla="*/ 2 w 32"/>
                <a:gd name="T1" fmla="*/ 12 h 12"/>
                <a:gd name="T2" fmla="*/ 0 w 32"/>
                <a:gd name="T3" fmla="*/ 5 h 12"/>
                <a:gd name="T4" fmla="*/ 31 w 32"/>
                <a:gd name="T5" fmla="*/ 0 h 12"/>
                <a:gd name="T6" fmla="*/ 32 w 32"/>
                <a:gd name="T7" fmla="*/ 7 h 12"/>
                <a:gd name="T8" fmla="*/ 2 w 32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2">
                  <a:moveTo>
                    <a:pt x="2" y="12"/>
                  </a:moveTo>
                  <a:lnTo>
                    <a:pt x="0" y="5"/>
                  </a:lnTo>
                  <a:lnTo>
                    <a:pt x="31" y="0"/>
                  </a:lnTo>
                  <a:lnTo>
                    <a:pt x="32" y="7"/>
                  </a:lnTo>
                  <a:lnTo>
                    <a:pt x="2" y="12"/>
                  </a:lnTo>
                  <a:close/>
                </a:path>
              </a:pathLst>
            </a:custGeom>
            <a:solidFill>
              <a:srgbClr val="BD89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42" name="Freeform 16"/>
            <p:cNvSpPr/>
            <p:nvPr userDrawn="1"/>
          </p:nvSpPr>
          <p:spPr bwMode="auto">
            <a:xfrm>
              <a:off x="6744493" y="2757488"/>
              <a:ext cx="85725" cy="188913"/>
            </a:xfrm>
            <a:custGeom>
              <a:avLst/>
              <a:gdLst>
                <a:gd name="T0" fmla="*/ 9 w 32"/>
                <a:gd name="T1" fmla="*/ 0 h 69"/>
                <a:gd name="T2" fmla="*/ 32 w 32"/>
                <a:gd name="T3" fmla="*/ 65 h 69"/>
                <a:gd name="T4" fmla="*/ 11 w 32"/>
                <a:gd name="T5" fmla="*/ 69 h 69"/>
                <a:gd name="T6" fmla="*/ 0 w 32"/>
                <a:gd name="T7" fmla="*/ 34 h 69"/>
                <a:gd name="T8" fmla="*/ 9 w 32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69">
                  <a:moveTo>
                    <a:pt x="9" y="0"/>
                  </a:moveTo>
                  <a:cubicBezTo>
                    <a:pt x="19" y="0"/>
                    <a:pt x="32" y="65"/>
                    <a:pt x="32" y="65"/>
                  </a:cubicBezTo>
                  <a:cubicBezTo>
                    <a:pt x="11" y="69"/>
                    <a:pt x="11" y="69"/>
                    <a:pt x="11" y="69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34"/>
                    <a:pt x="3" y="0"/>
                    <a:pt x="9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43" name="Freeform 17"/>
            <p:cNvSpPr/>
            <p:nvPr userDrawn="1"/>
          </p:nvSpPr>
          <p:spPr bwMode="auto">
            <a:xfrm>
              <a:off x="6580981" y="2616201"/>
              <a:ext cx="31750" cy="44450"/>
            </a:xfrm>
            <a:custGeom>
              <a:avLst/>
              <a:gdLst>
                <a:gd name="T0" fmla="*/ 8 w 12"/>
                <a:gd name="T1" fmla="*/ 15 h 16"/>
                <a:gd name="T2" fmla="*/ 1 w 12"/>
                <a:gd name="T3" fmla="*/ 9 h 16"/>
                <a:gd name="T4" fmla="*/ 5 w 12"/>
                <a:gd name="T5" fmla="*/ 1 h 16"/>
                <a:gd name="T6" fmla="*/ 8 w 12"/>
                <a:gd name="T7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6">
                  <a:moveTo>
                    <a:pt x="8" y="15"/>
                  </a:moveTo>
                  <a:cubicBezTo>
                    <a:pt x="5" y="16"/>
                    <a:pt x="1" y="13"/>
                    <a:pt x="1" y="9"/>
                  </a:cubicBezTo>
                  <a:cubicBezTo>
                    <a:pt x="0" y="6"/>
                    <a:pt x="2" y="2"/>
                    <a:pt x="5" y="1"/>
                  </a:cubicBezTo>
                  <a:cubicBezTo>
                    <a:pt x="9" y="0"/>
                    <a:pt x="12" y="14"/>
                    <a:pt x="8" y="15"/>
                  </a:cubicBezTo>
                  <a:close/>
                </a:path>
              </a:pathLst>
            </a:custGeom>
            <a:solidFill>
              <a:srgbClr val="E8A7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44" name="Freeform 18"/>
            <p:cNvSpPr/>
            <p:nvPr userDrawn="1"/>
          </p:nvSpPr>
          <p:spPr bwMode="auto">
            <a:xfrm>
              <a:off x="6714331" y="2616201"/>
              <a:ext cx="31750" cy="44450"/>
            </a:xfrm>
            <a:custGeom>
              <a:avLst/>
              <a:gdLst>
                <a:gd name="T0" fmla="*/ 4 w 12"/>
                <a:gd name="T1" fmla="*/ 15 h 16"/>
                <a:gd name="T2" fmla="*/ 11 w 12"/>
                <a:gd name="T3" fmla="*/ 9 h 16"/>
                <a:gd name="T4" fmla="*/ 6 w 12"/>
                <a:gd name="T5" fmla="*/ 1 h 16"/>
                <a:gd name="T6" fmla="*/ 4 w 12"/>
                <a:gd name="T7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6">
                  <a:moveTo>
                    <a:pt x="4" y="15"/>
                  </a:moveTo>
                  <a:cubicBezTo>
                    <a:pt x="7" y="16"/>
                    <a:pt x="10" y="13"/>
                    <a:pt x="11" y="9"/>
                  </a:cubicBezTo>
                  <a:cubicBezTo>
                    <a:pt x="12" y="6"/>
                    <a:pt x="10" y="2"/>
                    <a:pt x="6" y="1"/>
                  </a:cubicBezTo>
                  <a:cubicBezTo>
                    <a:pt x="3" y="0"/>
                    <a:pt x="0" y="14"/>
                    <a:pt x="4" y="15"/>
                  </a:cubicBezTo>
                  <a:close/>
                </a:path>
              </a:pathLst>
            </a:custGeom>
            <a:solidFill>
              <a:srgbClr val="E8A7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45" name="Freeform 19"/>
            <p:cNvSpPr/>
            <p:nvPr userDrawn="1"/>
          </p:nvSpPr>
          <p:spPr bwMode="auto">
            <a:xfrm>
              <a:off x="6574631" y="2551113"/>
              <a:ext cx="182563" cy="176213"/>
            </a:xfrm>
            <a:custGeom>
              <a:avLst/>
              <a:gdLst>
                <a:gd name="T0" fmla="*/ 33 w 67"/>
                <a:gd name="T1" fmla="*/ 65 h 65"/>
                <a:gd name="T2" fmla="*/ 57 w 67"/>
                <a:gd name="T3" fmla="*/ 16 h 65"/>
                <a:gd name="T4" fmla="*/ 33 w 67"/>
                <a:gd name="T5" fmla="*/ 0 h 65"/>
                <a:gd name="T6" fmla="*/ 9 w 67"/>
                <a:gd name="T7" fmla="*/ 16 h 65"/>
                <a:gd name="T8" fmla="*/ 33 w 67"/>
                <a:gd name="T9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" h="65">
                  <a:moveTo>
                    <a:pt x="33" y="65"/>
                  </a:moveTo>
                  <a:cubicBezTo>
                    <a:pt x="67" y="51"/>
                    <a:pt x="57" y="16"/>
                    <a:pt x="57" y="16"/>
                  </a:cubicBezTo>
                  <a:cubicBezTo>
                    <a:pt x="57" y="16"/>
                    <a:pt x="55" y="0"/>
                    <a:pt x="33" y="0"/>
                  </a:cubicBezTo>
                  <a:cubicBezTo>
                    <a:pt x="14" y="0"/>
                    <a:pt x="9" y="16"/>
                    <a:pt x="9" y="16"/>
                  </a:cubicBezTo>
                  <a:cubicBezTo>
                    <a:pt x="9" y="16"/>
                    <a:pt x="0" y="52"/>
                    <a:pt x="33" y="65"/>
                  </a:cubicBezTo>
                  <a:close/>
                </a:path>
              </a:pathLst>
            </a:custGeom>
            <a:solidFill>
              <a:srgbClr val="E8A7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46" name="Freeform 20"/>
            <p:cNvSpPr/>
            <p:nvPr userDrawn="1"/>
          </p:nvSpPr>
          <p:spPr bwMode="auto">
            <a:xfrm>
              <a:off x="6573043" y="2528888"/>
              <a:ext cx="184150" cy="106363"/>
            </a:xfrm>
            <a:custGeom>
              <a:avLst/>
              <a:gdLst>
                <a:gd name="T0" fmla="*/ 7 w 68"/>
                <a:gd name="T1" fmla="*/ 34 h 39"/>
                <a:gd name="T2" fmla="*/ 12 w 68"/>
                <a:gd name="T3" fmla="*/ 37 h 39"/>
                <a:gd name="T4" fmla="*/ 13 w 68"/>
                <a:gd name="T5" fmla="*/ 21 h 39"/>
                <a:gd name="T6" fmla="*/ 51 w 68"/>
                <a:gd name="T7" fmla="*/ 33 h 39"/>
                <a:gd name="T8" fmla="*/ 54 w 68"/>
                <a:gd name="T9" fmla="*/ 20 h 39"/>
                <a:gd name="T10" fmla="*/ 56 w 68"/>
                <a:gd name="T11" fmla="*/ 38 h 39"/>
                <a:gd name="T12" fmla="*/ 61 w 68"/>
                <a:gd name="T13" fmla="*/ 34 h 39"/>
                <a:gd name="T14" fmla="*/ 34 w 68"/>
                <a:gd name="T15" fmla="*/ 0 h 39"/>
                <a:gd name="T16" fmla="*/ 7 w 68"/>
                <a:gd name="T17" fmla="*/ 3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" h="39">
                  <a:moveTo>
                    <a:pt x="7" y="34"/>
                  </a:moveTo>
                  <a:cubicBezTo>
                    <a:pt x="9" y="33"/>
                    <a:pt x="12" y="37"/>
                    <a:pt x="12" y="37"/>
                  </a:cubicBezTo>
                  <a:cubicBezTo>
                    <a:pt x="13" y="21"/>
                    <a:pt x="13" y="21"/>
                    <a:pt x="13" y="21"/>
                  </a:cubicBezTo>
                  <a:cubicBezTo>
                    <a:pt x="13" y="21"/>
                    <a:pt x="25" y="37"/>
                    <a:pt x="51" y="33"/>
                  </a:cubicBezTo>
                  <a:cubicBezTo>
                    <a:pt x="46" y="22"/>
                    <a:pt x="54" y="20"/>
                    <a:pt x="54" y="20"/>
                  </a:cubicBezTo>
                  <a:cubicBezTo>
                    <a:pt x="54" y="20"/>
                    <a:pt x="56" y="39"/>
                    <a:pt x="56" y="38"/>
                  </a:cubicBezTo>
                  <a:cubicBezTo>
                    <a:pt x="57" y="34"/>
                    <a:pt x="61" y="34"/>
                    <a:pt x="61" y="34"/>
                  </a:cubicBezTo>
                  <a:cubicBezTo>
                    <a:pt x="61" y="34"/>
                    <a:pt x="68" y="0"/>
                    <a:pt x="34" y="0"/>
                  </a:cubicBezTo>
                  <a:cubicBezTo>
                    <a:pt x="0" y="0"/>
                    <a:pt x="7" y="33"/>
                    <a:pt x="7" y="3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47" name="Freeform 21"/>
            <p:cNvSpPr/>
            <p:nvPr userDrawn="1"/>
          </p:nvSpPr>
          <p:spPr bwMode="auto">
            <a:xfrm>
              <a:off x="6646068" y="2684463"/>
              <a:ext cx="34925" cy="15875"/>
            </a:xfrm>
            <a:custGeom>
              <a:avLst/>
              <a:gdLst>
                <a:gd name="T0" fmla="*/ 6 w 13"/>
                <a:gd name="T1" fmla="*/ 6 h 6"/>
                <a:gd name="T2" fmla="*/ 13 w 13"/>
                <a:gd name="T3" fmla="*/ 3 h 6"/>
                <a:gd name="T4" fmla="*/ 8 w 13"/>
                <a:gd name="T5" fmla="*/ 0 h 6"/>
                <a:gd name="T6" fmla="*/ 6 w 13"/>
                <a:gd name="T7" fmla="*/ 1 h 6"/>
                <a:gd name="T8" fmla="*/ 4 w 13"/>
                <a:gd name="T9" fmla="*/ 0 h 6"/>
                <a:gd name="T10" fmla="*/ 0 w 13"/>
                <a:gd name="T11" fmla="*/ 3 h 6"/>
                <a:gd name="T12" fmla="*/ 6 w 13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6">
                  <a:moveTo>
                    <a:pt x="6" y="6"/>
                  </a:moveTo>
                  <a:cubicBezTo>
                    <a:pt x="10" y="6"/>
                    <a:pt x="13" y="3"/>
                    <a:pt x="13" y="3"/>
                  </a:cubicBezTo>
                  <a:cubicBezTo>
                    <a:pt x="13" y="2"/>
                    <a:pt x="9" y="0"/>
                    <a:pt x="8" y="0"/>
                  </a:cubicBezTo>
                  <a:cubicBezTo>
                    <a:pt x="8" y="0"/>
                    <a:pt x="7" y="1"/>
                    <a:pt x="6" y="1"/>
                  </a:cubicBezTo>
                  <a:cubicBezTo>
                    <a:pt x="6" y="1"/>
                    <a:pt x="5" y="0"/>
                    <a:pt x="4" y="0"/>
                  </a:cubicBezTo>
                  <a:cubicBezTo>
                    <a:pt x="3" y="0"/>
                    <a:pt x="0" y="2"/>
                    <a:pt x="0" y="3"/>
                  </a:cubicBezTo>
                  <a:cubicBezTo>
                    <a:pt x="0" y="3"/>
                    <a:pt x="3" y="6"/>
                    <a:pt x="6" y="6"/>
                  </a:cubicBezTo>
                  <a:close/>
                </a:path>
              </a:pathLst>
            </a:custGeom>
            <a:solidFill>
              <a:srgbClr val="C267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48" name="Freeform 22"/>
            <p:cNvSpPr/>
            <p:nvPr userDrawn="1"/>
          </p:nvSpPr>
          <p:spPr bwMode="auto">
            <a:xfrm>
              <a:off x="6546056" y="2736851"/>
              <a:ext cx="238125" cy="382588"/>
            </a:xfrm>
            <a:custGeom>
              <a:avLst/>
              <a:gdLst>
                <a:gd name="T0" fmla="*/ 7 w 88"/>
                <a:gd name="T1" fmla="*/ 118 h 141"/>
                <a:gd name="T2" fmla="*/ 0 w 88"/>
                <a:gd name="T3" fmla="*/ 141 h 141"/>
                <a:gd name="T4" fmla="*/ 88 w 88"/>
                <a:gd name="T5" fmla="*/ 141 h 141"/>
                <a:gd name="T6" fmla="*/ 80 w 88"/>
                <a:gd name="T7" fmla="*/ 115 h 141"/>
                <a:gd name="T8" fmla="*/ 76 w 88"/>
                <a:gd name="T9" fmla="*/ 54 h 141"/>
                <a:gd name="T10" fmla="*/ 81 w 88"/>
                <a:gd name="T11" fmla="*/ 40 h 141"/>
                <a:gd name="T12" fmla="*/ 77 w 88"/>
                <a:gd name="T13" fmla="*/ 29 h 141"/>
                <a:gd name="T14" fmla="*/ 83 w 88"/>
                <a:gd name="T15" fmla="*/ 8 h 141"/>
                <a:gd name="T16" fmla="*/ 57 w 88"/>
                <a:gd name="T17" fmla="*/ 0 h 141"/>
                <a:gd name="T18" fmla="*/ 57 w 88"/>
                <a:gd name="T19" fmla="*/ 0 h 141"/>
                <a:gd name="T20" fmla="*/ 55 w 88"/>
                <a:gd name="T21" fmla="*/ 0 h 141"/>
                <a:gd name="T22" fmla="*/ 45 w 88"/>
                <a:gd name="T23" fmla="*/ 12 h 141"/>
                <a:gd name="T24" fmla="*/ 44 w 88"/>
                <a:gd name="T25" fmla="*/ 13 h 141"/>
                <a:gd name="T26" fmla="*/ 42 w 88"/>
                <a:gd name="T27" fmla="*/ 12 h 141"/>
                <a:gd name="T28" fmla="*/ 32 w 88"/>
                <a:gd name="T29" fmla="*/ 0 h 141"/>
                <a:gd name="T30" fmla="*/ 30 w 88"/>
                <a:gd name="T31" fmla="*/ 0 h 141"/>
                <a:gd name="T32" fmla="*/ 30 w 88"/>
                <a:gd name="T33" fmla="*/ 0 h 141"/>
                <a:gd name="T34" fmla="*/ 4 w 88"/>
                <a:gd name="T35" fmla="*/ 8 h 141"/>
                <a:gd name="T36" fmla="*/ 9 w 88"/>
                <a:gd name="T37" fmla="*/ 30 h 141"/>
                <a:gd name="T38" fmla="*/ 6 w 88"/>
                <a:gd name="T39" fmla="*/ 40 h 141"/>
                <a:gd name="T40" fmla="*/ 11 w 88"/>
                <a:gd name="T41" fmla="*/ 54 h 141"/>
                <a:gd name="T42" fmla="*/ 7 w 88"/>
                <a:gd name="T43" fmla="*/ 118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8" h="141">
                  <a:moveTo>
                    <a:pt x="7" y="118"/>
                  </a:moveTo>
                  <a:cubicBezTo>
                    <a:pt x="0" y="141"/>
                    <a:pt x="0" y="141"/>
                    <a:pt x="0" y="141"/>
                  </a:cubicBezTo>
                  <a:cubicBezTo>
                    <a:pt x="88" y="141"/>
                    <a:pt x="88" y="141"/>
                    <a:pt x="88" y="141"/>
                  </a:cubicBezTo>
                  <a:cubicBezTo>
                    <a:pt x="80" y="115"/>
                    <a:pt x="80" y="115"/>
                    <a:pt x="80" y="115"/>
                  </a:cubicBezTo>
                  <a:cubicBezTo>
                    <a:pt x="80" y="115"/>
                    <a:pt x="75" y="85"/>
                    <a:pt x="76" y="54"/>
                  </a:cubicBezTo>
                  <a:cubicBezTo>
                    <a:pt x="79" y="50"/>
                    <a:pt x="81" y="45"/>
                    <a:pt x="81" y="40"/>
                  </a:cubicBezTo>
                  <a:cubicBezTo>
                    <a:pt x="81" y="36"/>
                    <a:pt x="80" y="33"/>
                    <a:pt x="77" y="29"/>
                  </a:cubicBezTo>
                  <a:cubicBezTo>
                    <a:pt x="79" y="21"/>
                    <a:pt x="80" y="14"/>
                    <a:pt x="83" y="8"/>
                  </a:cubicBezTo>
                  <a:cubicBezTo>
                    <a:pt x="81" y="6"/>
                    <a:pt x="58" y="0"/>
                    <a:pt x="57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6" y="0"/>
                    <a:pt x="56" y="0"/>
                    <a:pt x="55" y="0"/>
                  </a:cubicBezTo>
                  <a:cubicBezTo>
                    <a:pt x="45" y="12"/>
                    <a:pt x="45" y="12"/>
                    <a:pt x="45" y="12"/>
                  </a:cubicBezTo>
                  <a:cubicBezTo>
                    <a:pt x="45" y="13"/>
                    <a:pt x="44" y="13"/>
                    <a:pt x="44" y="13"/>
                  </a:cubicBezTo>
                  <a:cubicBezTo>
                    <a:pt x="43" y="13"/>
                    <a:pt x="43" y="13"/>
                    <a:pt x="42" y="12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1" y="0"/>
                    <a:pt x="31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29" y="0"/>
                    <a:pt x="6" y="6"/>
                    <a:pt x="4" y="8"/>
                  </a:cubicBezTo>
                  <a:cubicBezTo>
                    <a:pt x="7" y="15"/>
                    <a:pt x="8" y="22"/>
                    <a:pt x="9" y="30"/>
                  </a:cubicBezTo>
                  <a:cubicBezTo>
                    <a:pt x="7" y="33"/>
                    <a:pt x="6" y="37"/>
                    <a:pt x="6" y="40"/>
                  </a:cubicBezTo>
                  <a:cubicBezTo>
                    <a:pt x="6" y="45"/>
                    <a:pt x="8" y="50"/>
                    <a:pt x="11" y="54"/>
                  </a:cubicBezTo>
                  <a:cubicBezTo>
                    <a:pt x="13" y="88"/>
                    <a:pt x="7" y="118"/>
                    <a:pt x="7" y="118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49" name="Oval 23"/>
            <p:cNvSpPr>
              <a:spLocks noChangeArrowheads="1"/>
            </p:cNvSpPr>
            <p:nvPr userDrawn="1"/>
          </p:nvSpPr>
          <p:spPr bwMode="auto">
            <a:xfrm>
              <a:off x="6660356" y="2779713"/>
              <a:ext cx="9525" cy="14288"/>
            </a:xfrm>
            <a:prstGeom prst="ellipse">
              <a:avLst/>
            </a:prstGeom>
            <a:solidFill>
              <a:srgbClr val="5765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50" name="Oval 24"/>
            <p:cNvSpPr>
              <a:spLocks noChangeArrowheads="1"/>
            </p:cNvSpPr>
            <p:nvPr userDrawn="1"/>
          </p:nvSpPr>
          <p:spPr bwMode="auto">
            <a:xfrm>
              <a:off x="6680993" y="2776538"/>
              <a:ext cx="14288" cy="11113"/>
            </a:xfrm>
            <a:prstGeom prst="ellipse">
              <a:avLst/>
            </a:prstGeom>
            <a:solidFill>
              <a:srgbClr val="5765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51" name="Oval 25"/>
            <p:cNvSpPr>
              <a:spLocks noChangeArrowheads="1"/>
            </p:cNvSpPr>
            <p:nvPr userDrawn="1"/>
          </p:nvSpPr>
          <p:spPr bwMode="auto">
            <a:xfrm>
              <a:off x="6698456" y="2760663"/>
              <a:ext cx="9525" cy="11113"/>
            </a:xfrm>
            <a:prstGeom prst="ellipse">
              <a:avLst/>
            </a:prstGeom>
            <a:solidFill>
              <a:srgbClr val="5765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52" name="Oval 26"/>
            <p:cNvSpPr>
              <a:spLocks noChangeArrowheads="1"/>
            </p:cNvSpPr>
            <p:nvPr userDrawn="1"/>
          </p:nvSpPr>
          <p:spPr bwMode="auto">
            <a:xfrm>
              <a:off x="6703218" y="2741613"/>
              <a:ext cx="12700" cy="11113"/>
            </a:xfrm>
            <a:prstGeom prst="ellipse">
              <a:avLst/>
            </a:prstGeom>
            <a:solidFill>
              <a:srgbClr val="5765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53" name="Oval 27"/>
            <p:cNvSpPr>
              <a:spLocks noChangeArrowheads="1"/>
            </p:cNvSpPr>
            <p:nvPr userDrawn="1"/>
          </p:nvSpPr>
          <p:spPr bwMode="auto">
            <a:xfrm>
              <a:off x="6634956" y="2776538"/>
              <a:ext cx="14288" cy="11113"/>
            </a:xfrm>
            <a:prstGeom prst="ellipse">
              <a:avLst/>
            </a:prstGeom>
            <a:solidFill>
              <a:srgbClr val="5765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54" name="Oval 28"/>
            <p:cNvSpPr>
              <a:spLocks noChangeArrowheads="1"/>
            </p:cNvSpPr>
            <p:nvPr userDrawn="1"/>
          </p:nvSpPr>
          <p:spPr bwMode="auto">
            <a:xfrm>
              <a:off x="6622256" y="2760663"/>
              <a:ext cx="9525" cy="11113"/>
            </a:xfrm>
            <a:prstGeom prst="ellipse">
              <a:avLst/>
            </a:prstGeom>
            <a:solidFill>
              <a:srgbClr val="5765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55" name="Oval 29"/>
            <p:cNvSpPr>
              <a:spLocks noChangeArrowheads="1"/>
            </p:cNvSpPr>
            <p:nvPr userDrawn="1"/>
          </p:nvSpPr>
          <p:spPr bwMode="auto">
            <a:xfrm>
              <a:off x="6612731" y="2741613"/>
              <a:ext cx="14288" cy="11113"/>
            </a:xfrm>
            <a:prstGeom prst="ellipse">
              <a:avLst/>
            </a:prstGeom>
            <a:solidFill>
              <a:srgbClr val="5765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56" name="Freeform 30"/>
            <p:cNvSpPr/>
            <p:nvPr userDrawn="1"/>
          </p:nvSpPr>
          <p:spPr bwMode="auto">
            <a:xfrm>
              <a:off x="6615906" y="2738438"/>
              <a:ext cx="98425" cy="49213"/>
            </a:xfrm>
            <a:custGeom>
              <a:avLst/>
              <a:gdLst>
                <a:gd name="T0" fmla="*/ 18 w 36"/>
                <a:gd name="T1" fmla="*/ 18 h 18"/>
                <a:gd name="T2" fmla="*/ 0 w 36"/>
                <a:gd name="T3" fmla="*/ 0 h 18"/>
                <a:gd name="T4" fmla="*/ 0 w 36"/>
                <a:gd name="T5" fmla="*/ 0 h 18"/>
                <a:gd name="T6" fmla="*/ 1 w 36"/>
                <a:gd name="T7" fmla="*/ 0 h 18"/>
                <a:gd name="T8" fmla="*/ 18 w 36"/>
                <a:gd name="T9" fmla="*/ 17 h 18"/>
                <a:gd name="T10" fmla="*/ 35 w 36"/>
                <a:gd name="T11" fmla="*/ 0 h 18"/>
                <a:gd name="T12" fmla="*/ 35 w 36"/>
                <a:gd name="T13" fmla="*/ 0 h 18"/>
                <a:gd name="T14" fmla="*/ 36 w 36"/>
                <a:gd name="T15" fmla="*/ 0 h 18"/>
                <a:gd name="T16" fmla="*/ 18 w 36"/>
                <a:gd name="T1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18">
                  <a:moveTo>
                    <a:pt x="18" y="18"/>
                  </a:moveTo>
                  <a:cubicBezTo>
                    <a:pt x="2" y="18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3" y="17"/>
                    <a:pt x="18" y="17"/>
                  </a:cubicBezTo>
                  <a:cubicBezTo>
                    <a:pt x="33" y="17"/>
                    <a:pt x="35" y="0"/>
                    <a:pt x="35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6" y="0"/>
                    <a:pt x="34" y="18"/>
                    <a:pt x="18" y="18"/>
                  </a:cubicBezTo>
                  <a:close/>
                </a:path>
              </a:pathLst>
            </a:custGeom>
            <a:solidFill>
              <a:srgbClr val="5765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57" name="Freeform 31"/>
            <p:cNvSpPr/>
            <p:nvPr userDrawn="1"/>
          </p:nvSpPr>
          <p:spPr bwMode="auto">
            <a:xfrm>
              <a:off x="5636418" y="3713163"/>
              <a:ext cx="174625" cy="58738"/>
            </a:xfrm>
            <a:custGeom>
              <a:avLst/>
              <a:gdLst>
                <a:gd name="T0" fmla="*/ 32 w 64"/>
                <a:gd name="T1" fmla="*/ 0 h 22"/>
                <a:gd name="T2" fmla="*/ 62 w 64"/>
                <a:gd name="T3" fmla="*/ 15 h 22"/>
                <a:gd name="T4" fmla="*/ 62 w 64"/>
                <a:gd name="T5" fmla="*/ 22 h 22"/>
                <a:gd name="T6" fmla="*/ 0 w 64"/>
                <a:gd name="T7" fmla="*/ 22 h 22"/>
                <a:gd name="T8" fmla="*/ 0 w 64"/>
                <a:gd name="T9" fmla="*/ 0 h 22"/>
                <a:gd name="T10" fmla="*/ 32 w 64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4" h="22">
                  <a:moveTo>
                    <a:pt x="32" y="0"/>
                  </a:moveTo>
                  <a:cubicBezTo>
                    <a:pt x="32" y="0"/>
                    <a:pt x="61" y="13"/>
                    <a:pt x="62" y="15"/>
                  </a:cubicBezTo>
                  <a:cubicBezTo>
                    <a:pt x="64" y="16"/>
                    <a:pt x="62" y="22"/>
                    <a:pt x="62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32" y="0"/>
                  </a:lnTo>
                  <a:close/>
                </a:path>
              </a:pathLst>
            </a:custGeom>
            <a:solidFill>
              <a:srgbClr val="2B2B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58" name="Freeform 32"/>
            <p:cNvSpPr/>
            <p:nvPr userDrawn="1"/>
          </p:nvSpPr>
          <p:spPr bwMode="auto">
            <a:xfrm>
              <a:off x="5463381" y="3713163"/>
              <a:ext cx="173038" cy="58738"/>
            </a:xfrm>
            <a:custGeom>
              <a:avLst/>
              <a:gdLst>
                <a:gd name="T0" fmla="*/ 31 w 64"/>
                <a:gd name="T1" fmla="*/ 0 h 22"/>
                <a:gd name="T2" fmla="*/ 1 w 64"/>
                <a:gd name="T3" fmla="*/ 15 h 22"/>
                <a:gd name="T4" fmla="*/ 1 w 64"/>
                <a:gd name="T5" fmla="*/ 22 h 22"/>
                <a:gd name="T6" fmla="*/ 64 w 64"/>
                <a:gd name="T7" fmla="*/ 22 h 22"/>
                <a:gd name="T8" fmla="*/ 64 w 64"/>
                <a:gd name="T9" fmla="*/ 0 h 22"/>
                <a:gd name="T10" fmla="*/ 31 w 64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4" h="22">
                  <a:moveTo>
                    <a:pt x="31" y="0"/>
                  </a:moveTo>
                  <a:cubicBezTo>
                    <a:pt x="31" y="0"/>
                    <a:pt x="3" y="13"/>
                    <a:pt x="1" y="15"/>
                  </a:cubicBezTo>
                  <a:cubicBezTo>
                    <a:pt x="0" y="16"/>
                    <a:pt x="1" y="22"/>
                    <a:pt x="1" y="22"/>
                  </a:cubicBezTo>
                  <a:cubicBezTo>
                    <a:pt x="64" y="22"/>
                    <a:pt x="64" y="22"/>
                    <a:pt x="64" y="22"/>
                  </a:cubicBezTo>
                  <a:cubicBezTo>
                    <a:pt x="64" y="0"/>
                    <a:pt x="64" y="0"/>
                    <a:pt x="64" y="0"/>
                  </a:cubicBezTo>
                  <a:lnTo>
                    <a:pt x="31" y="0"/>
                  </a:lnTo>
                  <a:close/>
                </a:path>
              </a:pathLst>
            </a:custGeom>
            <a:solidFill>
              <a:srgbClr val="2B2B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59" name="Freeform 33"/>
            <p:cNvSpPr/>
            <p:nvPr userDrawn="1"/>
          </p:nvSpPr>
          <p:spPr bwMode="auto">
            <a:xfrm>
              <a:off x="5506243" y="3024188"/>
              <a:ext cx="261938" cy="688975"/>
            </a:xfrm>
            <a:custGeom>
              <a:avLst/>
              <a:gdLst>
                <a:gd name="T0" fmla="*/ 0 w 165"/>
                <a:gd name="T1" fmla="*/ 79 h 434"/>
                <a:gd name="T2" fmla="*/ 24 w 165"/>
                <a:gd name="T3" fmla="*/ 434 h 434"/>
                <a:gd name="T4" fmla="*/ 82 w 165"/>
                <a:gd name="T5" fmla="*/ 434 h 434"/>
                <a:gd name="T6" fmla="*/ 137 w 165"/>
                <a:gd name="T7" fmla="*/ 434 h 434"/>
                <a:gd name="T8" fmla="*/ 165 w 165"/>
                <a:gd name="T9" fmla="*/ 79 h 434"/>
                <a:gd name="T10" fmla="*/ 149 w 165"/>
                <a:gd name="T11" fmla="*/ 0 h 434"/>
                <a:gd name="T12" fmla="*/ 16 w 165"/>
                <a:gd name="T13" fmla="*/ 0 h 434"/>
                <a:gd name="T14" fmla="*/ 0 w 165"/>
                <a:gd name="T15" fmla="*/ 79 h 4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5" h="434">
                  <a:moveTo>
                    <a:pt x="0" y="79"/>
                  </a:moveTo>
                  <a:lnTo>
                    <a:pt x="24" y="434"/>
                  </a:lnTo>
                  <a:lnTo>
                    <a:pt x="82" y="434"/>
                  </a:lnTo>
                  <a:lnTo>
                    <a:pt x="137" y="434"/>
                  </a:lnTo>
                  <a:lnTo>
                    <a:pt x="165" y="79"/>
                  </a:lnTo>
                  <a:lnTo>
                    <a:pt x="149" y="0"/>
                  </a:lnTo>
                  <a:lnTo>
                    <a:pt x="16" y="0"/>
                  </a:lnTo>
                  <a:lnTo>
                    <a:pt x="0" y="79"/>
                  </a:lnTo>
                  <a:close/>
                </a:path>
              </a:pathLst>
            </a:custGeom>
            <a:solidFill>
              <a:srgbClr val="6650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60" name="Rectangle 34"/>
            <p:cNvSpPr>
              <a:spLocks noChangeArrowheads="1"/>
            </p:cNvSpPr>
            <p:nvPr userDrawn="1"/>
          </p:nvSpPr>
          <p:spPr bwMode="auto">
            <a:xfrm>
              <a:off x="5607843" y="2627313"/>
              <a:ext cx="61913" cy="109538"/>
            </a:xfrm>
            <a:prstGeom prst="rect">
              <a:avLst/>
            </a:prstGeom>
            <a:solidFill>
              <a:srgbClr val="B380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61" name="Freeform 35"/>
            <p:cNvSpPr/>
            <p:nvPr userDrawn="1"/>
          </p:nvSpPr>
          <p:spPr bwMode="auto">
            <a:xfrm>
              <a:off x="5437981" y="2859088"/>
              <a:ext cx="68263" cy="371475"/>
            </a:xfrm>
            <a:custGeom>
              <a:avLst/>
              <a:gdLst>
                <a:gd name="T0" fmla="*/ 20 w 25"/>
                <a:gd name="T1" fmla="*/ 119 h 137"/>
                <a:gd name="T2" fmla="*/ 23 w 25"/>
                <a:gd name="T3" fmla="*/ 115 h 137"/>
                <a:gd name="T4" fmla="*/ 18 w 25"/>
                <a:gd name="T5" fmla="*/ 108 h 137"/>
                <a:gd name="T6" fmla="*/ 17 w 25"/>
                <a:gd name="T7" fmla="*/ 108 h 137"/>
                <a:gd name="T8" fmla="*/ 18 w 25"/>
                <a:gd name="T9" fmla="*/ 108 h 137"/>
                <a:gd name="T10" fmla="*/ 19 w 25"/>
                <a:gd name="T11" fmla="*/ 47 h 137"/>
                <a:gd name="T12" fmla="*/ 19 w 25"/>
                <a:gd name="T13" fmla="*/ 34 h 137"/>
                <a:gd name="T14" fmla="*/ 24 w 25"/>
                <a:gd name="T15" fmla="*/ 5 h 137"/>
                <a:gd name="T16" fmla="*/ 4 w 25"/>
                <a:gd name="T17" fmla="*/ 0 h 137"/>
                <a:gd name="T18" fmla="*/ 0 w 25"/>
                <a:gd name="T19" fmla="*/ 36 h 137"/>
                <a:gd name="T20" fmla="*/ 5 w 25"/>
                <a:gd name="T21" fmla="*/ 107 h 137"/>
                <a:gd name="T22" fmla="*/ 0 w 25"/>
                <a:gd name="T23" fmla="*/ 125 h 137"/>
                <a:gd name="T24" fmla="*/ 13 w 25"/>
                <a:gd name="T25" fmla="*/ 137 h 137"/>
                <a:gd name="T26" fmla="*/ 25 w 25"/>
                <a:gd name="T27" fmla="*/ 126 h 137"/>
                <a:gd name="T28" fmla="*/ 20 w 25"/>
                <a:gd name="T29" fmla="*/ 119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5" h="137">
                  <a:moveTo>
                    <a:pt x="20" y="119"/>
                  </a:moveTo>
                  <a:cubicBezTo>
                    <a:pt x="20" y="119"/>
                    <a:pt x="22" y="118"/>
                    <a:pt x="23" y="115"/>
                  </a:cubicBezTo>
                  <a:cubicBezTo>
                    <a:pt x="23" y="112"/>
                    <a:pt x="18" y="108"/>
                    <a:pt x="18" y="108"/>
                  </a:cubicBezTo>
                  <a:cubicBezTo>
                    <a:pt x="17" y="108"/>
                    <a:pt x="17" y="108"/>
                    <a:pt x="17" y="108"/>
                  </a:cubicBezTo>
                  <a:cubicBezTo>
                    <a:pt x="18" y="108"/>
                    <a:pt x="18" y="108"/>
                    <a:pt x="18" y="108"/>
                  </a:cubicBezTo>
                  <a:cubicBezTo>
                    <a:pt x="19" y="47"/>
                    <a:pt x="19" y="47"/>
                    <a:pt x="19" y="47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24" y="5"/>
                    <a:pt x="24" y="5"/>
                    <a:pt x="24" y="5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5" y="107"/>
                    <a:pt x="5" y="107"/>
                    <a:pt x="5" y="107"/>
                  </a:cubicBezTo>
                  <a:cubicBezTo>
                    <a:pt x="5" y="114"/>
                    <a:pt x="0" y="121"/>
                    <a:pt x="0" y="125"/>
                  </a:cubicBezTo>
                  <a:cubicBezTo>
                    <a:pt x="3" y="129"/>
                    <a:pt x="8" y="137"/>
                    <a:pt x="13" y="137"/>
                  </a:cubicBezTo>
                  <a:cubicBezTo>
                    <a:pt x="17" y="135"/>
                    <a:pt x="23" y="132"/>
                    <a:pt x="25" y="126"/>
                  </a:cubicBezTo>
                  <a:cubicBezTo>
                    <a:pt x="24" y="122"/>
                    <a:pt x="20" y="119"/>
                    <a:pt x="20" y="119"/>
                  </a:cubicBezTo>
                  <a:close/>
                </a:path>
              </a:pathLst>
            </a:custGeom>
            <a:solidFill>
              <a:srgbClr val="D99C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62" name="Freeform 36"/>
            <p:cNvSpPr/>
            <p:nvPr userDrawn="1"/>
          </p:nvSpPr>
          <p:spPr bwMode="auto">
            <a:xfrm>
              <a:off x="5441156" y="2859088"/>
              <a:ext cx="61913" cy="77788"/>
            </a:xfrm>
            <a:custGeom>
              <a:avLst/>
              <a:gdLst>
                <a:gd name="T0" fmla="*/ 39 w 39"/>
                <a:gd name="T1" fmla="*/ 8 h 49"/>
                <a:gd name="T2" fmla="*/ 33 w 39"/>
                <a:gd name="T3" fmla="*/ 49 h 49"/>
                <a:gd name="T4" fmla="*/ 0 w 39"/>
                <a:gd name="T5" fmla="*/ 43 h 49"/>
                <a:gd name="T6" fmla="*/ 5 w 39"/>
                <a:gd name="T7" fmla="*/ 0 h 49"/>
                <a:gd name="T8" fmla="*/ 39 w 39"/>
                <a:gd name="T9" fmla="*/ 8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49">
                  <a:moveTo>
                    <a:pt x="39" y="8"/>
                  </a:moveTo>
                  <a:lnTo>
                    <a:pt x="33" y="49"/>
                  </a:lnTo>
                  <a:lnTo>
                    <a:pt x="0" y="43"/>
                  </a:lnTo>
                  <a:lnTo>
                    <a:pt x="5" y="0"/>
                  </a:lnTo>
                  <a:lnTo>
                    <a:pt x="39" y="8"/>
                  </a:lnTo>
                  <a:close/>
                </a:path>
              </a:pathLst>
            </a:custGeom>
            <a:solidFill>
              <a:srgbClr val="C991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63" name="Freeform 37"/>
            <p:cNvSpPr/>
            <p:nvPr userDrawn="1"/>
          </p:nvSpPr>
          <p:spPr bwMode="auto">
            <a:xfrm>
              <a:off x="5769768" y="2867026"/>
              <a:ext cx="68263" cy="369888"/>
            </a:xfrm>
            <a:custGeom>
              <a:avLst/>
              <a:gdLst>
                <a:gd name="T0" fmla="*/ 5 w 25"/>
                <a:gd name="T1" fmla="*/ 118 h 136"/>
                <a:gd name="T2" fmla="*/ 2 w 25"/>
                <a:gd name="T3" fmla="*/ 114 h 136"/>
                <a:gd name="T4" fmla="*/ 7 w 25"/>
                <a:gd name="T5" fmla="*/ 107 h 136"/>
                <a:gd name="T6" fmla="*/ 8 w 25"/>
                <a:gd name="T7" fmla="*/ 107 h 136"/>
                <a:gd name="T8" fmla="*/ 7 w 25"/>
                <a:gd name="T9" fmla="*/ 107 h 136"/>
                <a:gd name="T10" fmla="*/ 6 w 25"/>
                <a:gd name="T11" fmla="*/ 46 h 136"/>
                <a:gd name="T12" fmla="*/ 6 w 25"/>
                <a:gd name="T13" fmla="*/ 33 h 136"/>
                <a:gd name="T14" fmla="*/ 1 w 25"/>
                <a:gd name="T15" fmla="*/ 4 h 136"/>
                <a:gd name="T16" fmla="*/ 20 w 25"/>
                <a:gd name="T17" fmla="*/ 0 h 136"/>
                <a:gd name="T18" fmla="*/ 25 w 25"/>
                <a:gd name="T19" fmla="*/ 36 h 136"/>
                <a:gd name="T20" fmla="*/ 20 w 25"/>
                <a:gd name="T21" fmla="*/ 107 h 136"/>
                <a:gd name="T22" fmla="*/ 24 w 25"/>
                <a:gd name="T23" fmla="*/ 124 h 136"/>
                <a:gd name="T24" fmla="*/ 12 w 25"/>
                <a:gd name="T25" fmla="*/ 136 h 136"/>
                <a:gd name="T26" fmla="*/ 0 w 25"/>
                <a:gd name="T27" fmla="*/ 125 h 136"/>
                <a:gd name="T28" fmla="*/ 5 w 25"/>
                <a:gd name="T29" fmla="*/ 11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5" h="136">
                  <a:moveTo>
                    <a:pt x="5" y="118"/>
                  </a:moveTo>
                  <a:cubicBezTo>
                    <a:pt x="5" y="118"/>
                    <a:pt x="3" y="117"/>
                    <a:pt x="2" y="114"/>
                  </a:cubicBezTo>
                  <a:cubicBezTo>
                    <a:pt x="2" y="112"/>
                    <a:pt x="7" y="107"/>
                    <a:pt x="7" y="107"/>
                  </a:cubicBezTo>
                  <a:cubicBezTo>
                    <a:pt x="7" y="107"/>
                    <a:pt x="7" y="107"/>
                    <a:pt x="8" y="107"/>
                  </a:cubicBezTo>
                  <a:cubicBezTo>
                    <a:pt x="7" y="107"/>
                    <a:pt x="7" y="107"/>
                    <a:pt x="7" y="107"/>
                  </a:cubicBezTo>
                  <a:cubicBezTo>
                    <a:pt x="6" y="46"/>
                    <a:pt x="6" y="46"/>
                    <a:pt x="6" y="46"/>
                  </a:cubicBezTo>
                  <a:cubicBezTo>
                    <a:pt x="6" y="33"/>
                    <a:pt x="6" y="33"/>
                    <a:pt x="6" y="3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0" y="107"/>
                    <a:pt x="20" y="107"/>
                    <a:pt x="20" y="107"/>
                  </a:cubicBezTo>
                  <a:cubicBezTo>
                    <a:pt x="20" y="114"/>
                    <a:pt x="25" y="120"/>
                    <a:pt x="24" y="124"/>
                  </a:cubicBezTo>
                  <a:cubicBezTo>
                    <a:pt x="21" y="128"/>
                    <a:pt x="16" y="136"/>
                    <a:pt x="12" y="136"/>
                  </a:cubicBezTo>
                  <a:cubicBezTo>
                    <a:pt x="8" y="134"/>
                    <a:pt x="2" y="131"/>
                    <a:pt x="0" y="125"/>
                  </a:cubicBezTo>
                  <a:cubicBezTo>
                    <a:pt x="1" y="122"/>
                    <a:pt x="5" y="118"/>
                    <a:pt x="5" y="118"/>
                  </a:cubicBezTo>
                  <a:close/>
                </a:path>
              </a:pathLst>
            </a:custGeom>
            <a:solidFill>
              <a:srgbClr val="D99C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64" name="Freeform 38"/>
            <p:cNvSpPr/>
            <p:nvPr userDrawn="1"/>
          </p:nvSpPr>
          <p:spPr bwMode="auto">
            <a:xfrm>
              <a:off x="5772943" y="2867026"/>
              <a:ext cx="61913" cy="76200"/>
            </a:xfrm>
            <a:custGeom>
              <a:avLst/>
              <a:gdLst>
                <a:gd name="T0" fmla="*/ 0 w 39"/>
                <a:gd name="T1" fmla="*/ 7 h 48"/>
                <a:gd name="T2" fmla="*/ 7 w 39"/>
                <a:gd name="T3" fmla="*/ 48 h 48"/>
                <a:gd name="T4" fmla="*/ 39 w 39"/>
                <a:gd name="T5" fmla="*/ 41 h 48"/>
                <a:gd name="T6" fmla="*/ 33 w 39"/>
                <a:gd name="T7" fmla="*/ 0 h 48"/>
                <a:gd name="T8" fmla="*/ 0 w 39"/>
                <a:gd name="T9" fmla="*/ 7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48">
                  <a:moveTo>
                    <a:pt x="0" y="7"/>
                  </a:moveTo>
                  <a:lnTo>
                    <a:pt x="7" y="48"/>
                  </a:lnTo>
                  <a:lnTo>
                    <a:pt x="39" y="41"/>
                  </a:lnTo>
                  <a:lnTo>
                    <a:pt x="33" y="0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C991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65" name="Freeform 39"/>
            <p:cNvSpPr/>
            <p:nvPr userDrawn="1"/>
          </p:nvSpPr>
          <p:spPr bwMode="auto">
            <a:xfrm>
              <a:off x="5437981" y="2687638"/>
              <a:ext cx="396875" cy="442913"/>
            </a:xfrm>
            <a:custGeom>
              <a:avLst/>
              <a:gdLst>
                <a:gd name="T0" fmla="*/ 142 w 146"/>
                <a:gd name="T1" fmla="*/ 53 h 163"/>
                <a:gd name="T2" fmla="*/ 132 w 146"/>
                <a:gd name="T3" fmla="*/ 16 h 163"/>
                <a:gd name="T4" fmla="*/ 85 w 146"/>
                <a:gd name="T5" fmla="*/ 1 h 163"/>
                <a:gd name="T6" fmla="*/ 73 w 146"/>
                <a:gd name="T7" fmla="*/ 16 h 163"/>
                <a:gd name="T8" fmla="*/ 62 w 146"/>
                <a:gd name="T9" fmla="*/ 1 h 163"/>
                <a:gd name="T10" fmla="*/ 14 w 146"/>
                <a:gd name="T11" fmla="*/ 16 h 163"/>
                <a:gd name="T12" fmla="*/ 5 w 146"/>
                <a:gd name="T13" fmla="*/ 53 h 163"/>
                <a:gd name="T14" fmla="*/ 5 w 146"/>
                <a:gd name="T15" fmla="*/ 53 h 163"/>
                <a:gd name="T16" fmla="*/ 5 w 146"/>
                <a:gd name="T17" fmla="*/ 53 h 163"/>
                <a:gd name="T18" fmla="*/ 5 w 146"/>
                <a:gd name="T19" fmla="*/ 53 h 163"/>
                <a:gd name="T20" fmla="*/ 0 w 146"/>
                <a:gd name="T21" fmla="*/ 83 h 163"/>
                <a:gd name="T22" fmla="*/ 25 w 146"/>
                <a:gd name="T23" fmla="*/ 89 h 163"/>
                <a:gd name="T24" fmla="*/ 28 w 146"/>
                <a:gd name="T25" fmla="*/ 53 h 163"/>
                <a:gd name="T26" fmla="*/ 28 w 146"/>
                <a:gd name="T27" fmla="*/ 53 h 163"/>
                <a:gd name="T28" fmla="*/ 28 w 146"/>
                <a:gd name="T29" fmla="*/ 159 h 163"/>
                <a:gd name="T30" fmla="*/ 119 w 146"/>
                <a:gd name="T31" fmla="*/ 163 h 163"/>
                <a:gd name="T32" fmla="*/ 118 w 146"/>
                <a:gd name="T33" fmla="*/ 53 h 163"/>
                <a:gd name="T34" fmla="*/ 118 w 146"/>
                <a:gd name="T35" fmla="*/ 53 h 163"/>
                <a:gd name="T36" fmla="*/ 124 w 146"/>
                <a:gd name="T37" fmla="*/ 92 h 163"/>
                <a:gd name="T38" fmla="*/ 146 w 146"/>
                <a:gd name="T39" fmla="*/ 88 h 163"/>
                <a:gd name="T40" fmla="*/ 142 w 146"/>
                <a:gd name="T41" fmla="*/ 5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46" h="163">
                  <a:moveTo>
                    <a:pt x="142" y="53"/>
                  </a:moveTo>
                  <a:cubicBezTo>
                    <a:pt x="141" y="28"/>
                    <a:pt x="132" y="16"/>
                    <a:pt x="132" y="16"/>
                  </a:cubicBezTo>
                  <a:cubicBezTo>
                    <a:pt x="131" y="8"/>
                    <a:pt x="85" y="0"/>
                    <a:pt x="85" y="1"/>
                  </a:cubicBezTo>
                  <a:cubicBezTo>
                    <a:pt x="73" y="16"/>
                    <a:pt x="73" y="16"/>
                    <a:pt x="73" y="16"/>
                  </a:cubicBezTo>
                  <a:cubicBezTo>
                    <a:pt x="62" y="1"/>
                    <a:pt x="62" y="1"/>
                    <a:pt x="62" y="1"/>
                  </a:cubicBezTo>
                  <a:cubicBezTo>
                    <a:pt x="61" y="0"/>
                    <a:pt x="15" y="8"/>
                    <a:pt x="14" y="16"/>
                  </a:cubicBezTo>
                  <a:cubicBezTo>
                    <a:pt x="14" y="16"/>
                    <a:pt x="9" y="27"/>
                    <a:pt x="5" y="53"/>
                  </a:cubicBezTo>
                  <a:cubicBezTo>
                    <a:pt x="5" y="53"/>
                    <a:pt x="5" y="53"/>
                    <a:pt x="5" y="53"/>
                  </a:cubicBezTo>
                  <a:cubicBezTo>
                    <a:pt x="5" y="53"/>
                    <a:pt x="5" y="53"/>
                    <a:pt x="5" y="53"/>
                  </a:cubicBezTo>
                  <a:cubicBezTo>
                    <a:pt x="5" y="53"/>
                    <a:pt x="5" y="53"/>
                    <a:pt x="5" y="53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25" y="89"/>
                    <a:pt x="25" y="89"/>
                    <a:pt x="25" y="89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8" y="159"/>
                    <a:pt x="28" y="159"/>
                    <a:pt x="28" y="159"/>
                  </a:cubicBezTo>
                  <a:cubicBezTo>
                    <a:pt x="119" y="163"/>
                    <a:pt x="119" y="163"/>
                    <a:pt x="119" y="163"/>
                  </a:cubicBezTo>
                  <a:cubicBezTo>
                    <a:pt x="118" y="53"/>
                    <a:pt x="118" y="53"/>
                    <a:pt x="118" y="53"/>
                  </a:cubicBezTo>
                  <a:cubicBezTo>
                    <a:pt x="118" y="53"/>
                    <a:pt x="118" y="53"/>
                    <a:pt x="118" y="53"/>
                  </a:cubicBezTo>
                  <a:cubicBezTo>
                    <a:pt x="124" y="92"/>
                    <a:pt x="124" y="92"/>
                    <a:pt x="124" y="92"/>
                  </a:cubicBezTo>
                  <a:cubicBezTo>
                    <a:pt x="146" y="88"/>
                    <a:pt x="146" y="88"/>
                    <a:pt x="146" y="88"/>
                  </a:cubicBezTo>
                  <a:lnTo>
                    <a:pt x="142" y="53"/>
                  </a:lnTo>
                  <a:close/>
                </a:path>
              </a:pathLst>
            </a:custGeom>
            <a:solidFill>
              <a:srgbClr val="8DD9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66" name="Freeform 40"/>
            <p:cNvSpPr/>
            <p:nvPr userDrawn="1"/>
          </p:nvSpPr>
          <p:spPr bwMode="auto">
            <a:xfrm>
              <a:off x="5476081" y="2687638"/>
              <a:ext cx="320675" cy="446088"/>
            </a:xfrm>
            <a:custGeom>
              <a:avLst/>
              <a:gdLst>
                <a:gd name="T0" fmla="*/ 118 w 118"/>
                <a:gd name="T1" fmla="*/ 16 h 164"/>
                <a:gd name="T2" fmla="*/ 71 w 118"/>
                <a:gd name="T3" fmla="*/ 1 h 164"/>
                <a:gd name="T4" fmla="*/ 59 w 118"/>
                <a:gd name="T5" fmla="*/ 19 h 164"/>
                <a:gd name="T6" fmla="*/ 48 w 118"/>
                <a:gd name="T7" fmla="*/ 1 h 164"/>
                <a:gd name="T8" fmla="*/ 0 w 118"/>
                <a:gd name="T9" fmla="*/ 16 h 164"/>
                <a:gd name="T10" fmla="*/ 14 w 118"/>
                <a:gd name="T11" fmla="*/ 53 h 164"/>
                <a:gd name="T12" fmla="*/ 14 w 118"/>
                <a:gd name="T13" fmla="*/ 53 h 164"/>
                <a:gd name="T14" fmla="*/ 12 w 118"/>
                <a:gd name="T15" fmla="*/ 162 h 164"/>
                <a:gd name="T16" fmla="*/ 106 w 118"/>
                <a:gd name="T17" fmla="*/ 164 h 164"/>
                <a:gd name="T18" fmla="*/ 104 w 118"/>
                <a:gd name="T19" fmla="*/ 53 h 164"/>
                <a:gd name="T20" fmla="*/ 104 w 118"/>
                <a:gd name="T21" fmla="*/ 53 h 164"/>
                <a:gd name="T22" fmla="*/ 118 w 118"/>
                <a:gd name="T23" fmla="*/ 16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8" h="164">
                  <a:moveTo>
                    <a:pt x="118" y="16"/>
                  </a:moveTo>
                  <a:cubicBezTo>
                    <a:pt x="117" y="6"/>
                    <a:pt x="71" y="0"/>
                    <a:pt x="71" y="1"/>
                  </a:cubicBezTo>
                  <a:cubicBezTo>
                    <a:pt x="71" y="1"/>
                    <a:pt x="79" y="19"/>
                    <a:pt x="59" y="19"/>
                  </a:cubicBezTo>
                  <a:cubicBezTo>
                    <a:pt x="40" y="19"/>
                    <a:pt x="48" y="1"/>
                    <a:pt x="48" y="1"/>
                  </a:cubicBezTo>
                  <a:cubicBezTo>
                    <a:pt x="47" y="0"/>
                    <a:pt x="1" y="6"/>
                    <a:pt x="0" y="16"/>
                  </a:cubicBezTo>
                  <a:cubicBezTo>
                    <a:pt x="14" y="53"/>
                    <a:pt x="14" y="53"/>
                    <a:pt x="14" y="53"/>
                  </a:cubicBezTo>
                  <a:cubicBezTo>
                    <a:pt x="14" y="53"/>
                    <a:pt x="14" y="53"/>
                    <a:pt x="14" y="53"/>
                  </a:cubicBezTo>
                  <a:cubicBezTo>
                    <a:pt x="12" y="162"/>
                    <a:pt x="12" y="162"/>
                    <a:pt x="12" y="162"/>
                  </a:cubicBezTo>
                  <a:cubicBezTo>
                    <a:pt x="106" y="164"/>
                    <a:pt x="106" y="164"/>
                    <a:pt x="106" y="164"/>
                  </a:cubicBezTo>
                  <a:cubicBezTo>
                    <a:pt x="104" y="53"/>
                    <a:pt x="104" y="53"/>
                    <a:pt x="104" y="53"/>
                  </a:cubicBezTo>
                  <a:cubicBezTo>
                    <a:pt x="104" y="53"/>
                    <a:pt x="104" y="53"/>
                    <a:pt x="104" y="53"/>
                  </a:cubicBezTo>
                  <a:lnTo>
                    <a:pt x="118" y="16"/>
                  </a:lnTo>
                  <a:close/>
                </a:path>
              </a:pathLst>
            </a:custGeom>
            <a:solidFill>
              <a:srgbClr val="583C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67" name="Freeform 41"/>
            <p:cNvSpPr/>
            <p:nvPr userDrawn="1"/>
          </p:nvSpPr>
          <p:spPr bwMode="auto">
            <a:xfrm>
              <a:off x="5547518" y="2520951"/>
              <a:ext cx="184150" cy="131763"/>
            </a:xfrm>
            <a:custGeom>
              <a:avLst/>
              <a:gdLst>
                <a:gd name="T0" fmla="*/ 5 w 68"/>
                <a:gd name="T1" fmla="*/ 11 h 48"/>
                <a:gd name="T2" fmla="*/ 17 w 68"/>
                <a:gd name="T3" fmla="*/ 48 h 48"/>
                <a:gd name="T4" fmla="*/ 49 w 68"/>
                <a:gd name="T5" fmla="*/ 48 h 48"/>
                <a:gd name="T6" fmla="*/ 62 w 68"/>
                <a:gd name="T7" fmla="*/ 11 h 48"/>
                <a:gd name="T8" fmla="*/ 36 w 68"/>
                <a:gd name="T9" fmla="*/ 0 h 48"/>
                <a:gd name="T10" fmla="*/ 5 w 68"/>
                <a:gd name="T11" fmla="*/ 11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8" h="48">
                  <a:moveTo>
                    <a:pt x="5" y="11"/>
                  </a:moveTo>
                  <a:cubicBezTo>
                    <a:pt x="0" y="19"/>
                    <a:pt x="10" y="48"/>
                    <a:pt x="17" y="48"/>
                  </a:cubicBezTo>
                  <a:cubicBezTo>
                    <a:pt x="24" y="48"/>
                    <a:pt x="43" y="48"/>
                    <a:pt x="49" y="48"/>
                  </a:cubicBezTo>
                  <a:cubicBezTo>
                    <a:pt x="56" y="48"/>
                    <a:pt x="68" y="17"/>
                    <a:pt x="62" y="11"/>
                  </a:cubicBezTo>
                  <a:cubicBezTo>
                    <a:pt x="54" y="6"/>
                    <a:pt x="36" y="0"/>
                    <a:pt x="36" y="0"/>
                  </a:cubicBezTo>
                  <a:cubicBezTo>
                    <a:pt x="36" y="0"/>
                    <a:pt x="10" y="6"/>
                    <a:pt x="5" y="11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68" name="Freeform 42"/>
            <p:cNvSpPr/>
            <p:nvPr userDrawn="1"/>
          </p:nvSpPr>
          <p:spPr bwMode="auto">
            <a:xfrm>
              <a:off x="5544343" y="2551113"/>
              <a:ext cx="34925" cy="49213"/>
            </a:xfrm>
            <a:custGeom>
              <a:avLst/>
              <a:gdLst>
                <a:gd name="T0" fmla="*/ 9 w 13"/>
                <a:gd name="T1" fmla="*/ 17 h 18"/>
                <a:gd name="T2" fmla="*/ 1 w 13"/>
                <a:gd name="T3" fmla="*/ 10 h 18"/>
                <a:gd name="T4" fmla="*/ 6 w 13"/>
                <a:gd name="T5" fmla="*/ 1 h 18"/>
                <a:gd name="T6" fmla="*/ 9 w 13"/>
                <a:gd name="T7" fmla="*/ 17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18">
                  <a:moveTo>
                    <a:pt x="9" y="17"/>
                  </a:moveTo>
                  <a:cubicBezTo>
                    <a:pt x="5" y="18"/>
                    <a:pt x="2" y="15"/>
                    <a:pt x="1" y="10"/>
                  </a:cubicBezTo>
                  <a:cubicBezTo>
                    <a:pt x="0" y="6"/>
                    <a:pt x="2" y="2"/>
                    <a:pt x="6" y="1"/>
                  </a:cubicBezTo>
                  <a:cubicBezTo>
                    <a:pt x="10" y="0"/>
                    <a:pt x="13" y="16"/>
                    <a:pt x="9" y="17"/>
                  </a:cubicBezTo>
                  <a:close/>
                </a:path>
              </a:pathLst>
            </a:custGeom>
            <a:solidFill>
              <a:srgbClr val="D99C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69" name="Freeform 43"/>
            <p:cNvSpPr/>
            <p:nvPr userDrawn="1"/>
          </p:nvSpPr>
          <p:spPr bwMode="auto">
            <a:xfrm>
              <a:off x="5693568" y="2551113"/>
              <a:ext cx="36513" cy="49213"/>
            </a:xfrm>
            <a:custGeom>
              <a:avLst/>
              <a:gdLst>
                <a:gd name="T0" fmla="*/ 4 w 13"/>
                <a:gd name="T1" fmla="*/ 17 h 18"/>
                <a:gd name="T2" fmla="*/ 12 w 13"/>
                <a:gd name="T3" fmla="*/ 10 h 18"/>
                <a:gd name="T4" fmla="*/ 7 w 13"/>
                <a:gd name="T5" fmla="*/ 1 h 18"/>
                <a:gd name="T6" fmla="*/ 4 w 13"/>
                <a:gd name="T7" fmla="*/ 17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18">
                  <a:moveTo>
                    <a:pt x="4" y="17"/>
                  </a:moveTo>
                  <a:cubicBezTo>
                    <a:pt x="7" y="18"/>
                    <a:pt x="11" y="15"/>
                    <a:pt x="12" y="10"/>
                  </a:cubicBezTo>
                  <a:cubicBezTo>
                    <a:pt x="13" y="6"/>
                    <a:pt x="11" y="2"/>
                    <a:pt x="7" y="1"/>
                  </a:cubicBezTo>
                  <a:cubicBezTo>
                    <a:pt x="3" y="0"/>
                    <a:pt x="0" y="16"/>
                    <a:pt x="4" y="17"/>
                  </a:cubicBezTo>
                </a:path>
              </a:pathLst>
            </a:custGeom>
            <a:solidFill>
              <a:srgbClr val="D99C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70" name="Freeform 44"/>
            <p:cNvSpPr/>
            <p:nvPr userDrawn="1"/>
          </p:nvSpPr>
          <p:spPr bwMode="auto">
            <a:xfrm>
              <a:off x="5558631" y="2478088"/>
              <a:ext cx="160338" cy="195263"/>
            </a:xfrm>
            <a:custGeom>
              <a:avLst/>
              <a:gdLst>
                <a:gd name="T0" fmla="*/ 29 w 59"/>
                <a:gd name="T1" fmla="*/ 72 h 72"/>
                <a:gd name="T2" fmla="*/ 56 w 59"/>
                <a:gd name="T3" fmla="*/ 18 h 72"/>
                <a:gd name="T4" fmla="*/ 30 w 59"/>
                <a:gd name="T5" fmla="*/ 0 h 72"/>
                <a:gd name="T6" fmla="*/ 3 w 59"/>
                <a:gd name="T7" fmla="*/ 18 h 72"/>
                <a:gd name="T8" fmla="*/ 29 w 59"/>
                <a:gd name="T9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72">
                  <a:moveTo>
                    <a:pt x="29" y="72"/>
                  </a:moveTo>
                  <a:cubicBezTo>
                    <a:pt x="59" y="72"/>
                    <a:pt x="56" y="18"/>
                    <a:pt x="56" y="18"/>
                  </a:cubicBezTo>
                  <a:cubicBezTo>
                    <a:pt x="56" y="18"/>
                    <a:pt x="54" y="0"/>
                    <a:pt x="30" y="0"/>
                  </a:cubicBezTo>
                  <a:cubicBezTo>
                    <a:pt x="8" y="0"/>
                    <a:pt x="3" y="18"/>
                    <a:pt x="3" y="18"/>
                  </a:cubicBezTo>
                  <a:cubicBezTo>
                    <a:pt x="3" y="18"/>
                    <a:pt x="0" y="72"/>
                    <a:pt x="29" y="72"/>
                  </a:cubicBezTo>
                </a:path>
              </a:pathLst>
            </a:custGeom>
            <a:solidFill>
              <a:srgbClr val="D99C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71" name="Freeform 45"/>
            <p:cNvSpPr/>
            <p:nvPr userDrawn="1"/>
          </p:nvSpPr>
          <p:spPr bwMode="auto">
            <a:xfrm>
              <a:off x="5533231" y="2452688"/>
              <a:ext cx="207963" cy="120650"/>
            </a:xfrm>
            <a:custGeom>
              <a:avLst/>
              <a:gdLst>
                <a:gd name="T0" fmla="*/ 9 w 76"/>
                <a:gd name="T1" fmla="*/ 38 h 44"/>
                <a:gd name="T2" fmla="*/ 14 w 76"/>
                <a:gd name="T3" fmla="*/ 42 h 44"/>
                <a:gd name="T4" fmla="*/ 15 w 76"/>
                <a:gd name="T5" fmla="*/ 23 h 44"/>
                <a:gd name="T6" fmla="*/ 51 w 76"/>
                <a:gd name="T7" fmla="*/ 17 h 44"/>
                <a:gd name="T8" fmla="*/ 61 w 76"/>
                <a:gd name="T9" fmla="*/ 23 h 44"/>
                <a:gd name="T10" fmla="*/ 63 w 76"/>
                <a:gd name="T11" fmla="*/ 43 h 44"/>
                <a:gd name="T12" fmla="*/ 68 w 76"/>
                <a:gd name="T13" fmla="*/ 38 h 44"/>
                <a:gd name="T14" fmla="*/ 38 w 76"/>
                <a:gd name="T15" fmla="*/ 0 h 44"/>
                <a:gd name="T16" fmla="*/ 9 w 76"/>
                <a:gd name="T17" fmla="*/ 38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" h="44">
                  <a:moveTo>
                    <a:pt x="9" y="38"/>
                  </a:moveTo>
                  <a:cubicBezTo>
                    <a:pt x="11" y="37"/>
                    <a:pt x="14" y="42"/>
                    <a:pt x="14" y="42"/>
                  </a:cubicBezTo>
                  <a:cubicBezTo>
                    <a:pt x="14" y="42"/>
                    <a:pt x="14" y="25"/>
                    <a:pt x="15" y="23"/>
                  </a:cubicBezTo>
                  <a:cubicBezTo>
                    <a:pt x="23" y="7"/>
                    <a:pt x="33" y="35"/>
                    <a:pt x="51" y="17"/>
                  </a:cubicBezTo>
                  <a:cubicBezTo>
                    <a:pt x="59" y="14"/>
                    <a:pt x="61" y="23"/>
                    <a:pt x="61" y="23"/>
                  </a:cubicBezTo>
                  <a:cubicBezTo>
                    <a:pt x="61" y="23"/>
                    <a:pt x="63" y="44"/>
                    <a:pt x="63" y="43"/>
                  </a:cubicBezTo>
                  <a:cubicBezTo>
                    <a:pt x="64" y="38"/>
                    <a:pt x="68" y="38"/>
                    <a:pt x="68" y="38"/>
                  </a:cubicBezTo>
                  <a:cubicBezTo>
                    <a:pt x="68" y="38"/>
                    <a:pt x="76" y="0"/>
                    <a:pt x="38" y="0"/>
                  </a:cubicBezTo>
                  <a:cubicBezTo>
                    <a:pt x="0" y="0"/>
                    <a:pt x="9" y="37"/>
                    <a:pt x="9" y="3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72" name="Freeform 46"/>
            <p:cNvSpPr/>
            <p:nvPr userDrawn="1"/>
          </p:nvSpPr>
          <p:spPr bwMode="auto">
            <a:xfrm>
              <a:off x="5604668" y="2608263"/>
              <a:ext cx="31750" cy="19050"/>
            </a:xfrm>
            <a:custGeom>
              <a:avLst/>
              <a:gdLst>
                <a:gd name="T0" fmla="*/ 12 w 12"/>
                <a:gd name="T1" fmla="*/ 5 h 7"/>
                <a:gd name="T2" fmla="*/ 0 w 12"/>
                <a:gd name="T3" fmla="*/ 7 h 7"/>
                <a:gd name="T4" fmla="*/ 0 w 12"/>
                <a:gd name="T5" fmla="*/ 6 h 7"/>
                <a:gd name="T6" fmla="*/ 7 w 12"/>
                <a:gd name="T7" fmla="*/ 1 h 7"/>
                <a:gd name="T8" fmla="*/ 12 w 12"/>
                <a:gd name="T9" fmla="*/ 0 h 7"/>
                <a:gd name="T10" fmla="*/ 12 w 12"/>
                <a:gd name="T11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7">
                  <a:moveTo>
                    <a:pt x="12" y="5"/>
                  </a:moveTo>
                  <a:cubicBezTo>
                    <a:pt x="11" y="7"/>
                    <a:pt x="0" y="7"/>
                    <a:pt x="0" y="7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1" y="3"/>
                    <a:pt x="4" y="1"/>
                    <a:pt x="7" y="1"/>
                  </a:cubicBezTo>
                  <a:cubicBezTo>
                    <a:pt x="12" y="0"/>
                    <a:pt x="12" y="0"/>
                    <a:pt x="12" y="0"/>
                  </a:cubicBezTo>
                  <a:lnTo>
                    <a:pt x="12" y="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73" name="Freeform 47"/>
            <p:cNvSpPr/>
            <p:nvPr userDrawn="1"/>
          </p:nvSpPr>
          <p:spPr bwMode="auto">
            <a:xfrm>
              <a:off x="5636418" y="2608263"/>
              <a:ext cx="36513" cy="19050"/>
            </a:xfrm>
            <a:custGeom>
              <a:avLst/>
              <a:gdLst>
                <a:gd name="T0" fmla="*/ 0 w 13"/>
                <a:gd name="T1" fmla="*/ 5 h 7"/>
                <a:gd name="T2" fmla="*/ 13 w 13"/>
                <a:gd name="T3" fmla="*/ 7 h 7"/>
                <a:gd name="T4" fmla="*/ 13 w 13"/>
                <a:gd name="T5" fmla="*/ 5 h 7"/>
                <a:gd name="T6" fmla="*/ 6 w 13"/>
                <a:gd name="T7" fmla="*/ 0 h 7"/>
                <a:gd name="T8" fmla="*/ 0 w 13"/>
                <a:gd name="T9" fmla="*/ 0 h 7"/>
                <a:gd name="T10" fmla="*/ 0 w 13"/>
                <a:gd name="T11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7">
                  <a:moveTo>
                    <a:pt x="0" y="5"/>
                  </a:moveTo>
                  <a:cubicBezTo>
                    <a:pt x="2" y="7"/>
                    <a:pt x="13" y="7"/>
                    <a:pt x="13" y="7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2" y="2"/>
                    <a:pt x="9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74" name="Freeform 48"/>
            <p:cNvSpPr/>
            <p:nvPr userDrawn="1"/>
          </p:nvSpPr>
          <p:spPr bwMode="auto">
            <a:xfrm>
              <a:off x="5571331" y="2543176"/>
              <a:ext cx="65088" cy="30163"/>
            </a:xfrm>
            <a:custGeom>
              <a:avLst/>
              <a:gdLst>
                <a:gd name="T0" fmla="*/ 22 w 24"/>
                <a:gd name="T1" fmla="*/ 2 h 11"/>
                <a:gd name="T2" fmla="*/ 1 w 24"/>
                <a:gd name="T3" fmla="*/ 4 h 11"/>
                <a:gd name="T4" fmla="*/ 1 w 24"/>
                <a:gd name="T5" fmla="*/ 11 h 11"/>
                <a:gd name="T6" fmla="*/ 1 w 24"/>
                <a:gd name="T7" fmla="*/ 11 h 11"/>
                <a:gd name="T8" fmla="*/ 2 w 24"/>
                <a:gd name="T9" fmla="*/ 6 h 11"/>
                <a:gd name="T10" fmla="*/ 21 w 24"/>
                <a:gd name="T11" fmla="*/ 4 h 11"/>
                <a:gd name="T12" fmla="*/ 22 w 24"/>
                <a:gd name="T13" fmla="*/ 10 h 11"/>
                <a:gd name="T14" fmla="*/ 22 w 24"/>
                <a:gd name="T15" fmla="*/ 10 h 11"/>
                <a:gd name="T16" fmla="*/ 22 w 24"/>
                <a:gd name="T17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11">
                  <a:moveTo>
                    <a:pt x="22" y="2"/>
                  </a:moveTo>
                  <a:cubicBezTo>
                    <a:pt x="21" y="0"/>
                    <a:pt x="2" y="2"/>
                    <a:pt x="1" y="4"/>
                  </a:cubicBezTo>
                  <a:cubicBezTo>
                    <a:pt x="0" y="6"/>
                    <a:pt x="1" y="11"/>
                    <a:pt x="1" y="11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1" y="9"/>
                    <a:pt x="1" y="7"/>
                    <a:pt x="2" y="6"/>
                  </a:cubicBezTo>
                  <a:cubicBezTo>
                    <a:pt x="3" y="3"/>
                    <a:pt x="19" y="2"/>
                    <a:pt x="21" y="4"/>
                  </a:cubicBezTo>
                  <a:cubicBezTo>
                    <a:pt x="22" y="5"/>
                    <a:pt x="22" y="7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4" y="6"/>
                    <a:pt x="22" y="2"/>
                  </a:cubicBezTo>
                </a:path>
              </a:pathLst>
            </a:custGeom>
            <a:solidFill>
              <a:srgbClr val="4535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75" name="Freeform 49"/>
            <p:cNvSpPr/>
            <p:nvPr userDrawn="1"/>
          </p:nvSpPr>
          <p:spPr bwMode="auto">
            <a:xfrm>
              <a:off x="5574506" y="2551113"/>
              <a:ext cx="57150" cy="49213"/>
            </a:xfrm>
            <a:custGeom>
              <a:avLst/>
              <a:gdLst>
                <a:gd name="T0" fmla="*/ 15 w 21"/>
                <a:gd name="T1" fmla="*/ 0 h 18"/>
                <a:gd name="T2" fmla="*/ 15 w 21"/>
                <a:gd name="T3" fmla="*/ 0 h 18"/>
                <a:gd name="T4" fmla="*/ 1 w 21"/>
                <a:gd name="T5" fmla="*/ 3 h 18"/>
                <a:gd name="T6" fmla="*/ 1 w 21"/>
                <a:gd name="T7" fmla="*/ 3 h 18"/>
                <a:gd name="T8" fmla="*/ 1 w 21"/>
                <a:gd name="T9" fmla="*/ 3 h 18"/>
                <a:gd name="T10" fmla="*/ 0 w 21"/>
                <a:gd name="T11" fmla="*/ 6 h 18"/>
                <a:gd name="T12" fmla="*/ 0 w 21"/>
                <a:gd name="T13" fmla="*/ 8 h 18"/>
                <a:gd name="T14" fmla="*/ 6 w 21"/>
                <a:gd name="T15" fmla="*/ 17 h 18"/>
                <a:gd name="T16" fmla="*/ 9 w 21"/>
                <a:gd name="T17" fmla="*/ 18 h 18"/>
                <a:gd name="T18" fmla="*/ 21 w 21"/>
                <a:gd name="T19" fmla="*/ 7 h 18"/>
                <a:gd name="T20" fmla="*/ 21 w 21"/>
                <a:gd name="T21" fmla="*/ 4 h 18"/>
                <a:gd name="T22" fmla="*/ 20 w 21"/>
                <a:gd name="T23" fmla="*/ 1 h 18"/>
                <a:gd name="T24" fmla="*/ 20 w 21"/>
                <a:gd name="T25" fmla="*/ 1 h 18"/>
                <a:gd name="T26" fmla="*/ 15 w 21"/>
                <a:gd name="T27" fmla="*/ 0 h 18"/>
                <a:gd name="T28" fmla="*/ 15 w 21"/>
                <a:gd name="T2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" h="18">
                  <a:moveTo>
                    <a:pt x="1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9" y="0"/>
                    <a:pt x="2" y="1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0" y="5"/>
                    <a:pt x="0" y="6"/>
                  </a:cubicBezTo>
                  <a:cubicBezTo>
                    <a:pt x="0" y="7"/>
                    <a:pt x="0" y="7"/>
                    <a:pt x="0" y="8"/>
                  </a:cubicBezTo>
                  <a:cubicBezTo>
                    <a:pt x="1" y="11"/>
                    <a:pt x="2" y="16"/>
                    <a:pt x="6" y="17"/>
                  </a:cubicBezTo>
                  <a:cubicBezTo>
                    <a:pt x="7" y="18"/>
                    <a:pt x="8" y="18"/>
                    <a:pt x="9" y="18"/>
                  </a:cubicBezTo>
                  <a:cubicBezTo>
                    <a:pt x="16" y="18"/>
                    <a:pt x="20" y="12"/>
                    <a:pt x="21" y="7"/>
                  </a:cubicBezTo>
                  <a:cubicBezTo>
                    <a:pt x="21" y="6"/>
                    <a:pt x="21" y="5"/>
                    <a:pt x="21" y="4"/>
                  </a:cubicBezTo>
                  <a:cubicBezTo>
                    <a:pt x="21" y="2"/>
                    <a:pt x="21" y="1"/>
                    <a:pt x="20" y="1"/>
                  </a:cubicBezTo>
                  <a:cubicBezTo>
                    <a:pt x="20" y="1"/>
                    <a:pt x="20" y="1"/>
                    <a:pt x="20" y="1"/>
                  </a:cubicBezTo>
                  <a:cubicBezTo>
                    <a:pt x="20" y="0"/>
                    <a:pt x="18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</a:path>
              </a:pathLst>
            </a:custGeom>
            <a:solidFill>
              <a:srgbClr val="ECC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76" name="Freeform 50"/>
            <p:cNvSpPr>
              <a:spLocks noEditPoints="1"/>
            </p:cNvSpPr>
            <p:nvPr userDrawn="1"/>
          </p:nvSpPr>
          <p:spPr bwMode="auto">
            <a:xfrm>
              <a:off x="5574506" y="2551113"/>
              <a:ext cx="57150" cy="15875"/>
            </a:xfrm>
            <a:custGeom>
              <a:avLst/>
              <a:gdLst>
                <a:gd name="T0" fmla="*/ 1 w 21"/>
                <a:gd name="T1" fmla="*/ 3 h 6"/>
                <a:gd name="T2" fmla="*/ 1 w 21"/>
                <a:gd name="T3" fmla="*/ 3 h 6"/>
                <a:gd name="T4" fmla="*/ 0 w 21"/>
                <a:gd name="T5" fmla="*/ 6 h 6"/>
                <a:gd name="T6" fmla="*/ 1 w 21"/>
                <a:gd name="T7" fmla="*/ 3 h 6"/>
                <a:gd name="T8" fmla="*/ 1 w 21"/>
                <a:gd name="T9" fmla="*/ 3 h 6"/>
                <a:gd name="T10" fmla="*/ 20 w 21"/>
                <a:gd name="T11" fmla="*/ 1 h 6"/>
                <a:gd name="T12" fmla="*/ 20 w 21"/>
                <a:gd name="T13" fmla="*/ 1 h 6"/>
                <a:gd name="T14" fmla="*/ 21 w 21"/>
                <a:gd name="T15" fmla="*/ 4 h 6"/>
                <a:gd name="T16" fmla="*/ 20 w 21"/>
                <a:gd name="T17" fmla="*/ 1 h 6"/>
                <a:gd name="T18" fmla="*/ 20 w 21"/>
                <a:gd name="T19" fmla="*/ 1 h 6"/>
                <a:gd name="T20" fmla="*/ 15 w 21"/>
                <a:gd name="T21" fmla="*/ 0 h 6"/>
                <a:gd name="T22" fmla="*/ 1 w 21"/>
                <a:gd name="T23" fmla="*/ 3 h 6"/>
                <a:gd name="T24" fmla="*/ 15 w 21"/>
                <a:gd name="T25" fmla="*/ 0 h 6"/>
                <a:gd name="T26" fmla="*/ 15 w 21"/>
                <a:gd name="T27" fmla="*/ 0 h 6"/>
                <a:gd name="T28" fmla="*/ 15 w 21"/>
                <a:gd name="T29" fmla="*/ 0 h 6"/>
                <a:gd name="T30" fmla="*/ 15 w 21"/>
                <a:gd name="T31" fmla="*/ 0 h 6"/>
                <a:gd name="T32" fmla="*/ 15 w 21"/>
                <a:gd name="T3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1" h="6">
                  <a:moveTo>
                    <a:pt x="1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0" y="5"/>
                    <a:pt x="0" y="6"/>
                  </a:cubicBezTo>
                  <a:cubicBezTo>
                    <a:pt x="0" y="5"/>
                    <a:pt x="1" y="4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moveTo>
                    <a:pt x="20" y="1"/>
                  </a:moveTo>
                  <a:cubicBezTo>
                    <a:pt x="20" y="1"/>
                    <a:pt x="20" y="1"/>
                    <a:pt x="20" y="1"/>
                  </a:cubicBezTo>
                  <a:cubicBezTo>
                    <a:pt x="21" y="1"/>
                    <a:pt x="21" y="2"/>
                    <a:pt x="21" y="4"/>
                  </a:cubicBezTo>
                  <a:cubicBezTo>
                    <a:pt x="21" y="2"/>
                    <a:pt x="21" y="1"/>
                    <a:pt x="20" y="1"/>
                  </a:cubicBezTo>
                  <a:cubicBezTo>
                    <a:pt x="20" y="1"/>
                    <a:pt x="20" y="1"/>
                    <a:pt x="20" y="1"/>
                  </a:cubicBezTo>
                  <a:moveTo>
                    <a:pt x="15" y="0"/>
                  </a:moveTo>
                  <a:cubicBezTo>
                    <a:pt x="9" y="0"/>
                    <a:pt x="2" y="1"/>
                    <a:pt x="1" y="3"/>
                  </a:cubicBezTo>
                  <a:cubicBezTo>
                    <a:pt x="2" y="1"/>
                    <a:pt x="9" y="0"/>
                    <a:pt x="15" y="0"/>
                  </a:cubicBezTo>
                  <a:moveTo>
                    <a:pt x="1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77" name="Freeform 51"/>
            <p:cNvSpPr/>
            <p:nvPr userDrawn="1"/>
          </p:nvSpPr>
          <p:spPr bwMode="auto">
            <a:xfrm>
              <a:off x="5628481" y="2570163"/>
              <a:ext cx="6350" cy="7938"/>
            </a:xfrm>
            <a:custGeom>
              <a:avLst/>
              <a:gdLst>
                <a:gd name="T0" fmla="*/ 2 w 2"/>
                <a:gd name="T1" fmla="*/ 2 h 3"/>
                <a:gd name="T2" fmla="*/ 1 w 2"/>
                <a:gd name="T3" fmla="*/ 3 h 3"/>
                <a:gd name="T4" fmla="*/ 0 w 2"/>
                <a:gd name="T5" fmla="*/ 1 h 3"/>
                <a:gd name="T6" fmla="*/ 1 w 2"/>
                <a:gd name="T7" fmla="*/ 0 h 3"/>
                <a:gd name="T8" fmla="*/ 2 w 2"/>
                <a:gd name="T9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3">
                  <a:moveTo>
                    <a:pt x="2" y="2"/>
                  </a:moveTo>
                  <a:cubicBezTo>
                    <a:pt x="2" y="3"/>
                    <a:pt x="1" y="3"/>
                    <a:pt x="1" y="3"/>
                  </a:cubicBezTo>
                  <a:cubicBezTo>
                    <a:pt x="0" y="3"/>
                    <a:pt x="0" y="2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2" y="0"/>
                    <a:pt x="2" y="1"/>
                    <a:pt x="2" y="2"/>
                  </a:cubicBezTo>
                  <a:close/>
                </a:path>
              </a:pathLst>
            </a:custGeom>
            <a:solidFill>
              <a:srgbClr val="E8E8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78" name="Freeform 52"/>
            <p:cNvSpPr/>
            <p:nvPr userDrawn="1"/>
          </p:nvSpPr>
          <p:spPr bwMode="auto">
            <a:xfrm>
              <a:off x="5569743" y="2557463"/>
              <a:ext cx="4763" cy="7938"/>
            </a:xfrm>
            <a:custGeom>
              <a:avLst/>
              <a:gdLst>
                <a:gd name="T0" fmla="*/ 3 w 3"/>
                <a:gd name="T1" fmla="*/ 5 h 5"/>
                <a:gd name="T2" fmla="*/ 0 w 3"/>
                <a:gd name="T3" fmla="*/ 5 h 5"/>
                <a:gd name="T4" fmla="*/ 0 w 3"/>
                <a:gd name="T5" fmla="*/ 1 h 5"/>
                <a:gd name="T6" fmla="*/ 3 w 3"/>
                <a:gd name="T7" fmla="*/ 0 h 5"/>
                <a:gd name="T8" fmla="*/ 3 w 3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5">
                  <a:moveTo>
                    <a:pt x="3" y="5"/>
                  </a:moveTo>
                  <a:lnTo>
                    <a:pt x="0" y="5"/>
                  </a:lnTo>
                  <a:lnTo>
                    <a:pt x="0" y="1"/>
                  </a:lnTo>
                  <a:lnTo>
                    <a:pt x="3" y="0"/>
                  </a:lnTo>
                  <a:lnTo>
                    <a:pt x="3" y="5"/>
                  </a:lnTo>
                  <a:close/>
                </a:path>
              </a:pathLst>
            </a:custGeom>
            <a:solidFill>
              <a:srgbClr val="4535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79" name="Freeform 53"/>
            <p:cNvSpPr/>
            <p:nvPr userDrawn="1"/>
          </p:nvSpPr>
          <p:spPr bwMode="auto">
            <a:xfrm>
              <a:off x="5636418" y="2543176"/>
              <a:ext cx="68263" cy="30163"/>
            </a:xfrm>
            <a:custGeom>
              <a:avLst/>
              <a:gdLst>
                <a:gd name="T0" fmla="*/ 24 w 25"/>
                <a:gd name="T1" fmla="*/ 4 h 11"/>
                <a:gd name="T2" fmla="*/ 3 w 25"/>
                <a:gd name="T3" fmla="*/ 2 h 11"/>
                <a:gd name="T4" fmla="*/ 3 w 25"/>
                <a:gd name="T5" fmla="*/ 10 h 11"/>
                <a:gd name="T6" fmla="*/ 3 w 25"/>
                <a:gd name="T7" fmla="*/ 10 h 11"/>
                <a:gd name="T8" fmla="*/ 3 w 25"/>
                <a:gd name="T9" fmla="*/ 4 h 11"/>
                <a:gd name="T10" fmla="*/ 23 w 25"/>
                <a:gd name="T11" fmla="*/ 6 h 11"/>
                <a:gd name="T12" fmla="*/ 23 w 25"/>
                <a:gd name="T13" fmla="*/ 11 h 11"/>
                <a:gd name="T14" fmla="*/ 23 w 25"/>
                <a:gd name="T15" fmla="*/ 11 h 11"/>
                <a:gd name="T16" fmla="*/ 24 w 25"/>
                <a:gd name="T17" fmla="*/ 4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" h="11">
                  <a:moveTo>
                    <a:pt x="24" y="4"/>
                  </a:moveTo>
                  <a:cubicBezTo>
                    <a:pt x="23" y="2"/>
                    <a:pt x="4" y="0"/>
                    <a:pt x="3" y="2"/>
                  </a:cubicBezTo>
                  <a:cubicBezTo>
                    <a:pt x="0" y="6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2" y="7"/>
                    <a:pt x="3" y="5"/>
                    <a:pt x="3" y="4"/>
                  </a:cubicBezTo>
                  <a:cubicBezTo>
                    <a:pt x="6" y="2"/>
                    <a:pt x="22" y="4"/>
                    <a:pt x="23" y="6"/>
                  </a:cubicBezTo>
                  <a:cubicBezTo>
                    <a:pt x="23" y="7"/>
                    <a:pt x="23" y="9"/>
                    <a:pt x="23" y="11"/>
                  </a:cubicBezTo>
                  <a:cubicBezTo>
                    <a:pt x="23" y="11"/>
                    <a:pt x="23" y="11"/>
                    <a:pt x="23" y="11"/>
                  </a:cubicBezTo>
                  <a:cubicBezTo>
                    <a:pt x="23" y="11"/>
                    <a:pt x="25" y="6"/>
                    <a:pt x="24" y="4"/>
                  </a:cubicBezTo>
                </a:path>
              </a:pathLst>
            </a:custGeom>
            <a:solidFill>
              <a:srgbClr val="4535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80" name="Freeform 54"/>
            <p:cNvSpPr/>
            <p:nvPr userDrawn="1"/>
          </p:nvSpPr>
          <p:spPr bwMode="auto">
            <a:xfrm>
              <a:off x="5645943" y="2551113"/>
              <a:ext cx="53975" cy="49213"/>
            </a:xfrm>
            <a:custGeom>
              <a:avLst/>
              <a:gdLst>
                <a:gd name="T0" fmla="*/ 6 w 20"/>
                <a:gd name="T1" fmla="*/ 0 h 18"/>
                <a:gd name="T2" fmla="*/ 6 w 20"/>
                <a:gd name="T3" fmla="*/ 0 h 18"/>
                <a:gd name="T4" fmla="*/ 1 w 20"/>
                <a:gd name="T5" fmla="*/ 1 h 18"/>
                <a:gd name="T6" fmla="*/ 0 w 20"/>
                <a:gd name="T7" fmla="*/ 1 h 18"/>
                <a:gd name="T8" fmla="*/ 0 w 20"/>
                <a:gd name="T9" fmla="*/ 1 h 18"/>
                <a:gd name="T10" fmla="*/ 0 w 20"/>
                <a:gd name="T11" fmla="*/ 4 h 18"/>
                <a:gd name="T12" fmla="*/ 0 w 20"/>
                <a:gd name="T13" fmla="*/ 7 h 18"/>
                <a:gd name="T14" fmla="*/ 12 w 20"/>
                <a:gd name="T15" fmla="*/ 18 h 18"/>
                <a:gd name="T16" fmla="*/ 14 w 20"/>
                <a:gd name="T17" fmla="*/ 18 h 18"/>
                <a:gd name="T18" fmla="*/ 20 w 20"/>
                <a:gd name="T19" fmla="*/ 8 h 18"/>
                <a:gd name="T20" fmla="*/ 20 w 20"/>
                <a:gd name="T21" fmla="*/ 6 h 18"/>
                <a:gd name="T22" fmla="*/ 20 w 20"/>
                <a:gd name="T23" fmla="*/ 3 h 18"/>
                <a:gd name="T24" fmla="*/ 20 w 20"/>
                <a:gd name="T25" fmla="*/ 3 h 18"/>
                <a:gd name="T26" fmla="*/ 20 w 20"/>
                <a:gd name="T27" fmla="*/ 3 h 18"/>
                <a:gd name="T28" fmla="*/ 20 w 20"/>
                <a:gd name="T29" fmla="*/ 3 h 18"/>
                <a:gd name="T30" fmla="*/ 20 w 20"/>
                <a:gd name="T31" fmla="*/ 3 h 18"/>
                <a:gd name="T32" fmla="*/ 20 w 20"/>
                <a:gd name="T33" fmla="*/ 3 h 18"/>
                <a:gd name="T34" fmla="*/ 6 w 20"/>
                <a:gd name="T35" fmla="*/ 0 h 18"/>
                <a:gd name="T36" fmla="*/ 6 w 20"/>
                <a:gd name="T3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0" h="18"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1" y="0"/>
                    <a:pt x="1" y="1"/>
                  </a:cubicBezTo>
                  <a:cubicBezTo>
                    <a:pt x="1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4"/>
                  </a:cubicBezTo>
                  <a:cubicBezTo>
                    <a:pt x="0" y="5"/>
                    <a:pt x="0" y="6"/>
                    <a:pt x="0" y="7"/>
                  </a:cubicBezTo>
                  <a:cubicBezTo>
                    <a:pt x="1" y="12"/>
                    <a:pt x="5" y="18"/>
                    <a:pt x="12" y="18"/>
                  </a:cubicBezTo>
                  <a:cubicBezTo>
                    <a:pt x="13" y="18"/>
                    <a:pt x="14" y="18"/>
                    <a:pt x="14" y="18"/>
                  </a:cubicBezTo>
                  <a:cubicBezTo>
                    <a:pt x="19" y="16"/>
                    <a:pt x="20" y="11"/>
                    <a:pt x="20" y="8"/>
                  </a:cubicBezTo>
                  <a:cubicBezTo>
                    <a:pt x="20" y="7"/>
                    <a:pt x="20" y="7"/>
                    <a:pt x="20" y="6"/>
                  </a:cubicBezTo>
                  <a:cubicBezTo>
                    <a:pt x="20" y="5"/>
                    <a:pt x="20" y="4"/>
                    <a:pt x="20" y="3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19" y="1"/>
                    <a:pt x="11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</a:path>
              </a:pathLst>
            </a:custGeom>
            <a:solidFill>
              <a:srgbClr val="ECC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81" name="Freeform 55"/>
            <p:cNvSpPr>
              <a:spLocks noEditPoints="1"/>
            </p:cNvSpPr>
            <p:nvPr userDrawn="1"/>
          </p:nvSpPr>
          <p:spPr bwMode="auto">
            <a:xfrm>
              <a:off x="5645943" y="2551113"/>
              <a:ext cx="53975" cy="15875"/>
            </a:xfrm>
            <a:custGeom>
              <a:avLst/>
              <a:gdLst>
                <a:gd name="T0" fmla="*/ 20 w 20"/>
                <a:gd name="T1" fmla="*/ 3 h 6"/>
                <a:gd name="T2" fmla="*/ 20 w 20"/>
                <a:gd name="T3" fmla="*/ 3 h 6"/>
                <a:gd name="T4" fmla="*/ 20 w 20"/>
                <a:gd name="T5" fmla="*/ 6 h 6"/>
                <a:gd name="T6" fmla="*/ 20 w 20"/>
                <a:gd name="T7" fmla="*/ 3 h 6"/>
                <a:gd name="T8" fmla="*/ 20 w 20"/>
                <a:gd name="T9" fmla="*/ 3 h 6"/>
                <a:gd name="T10" fmla="*/ 20 w 20"/>
                <a:gd name="T11" fmla="*/ 3 h 6"/>
                <a:gd name="T12" fmla="*/ 20 w 20"/>
                <a:gd name="T13" fmla="*/ 3 h 6"/>
                <a:gd name="T14" fmla="*/ 20 w 20"/>
                <a:gd name="T15" fmla="*/ 3 h 6"/>
                <a:gd name="T16" fmla="*/ 20 w 20"/>
                <a:gd name="T17" fmla="*/ 3 h 6"/>
                <a:gd name="T18" fmla="*/ 20 w 20"/>
                <a:gd name="T19" fmla="*/ 3 h 6"/>
                <a:gd name="T20" fmla="*/ 20 w 20"/>
                <a:gd name="T21" fmla="*/ 3 h 6"/>
                <a:gd name="T22" fmla="*/ 0 w 20"/>
                <a:gd name="T23" fmla="*/ 1 h 6"/>
                <a:gd name="T24" fmla="*/ 0 w 20"/>
                <a:gd name="T25" fmla="*/ 1 h 6"/>
                <a:gd name="T26" fmla="*/ 0 w 20"/>
                <a:gd name="T27" fmla="*/ 4 h 6"/>
                <a:gd name="T28" fmla="*/ 0 w 20"/>
                <a:gd name="T29" fmla="*/ 1 h 6"/>
                <a:gd name="T30" fmla="*/ 0 w 20"/>
                <a:gd name="T31" fmla="*/ 1 h 6"/>
                <a:gd name="T32" fmla="*/ 6 w 20"/>
                <a:gd name="T33" fmla="*/ 0 h 6"/>
                <a:gd name="T34" fmla="*/ 1 w 20"/>
                <a:gd name="T35" fmla="*/ 1 h 6"/>
                <a:gd name="T36" fmla="*/ 6 w 20"/>
                <a:gd name="T37" fmla="*/ 0 h 6"/>
                <a:gd name="T38" fmla="*/ 6 w 20"/>
                <a:gd name="T39" fmla="*/ 0 h 6"/>
                <a:gd name="T40" fmla="*/ 6 w 20"/>
                <a:gd name="T41" fmla="*/ 0 h 6"/>
                <a:gd name="T42" fmla="*/ 6 w 20"/>
                <a:gd name="T43" fmla="*/ 0 h 6"/>
                <a:gd name="T44" fmla="*/ 6 w 20"/>
                <a:gd name="T4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0" h="6">
                  <a:moveTo>
                    <a:pt x="20" y="3"/>
                  </a:moveTo>
                  <a:cubicBezTo>
                    <a:pt x="20" y="3"/>
                    <a:pt x="20" y="3"/>
                    <a:pt x="20" y="3"/>
                  </a:cubicBezTo>
                  <a:cubicBezTo>
                    <a:pt x="20" y="4"/>
                    <a:pt x="20" y="5"/>
                    <a:pt x="20" y="6"/>
                  </a:cubicBezTo>
                  <a:cubicBezTo>
                    <a:pt x="20" y="5"/>
                    <a:pt x="20" y="4"/>
                    <a:pt x="20" y="3"/>
                  </a:cubicBezTo>
                  <a:cubicBezTo>
                    <a:pt x="20" y="3"/>
                    <a:pt x="20" y="3"/>
                    <a:pt x="20" y="3"/>
                  </a:cubicBezTo>
                  <a:moveTo>
                    <a:pt x="20" y="3"/>
                  </a:moveTo>
                  <a:cubicBezTo>
                    <a:pt x="20" y="3"/>
                    <a:pt x="20" y="3"/>
                    <a:pt x="20" y="3"/>
                  </a:cubicBezTo>
                  <a:cubicBezTo>
                    <a:pt x="20" y="3"/>
                    <a:pt x="20" y="3"/>
                    <a:pt x="20" y="3"/>
                  </a:cubicBezTo>
                  <a:moveTo>
                    <a:pt x="20" y="3"/>
                  </a:moveTo>
                  <a:cubicBezTo>
                    <a:pt x="20" y="3"/>
                    <a:pt x="20" y="3"/>
                    <a:pt x="20" y="3"/>
                  </a:cubicBezTo>
                  <a:cubicBezTo>
                    <a:pt x="20" y="3"/>
                    <a:pt x="20" y="3"/>
                    <a:pt x="20" y="3"/>
                  </a:cubicBezTo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4"/>
                  </a:cubicBezTo>
                  <a:cubicBezTo>
                    <a:pt x="0" y="2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moveTo>
                    <a:pt x="6" y="0"/>
                  </a:moveTo>
                  <a:cubicBezTo>
                    <a:pt x="3" y="0"/>
                    <a:pt x="1" y="0"/>
                    <a:pt x="1" y="1"/>
                  </a:cubicBezTo>
                  <a:cubicBezTo>
                    <a:pt x="1" y="0"/>
                    <a:pt x="3" y="0"/>
                    <a:pt x="6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82" name="Freeform 56"/>
            <p:cNvSpPr/>
            <p:nvPr userDrawn="1"/>
          </p:nvSpPr>
          <p:spPr bwMode="auto">
            <a:xfrm>
              <a:off x="5639593" y="2566988"/>
              <a:ext cx="7938" cy="11113"/>
            </a:xfrm>
            <a:custGeom>
              <a:avLst/>
              <a:gdLst>
                <a:gd name="T0" fmla="*/ 1 w 3"/>
                <a:gd name="T1" fmla="*/ 3 h 4"/>
                <a:gd name="T2" fmla="*/ 2 w 3"/>
                <a:gd name="T3" fmla="*/ 4 h 4"/>
                <a:gd name="T4" fmla="*/ 3 w 3"/>
                <a:gd name="T5" fmla="*/ 2 h 4"/>
                <a:gd name="T6" fmla="*/ 1 w 3"/>
                <a:gd name="T7" fmla="*/ 1 h 4"/>
                <a:gd name="T8" fmla="*/ 1 w 3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4">
                  <a:moveTo>
                    <a:pt x="1" y="3"/>
                  </a:moveTo>
                  <a:cubicBezTo>
                    <a:pt x="1" y="4"/>
                    <a:pt x="2" y="4"/>
                    <a:pt x="2" y="4"/>
                  </a:cubicBezTo>
                  <a:cubicBezTo>
                    <a:pt x="3" y="4"/>
                    <a:pt x="3" y="3"/>
                    <a:pt x="3" y="2"/>
                  </a:cubicBezTo>
                  <a:cubicBezTo>
                    <a:pt x="2" y="1"/>
                    <a:pt x="2" y="0"/>
                    <a:pt x="1" y="1"/>
                  </a:cubicBezTo>
                  <a:cubicBezTo>
                    <a:pt x="1" y="1"/>
                    <a:pt x="0" y="2"/>
                    <a:pt x="1" y="3"/>
                  </a:cubicBezTo>
                  <a:close/>
                </a:path>
              </a:pathLst>
            </a:custGeom>
            <a:solidFill>
              <a:srgbClr val="E8E8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83" name="Freeform 57"/>
            <p:cNvSpPr/>
            <p:nvPr userDrawn="1"/>
          </p:nvSpPr>
          <p:spPr bwMode="auto">
            <a:xfrm>
              <a:off x="5703093" y="2557463"/>
              <a:ext cx="4763" cy="7938"/>
            </a:xfrm>
            <a:custGeom>
              <a:avLst/>
              <a:gdLst>
                <a:gd name="T0" fmla="*/ 0 w 3"/>
                <a:gd name="T1" fmla="*/ 5 h 5"/>
                <a:gd name="T2" fmla="*/ 3 w 3"/>
                <a:gd name="T3" fmla="*/ 5 h 5"/>
                <a:gd name="T4" fmla="*/ 3 w 3"/>
                <a:gd name="T5" fmla="*/ 1 h 5"/>
                <a:gd name="T6" fmla="*/ 0 w 3"/>
                <a:gd name="T7" fmla="*/ 0 h 5"/>
                <a:gd name="T8" fmla="*/ 0 w 3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5">
                  <a:moveTo>
                    <a:pt x="0" y="5"/>
                  </a:moveTo>
                  <a:lnTo>
                    <a:pt x="3" y="5"/>
                  </a:lnTo>
                  <a:lnTo>
                    <a:pt x="3" y="1"/>
                  </a:lnTo>
                  <a:lnTo>
                    <a:pt x="0" y="0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4535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84" name="Rectangle 58"/>
            <p:cNvSpPr>
              <a:spLocks noChangeArrowheads="1"/>
            </p:cNvSpPr>
            <p:nvPr userDrawn="1"/>
          </p:nvSpPr>
          <p:spPr bwMode="auto">
            <a:xfrm>
              <a:off x="5631656" y="2562226"/>
              <a:ext cx="14288" cy="4763"/>
            </a:xfrm>
            <a:prstGeom prst="rect">
              <a:avLst/>
            </a:prstGeom>
            <a:solidFill>
              <a:srgbClr val="4535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85" name="Rectangle 59"/>
            <p:cNvSpPr>
              <a:spLocks noChangeArrowheads="1"/>
            </p:cNvSpPr>
            <p:nvPr userDrawn="1"/>
          </p:nvSpPr>
          <p:spPr bwMode="auto">
            <a:xfrm>
              <a:off x="5631656" y="2554288"/>
              <a:ext cx="14288" cy="7938"/>
            </a:xfrm>
            <a:prstGeom prst="rect">
              <a:avLst/>
            </a:prstGeom>
            <a:solidFill>
              <a:srgbClr val="4535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86" name="Freeform 60"/>
            <p:cNvSpPr/>
            <p:nvPr userDrawn="1"/>
          </p:nvSpPr>
          <p:spPr bwMode="auto">
            <a:xfrm>
              <a:off x="5914231" y="3702051"/>
              <a:ext cx="187325" cy="61913"/>
            </a:xfrm>
            <a:custGeom>
              <a:avLst/>
              <a:gdLst>
                <a:gd name="T0" fmla="*/ 35 w 69"/>
                <a:gd name="T1" fmla="*/ 0 h 23"/>
                <a:gd name="T2" fmla="*/ 68 w 69"/>
                <a:gd name="T3" fmla="*/ 16 h 23"/>
                <a:gd name="T4" fmla="*/ 68 w 69"/>
                <a:gd name="T5" fmla="*/ 23 h 23"/>
                <a:gd name="T6" fmla="*/ 0 w 69"/>
                <a:gd name="T7" fmla="*/ 23 h 23"/>
                <a:gd name="T8" fmla="*/ 0 w 69"/>
                <a:gd name="T9" fmla="*/ 0 h 23"/>
                <a:gd name="T10" fmla="*/ 35 w 69"/>
                <a:gd name="T11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9" h="23">
                  <a:moveTo>
                    <a:pt x="35" y="0"/>
                  </a:moveTo>
                  <a:cubicBezTo>
                    <a:pt x="35" y="0"/>
                    <a:pt x="66" y="14"/>
                    <a:pt x="68" y="16"/>
                  </a:cubicBezTo>
                  <a:cubicBezTo>
                    <a:pt x="69" y="18"/>
                    <a:pt x="68" y="23"/>
                    <a:pt x="68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35" y="0"/>
                  </a:lnTo>
                  <a:close/>
                </a:path>
              </a:pathLst>
            </a:custGeom>
            <a:solidFill>
              <a:srgbClr val="2B2B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87" name="Freeform 61"/>
            <p:cNvSpPr/>
            <p:nvPr userDrawn="1"/>
          </p:nvSpPr>
          <p:spPr bwMode="auto">
            <a:xfrm>
              <a:off x="5726906" y="3702051"/>
              <a:ext cx="187325" cy="61913"/>
            </a:xfrm>
            <a:custGeom>
              <a:avLst/>
              <a:gdLst>
                <a:gd name="T0" fmla="*/ 34 w 69"/>
                <a:gd name="T1" fmla="*/ 0 h 23"/>
                <a:gd name="T2" fmla="*/ 1 w 69"/>
                <a:gd name="T3" fmla="*/ 16 h 23"/>
                <a:gd name="T4" fmla="*/ 1 w 69"/>
                <a:gd name="T5" fmla="*/ 23 h 23"/>
                <a:gd name="T6" fmla="*/ 69 w 69"/>
                <a:gd name="T7" fmla="*/ 23 h 23"/>
                <a:gd name="T8" fmla="*/ 69 w 69"/>
                <a:gd name="T9" fmla="*/ 0 h 23"/>
                <a:gd name="T10" fmla="*/ 34 w 69"/>
                <a:gd name="T11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9" h="23">
                  <a:moveTo>
                    <a:pt x="34" y="0"/>
                  </a:moveTo>
                  <a:cubicBezTo>
                    <a:pt x="34" y="0"/>
                    <a:pt x="3" y="14"/>
                    <a:pt x="1" y="16"/>
                  </a:cubicBezTo>
                  <a:cubicBezTo>
                    <a:pt x="0" y="18"/>
                    <a:pt x="1" y="23"/>
                    <a:pt x="1" y="23"/>
                  </a:cubicBezTo>
                  <a:cubicBezTo>
                    <a:pt x="69" y="23"/>
                    <a:pt x="69" y="23"/>
                    <a:pt x="69" y="23"/>
                  </a:cubicBezTo>
                  <a:cubicBezTo>
                    <a:pt x="69" y="0"/>
                    <a:pt x="69" y="0"/>
                    <a:pt x="69" y="0"/>
                  </a:cubicBezTo>
                  <a:lnTo>
                    <a:pt x="34" y="0"/>
                  </a:lnTo>
                  <a:close/>
                </a:path>
              </a:pathLst>
            </a:custGeom>
            <a:solidFill>
              <a:srgbClr val="2B2B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88" name="Freeform 62"/>
            <p:cNvSpPr/>
            <p:nvPr userDrawn="1"/>
          </p:nvSpPr>
          <p:spPr bwMode="auto">
            <a:xfrm>
              <a:off x="5772943" y="2954338"/>
              <a:ext cx="282575" cy="747713"/>
            </a:xfrm>
            <a:custGeom>
              <a:avLst/>
              <a:gdLst>
                <a:gd name="T0" fmla="*/ 0 w 178"/>
                <a:gd name="T1" fmla="*/ 85 h 471"/>
                <a:gd name="T2" fmla="*/ 27 w 178"/>
                <a:gd name="T3" fmla="*/ 471 h 471"/>
                <a:gd name="T4" fmla="*/ 89 w 178"/>
                <a:gd name="T5" fmla="*/ 471 h 471"/>
                <a:gd name="T6" fmla="*/ 149 w 178"/>
                <a:gd name="T7" fmla="*/ 471 h 471"/>
                <a:gd name="T8" fmla="*/ 178 w 178"/>
                <a:gd name="T9" fmla="*/ 85 h 471"/>
                <a:gd name="T10" fmla="*/ 161 w 178"/>
                <a:gd name="T11" fmla="*/ 0 h 471"/>
                <a:gd name="T12" fmla="*/ 17 w 178"/>
                <a:gd name="T13" fmla="*/ 0 h 471"/>
                <a:gd name="T14" fmla="*/ 0 w 178"/>
                <a:gd name="T15" fmla="*/ 85 h 4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8" h="471">
                  <a:moveTo>
                    <a:pt x="0" y="85"/>
                  </a:moveTo>
                  <a:lnTo>
                    <a:pt x="27" y="471"/>
                  </a:lnTo>
                  <a:lnTo>
                    <a:pt x="89" y="471"/>
                  </a:lnTo>
                  <a:lnTo>
                    <a:pt x="149" y="471"/>
                  </a:lnTo>
                  <a:lnTo>
                    <a:pt x="178" y="85"/>
                  </a:lnTo>
                  <a:lnTo>
                    <a:pt x="161" y="0"/>
                  </a:lnTo>
                  <a:lnTo>
                    <a:pt x="17" y="0"/>
                  </a:lnTo>
                  <a:lnTo>
                    <a:pt x="0" y="85"/>
                  </a:lnTo>
                  <a:close/>
                </a:path>
              </a:pathLst>
            </a:custGeom>
            <a:solidFill>
              <a:srgbClr val="333C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89" name="Rectangle 63"/>
            <p:cNvSpPr>
              <a:spLocks noChangeArrowheads="1"/>
            </p:cNvSpPr>
            <p:nvPr userDrawn="1"/>
          </p:nvSpPr>
          <p:spPr bwMode="auto">
            <a:xfrm>
              <a:off x="5884068" y="2524126"/>
              <a:ext cx="60325" cy="122238"/>
            </a:xfrm>
            <a:prstGeom prst="rect">
              <a:avLst/>
            </a:prstGeom>
            <a:solidFill>
              <a:srgbClr val="BD87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90" name="Freeform 64"/>
            <p:cNvSpPr/>
            <p:nvPr userDrawn="1"/>
          </p:nvSpPr>
          <p:spPr bwMode="auto">
            <a:xfrm>
              <a:off x="5696743" y="2774951"/>
              <a:ext cx="76200" cy="401638"/>
            </a:xfrm>
            <a:custGeom>
              <a:avLst/>
              <a:gdLst>
                <a:gd name="T0" fmla="*/ 23 w 28"/>
                <a:gd name="T1" fmla="*/ 129 h 148"/>
                <a:gd name="T2" fmla="*/ 26 w 28"/>
                <a:gd name="T3" fmla="*/ 125 h 148"/>
                <a:gd name="T4" fmla="*/ 20 w 28"/>
                <a:gd name="T5" fmla="*/ 117 h 148"/>
                <a:gd name="T6" fmla="*/ 20 w 28"/>
                <a:gd name="T7" fmla="*/ 117 h 148"/>
                <a:gd name="T8" fmla="*/ 20 w 28"/>
                <a:gd name="T9" fmla="*/ 117 h 148"/>
                <a:gd name="T10" fmla="*/ 22 w 28"/>
                <a:gd name="T11" fmla="*/ 50 h 148"/>
                <a:gd name="T12" fmla="*/ 22 w 28"/>
                <a:gd name="T13" fmla="*/ 37 h 148"/>
                <a:gd name="T14" fmla="*/ 27 w 28"/>
                <a:gd name="T15" fmla="*/ 5 h 148"/>
                <a:gd name="T16" fmla="*/ 6 w 28"/>
                <a:gd name="T17" fmla="*/ 0 h 148"/>
                <a:gd name="T18" fmla="*/ 0 w 28"/>
                <a:gd name="T19" fmla="*/ 39 h 148"/>
                <a:gd name="T20" fmla="*/ 6 w 28"/>
                <a:gd name="T21" fmla="*/ 116 h 148"/>
                <a:gd name="T22" fmla="*/ 1 w 28"/>
                <a:gd name="T23" fmla="*/ 135 h 148"/>
                <a:gd name="T24" fmla="*/ 15 w 28"/>
                <a:gd name="T25" fmla="*/ 148 h 148"/>
                <a:gd name="T26" fmla="*/ 28 w 28"/>
                <a:gd name="T27" fmla="*/ 136 h 148"/>
                <a:gd name="T28" fmla="*/ 23 w 28"/>
                <a:gd name="T29" fmla="*/ 129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148">
                  <a:moveTo>
                    <a:pt x="23" y="129"/>
                  </a:moveTo>
                  <a:cubicBezTo>
                    <a:pt x="23" y="129"/>
                    <a:pt x="25" y="128"/>
                    <a:pt x="26" y="125"/>
                  </a:cubicBezTo>
                  <a:cubicBezTo>
                    <a:pt x="26" y="122"/>
                    <a:pt x="20" y="117"/>
                    <a:pt x="20" y="117"/>
                  </a:cubicBezTo>
                  <a:cubicBezTo>
                    <a:pt x="20" y="117"/>
                    <a:pt x="20" y="117"/>
                    <a:pt x="20" y="117"/>
                  </a:cubicBezTo>
                  <a:cubicBezTo>
                    <a:pt x="20" y="117"/>
                    <a:pt x="20" y="117"/>
                    <a:pt x="20" y="117"/>
                  </a:cubicBezTo>
                  <a:cubicBezTo>
                    <a:pt x="22" y="50"/>
                    <a:pt x="22" y="50"/>
                    <a:pt x="22" y="50"/>
                  </a:cubicBezTo>
                  <a:cubicBezTo>
                    <a:pt x="22" y="37"/>
                    <a:pt x="22" y="37"/>
                    <a:pt x="22" y="37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6" y="116"/>
                    <a:pt x="6" y="116"/>
                    <a:pt x="6" y="116"/>
                  </a:cubicBezTo>
                  <a:cubicBezTo>
                    <a:pt x="6" y="124"/>
                    <a:pt x="0" y="131"/>
                    <a:pt x="1" y="135"/>
                  </a:cubicBezTo>
                  <a:cubicBezTo>
                    <a:pt x="5" y="140"/>
                    <a:pt x="10" y="148"/>
                    <a:pt x="15" y="148"/>
                  </a:cubicBezTo>
                  <a:cubicBezTo>
                    <a:pt x="19" y="146"/>
                    <a:pt x="25" y="143"/>
                    <a:pt x="28" y="136"/>
                  </a:cubicBezTo>
                  <a:cubicBezTo>
                    <a:pt x="27" y="132"/>
                    <a:pt x="23" y="129"/>
                    <a:pt x="23" y="129"/>
                  </a:cubicBezTo>
                  <a:close/>
                </a:path>
              </a:pathLst>
            </a:custGeom>
            <a:solidFill>
              <a:srgbClr val="FFB7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91" name="Freeform 65"/>
            <p:cNvSpPr/>
            <p:nvPr userDrawn="1"/>
          </p:nvSpPr>
          <p:spPr bwMode="auto">
            <a:xfrm>
              <a:off x="5703093" y="2774951"/>
              <a:ext cx="66675" cy="84138"/>
            </a:xfrm>
            <a:custGeom>
              <a:avLst/>
              <a:gdLst>
                <a:gd name="T0" fmla="*/ 42 w 42"/>
                <a:gd name="T1" fmla="*/ 8 h 53"/>
                <a:gd name="T2" fmla="*/ 36 w 42"/>
                <a:gd name="T3" fmla="*/ 53 h 53"/>
                <a:gd name="T4" fmla="*/ 0 w 42"/>
                <a:gd name="T5" fmla="*/ 44 h 53"/>
                <a:gd name="T6" fmla="*/ 6 w 42"/>
                <a:gd name="T7" fmla="*/ 0 h 53"/>
                <a:gd name="T8" fmla="*/ 42 w 42"/>
                <a:gd name="T9" fmla="*/ 8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53">
                  <a:moveTo>
                    <a:pt x="42" y="8"/>
                  </a:moveTo>
                  <a:lnTo>
                    <a:pt x="36" y="53"/>
                  </a:lnTo>
                  <a:lnTo>
                    <a:pt x="0" y="44"/>
                  </a:lnTo>
                  <a:lnTo>
                    <a:pt x="6" y="0"/>
                  </a:lnTo>
                  <a:lnTo>
                    <a:pt x="42" y="8"/>
                  </a:lnTo>
                  <a:close/>
                </a:path>
              </a:pathLst>
            </a:custGeom>
            <a:solidFill>
              <a:srgbClr val="C991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92" name="Freeform 66"/>
            <p:cNvSpPr/>
            <p:nvPr userDrawn="1"/>
          </p:nvSpPr>
          <p:spPr bwMode="auto">
            <a:xfrm>
              <a:off x="6058693" y="2782888"/>
              <a:ext cx="76200" cy="401638"/>
            </a:xfrm>
            <a:custGeom>
              <a:avLst/>
              <a:gdLst>
                <a:gd name="T0" fmla="*/ 5 w 28"/>
                <a:gd name="T1" fmla="*/ 128 h 148"/>
                <a:gd name="T2" fmla="*/ 3 w 28"/>
                <a:gd name="T3" fmla="*/ 124 h 148"/>
                <a:gd name="T4" fmla="*/ 8 w 28"/>
                <a:gd name="T5" fmla="*/ 116 h 148"/>
                <a:gd name="T6" fmla="*/ 9 w 28"/>
                <a:gd name="T7" fmla="*/ 116 h 148"/>
                <a:gd name="T8" fmla="*/ 8 w 28"/>
                <a:gd name="T9" fmla="*/ 116 h 148"/>
                <a:gd name="T10" fmla="*/ 6 w 28"/>
                <a:gd name="T11" fmla="*/ 50 h 148"/>
                <a:gd name="T12" fmla="*/ 6 w 28"/>
                <a:gd name="T13" fmla="*/ 36 h 148"/>
                <a:gd name="T14" fmla="*/ 2 w 28"/>
                <a:gd name="T15" fmla="*/ 5 h 148"/>
                <a:gd name="T16" fmla="*/ 23 w 28"/>
                <a:gd name="T17" fmla="*/ 0 h 148"/>
                <a:gd name="T18" fmla="*/ 28 w 28"/>
                <a:gd name="T19" fmla="*/ 39 h 148"/>
                <a:gd name="T20" fmla="*/ 22 w 28"/>
                <a:gd name="T21" fmla="*/ 116 h 148"/>
                <a:gd name="T22" fmla="*/ 27 w 28"/>
                <a:gd name="T23" fmla="*/ 135 h 148"/>
                <a:gd name="T24" fmla="*/ 14 w 28"/>
                <a:gd name="T25" fmla="*/ 148 h 148"/>
                <a:gd name="T26" fmla="*/ 0 w 28"/>
                <a:gd name="T27" fmla="*/ 136 h 148"/>
                <a:gd name="T28" fmla="*/ 5 w 28"/>
                <a:gd name="T29" fmla="*/ 12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148">
                  <a:moveTo>
                    <a:pt x="5" y="128"/>
                  </a:moveTo>
                  <a:cubicBezTo>
                    <a:pt x="5" y="128"/>
                    <a:pt x="3" y="127"/>
                    <a:pt x="3" y="124"/>
                  </a:cubicBezTo>
                  <a:cubicBezTo>
                    <a:pt x="2" y="121"/>
                    <a:pt x="8" y="116"/>
                    <a:pt x="8" y="116"/>
                  </a:cubicBezTo>
                  <a:cubicBezTo>
                    <a:pt x="8" y="116"/>
                    <a:pt x="8" y="116"/>
                    <a:pt x="9" y="116"/>
                  </a:cubicBezTo>
                  <a:cubicBezTo>
                    <a:pt x="8" y="116"/>
                    <a:pt x="8" y="116"/>
                    <a:pt x="8" y="116"/>
                  </a:cubicBezTo>
                  <a:cubicBezTo>
                    <a:pt x="6" y="50"/>
                    <a:pt x="6" y="50"/>
                    <a:pt x="6" y="50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8" y="39"/>
                    <a:pt x="28" y="39"/>
                    <a:pt x="28" y="39"/>
                  </a:cubicBezTo>
                  <a:cubicBezTo>
                    <a:pt x="22" y="116"/>
                    <a:pt x="22" y="116"/>
                    <a:pt x="22" y="116"/>
                  </a:cubicBezTo>
                  <a:cubicBezTo>
                    <a:pt x="22" y="123"/>
                    <a:pt x="28" y="131"/>
                    <a:pt x="27" y="135"/>
                  </a:cubicBezTo>
                  <a:cubicBezTo>
                    <a:pt x="24" y="139"/>
                    <a:pt x="18" y="148"/>
                    <a:pt x="14" y="148"/>
                  </a:cubicBezTo>
                  <a:cubicBezTo>
                    <a:pt x="9" y="146"/>
                    <a:pt x="3" y="142"/>
                    <a:pt x="0" y="136"/>
                  </a:cubicBezTo>
                  <a:cubicBezTo>
                    <a:pt x="1" y="132"/>
                    <a:pt x="5" y="128"/>
                    <a:pt x="5" y="128"/>
                  </a:cubicBezTo>
                  <a:close/>
                </a:path>
              </a:pathLst>
            </a:custGeom>
            <a:solidFill>
              <a:srgbClr val="FFB7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93" name="Freeform 67"/>
            <p:cNvSpPr/>
            <p:nvPr userDrawn="1"/>
          </p:nvSpPr>
          <p:spPr bwMode="auto">
            <a:xfrm>
              <a:off x="6063456" y="2782888"/>
              <a:ext cx="65088" cy="84138"/>
            </a:xfrm>
            <a:custGeom>
              <a:avLst/>
              <a:gdLst>
                <a:gd name="T0" fmla="*/ 0 w 41"/>
                <a:gd name="T1" fmla="*/ 8 h 53"/>
                <a:gd name="T2" fmla="*/ 7 w 41"/>
                <a:gd name="T3" fmla="*/ 53 h 53"/>
                <a:gd name="T4" fmla="*/ 41 w 41"/>
                <a:gd name="T5" fmla="*/ 44 h 53"/>
                <a:gd name="T6" fmla="*/ 36 w 41"/>
                <a:gd name="T7" fmla="*/ 0 h 53"/>
                <a:gd name="T8" fmla="*/ 0 w 41"/>
                <a:gd name="T9" fmla="*/ 8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53">
                  <a:moveTo>
                    <a:pt x="0" y="8"/>
                  </a:moveTo>
                  <a:lnTo>
                    <a:pt x="7" y="53"/>
                  </a:lnTo>
                  <a:lnTo>
                    <a:pt x="41" y="44"/>
                  </a:lnTo>
                  <a:lnTo>
                    <a:pt x="36" y="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C991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94" name="Freeform 68"/>
            <p:cNvSpPr/>
            <p:nvPr userDrawn="1"/>
          </p:nvSpPr>
          <p:spPr bwMode="auto">
            <a:xfrm>
              <a:off x="5696743" y="2586038"/>
              <a:ext cx="431800" cy="482600"/>
            </a:xfrm>
            <a:custGeom>
              <a:avLst/>
              <a:gdLst>
                <a:gd name="T0" fmla="*/ 155 w 159"/>
                <a:gd name="T1" fmla="*/ 57 h 177"/>
                <a:gd name="T2" fmla="*/ 145 w 159"/>
                <a:gd name="T3" fmla="*/ 18 h 177"/>
                <a:gd name="T4" fmla="*/ 93 w 159"/>
                <a:gd name="T5" fmla="*/ 1 h 177"/>
                <a:gd name="T6" fmla="*/ 81 w 159"/>
                <a:gd name="T7" fmla="*/ 17 h 177"/>
                <a:gd name="T8" fmla="*/ 68 w 159"/>
                <a:gd name="T9" fmla="*/ 1 h 177"/>
                <a:gd name="T10" fmla="*/ 16 w 159"/>
                <a:gd name="T11" fmla="*/ 18 h 177"/>
                <a:gd name="T12" fmla="*/ 7 w 159"/>
                <a:gd name="T13" fmla="*/ 58 h 177"/>
                <a:gd name="T14" fmla="*/ 7 w 159"/>
                <a:gd name="T15" fmla="*/ 58 h 177"/>
                <a:gd name="T16" fmla="*/ 7 w 159"/>
                <a:gd name="T17" fmla="*/ 58 h 177"/>
                <a:gd name="T18" fmla="*/ 7 w 159"/>
                <a:gd name="T19" fmla="*/ 58 h 177"/>
                <a:gd name="T20" fmla="*/ 0 w 159"/>
                <a:gd name="T21" fmla="*/ 90 h 177"/>
                <a:gd name="T22" fmla="*/ 28 w 159"/>
                <a:gd name="T23" fmla="*/ 97 h 177"/>
                <a:gd name="T24" fmla="*/ 32 w 159"/>
                <a:gd name="T25" fmla="*/ 58 h 177"/>
                <a:gd name="T26" fmla="*/ 32 w 159"/>
                <a:gd name="T27" fmla="*/ 58 h 177"/>
                <a:gd name="T28" fmla="*/ 30 w 159"/>
                <a:gd name="T29" fmla="*/ 173 h 177"/>
                <a:gd name="T30" fmla="*/ 132 w 159"/>
                <a:gd name="T31" fmla="*/ 177 h 177"/>
                <a:gd name="T32" fmla="*/ 129 w 159"/>
                <a:gd name="T33" fmla="*/ 58 h 177"/>
                <a:gd name="T34" fmla="*/ 129 w 159"/>
                <a:gd name="T35" fmla="*/ 58 h 177"/>
                <a:gd name="T36" fmla="*/ 135 w 159"/>
                <a:gd name="T37" fmla="*/ 100 h 177"/>
                <a:gd name="T38" fmla="*/ 159 w 159"/>
                <a:gd name="T39" fmla="*/ 96 h 177"/>
                <a:gd name="T40" fmla="*/ 155 w 159"/>
                <a:gd name="T41" fmla="*/ 57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59" h="177">
                  <a:moveTo>
                    <a:pt x="155" y="57"/>
                  </a:moveTo>
                  <a:cubicBezTo>
                    <a:pt x="154" y="30"/>
                    <a:pt x="145" y="18"/>
                    <a:pt x="145" y="18"/>
                  </a:cubicBezTo>
                  <a:cubicBezTo>
                    <a:pt x="144" y="9"/>
                    <a:pt x="94" y="0"/>
                    <a:pt x="93" y="1"/>
                  </a:cubicBezTo>
                  <a:cubicBezTo>
                    <a:pt x="81" y="17"/>
                    <a:pt x="81" y="17"/>
                    <a:pt x="81" y="17"/>
                  </a:cubicBezTo>
                  <a:cubicBezTo>
                    <a:pt x="68" y="1"/>
                    <a:pt x="68" y="1"/>
                    <a:pt x="68" y="1"/>
                  </a:cubicBezTo>
                  <a:cubicBezTo>
                    <a:pt x="68" y="0"/>
                    <a:pt x="17" y="9"/>
                    <a:pt x="16" y="18"/>
                  </a:cubicBezTo>
                  <a:cubicBezTo>
                    <a:pt x="16" y="18"/>
                    <a:pt x="11" y="29"/>
                    <a:pt x="7" y="58"/>
                  </a:cubicBezTo>
                  <a:cubicBezTo>
                    <a:pt x="7" y="58"/>
                    <a:pt x="7" y="58"/>
                    <a:pt x="7" y="58"/>
                  </a:cubicBezTo>
                  <a:cubicBezTo>
                    <a:pt x="7" y="58"/>
                    <a:pt x="7" y="58"/>
                    <a:pt x="7" y="58"/>
                  </a:cubicBezTo>
                  <a:cubicBezTo>
                    <a:pt x="7" y="58"/>
                    <a:pt x="7" y="58"/>
                    <a:pt x="7" y="58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28" y="97"/>
                    <a:pt x="28" y="97"/>
                    <a:pt x="28" y="97"/>
                  </a:cubicBezTo>
                  <a:cubicBezTo>
                    <a:pt x="32" y="58"/>
                    <a:pt x="32" y="58"/>
                    <a:pt x="32" y="58"/>
                  </a:cubicBezTo>
                  <a:cubicBezTo>
                    <a:pt x="32" y="58"/>
                    <a:pt x="32" y="58"/>
                    <a:pt x="32" y="58"/>
                  </a:cubicBezTo>
                  <a:cubicBezTo>
                    <a:pt x="30" y="173"/>
                    <a:pt x="30" y="173"/>
                    <a:pt x="30" y="173"/>
                  </a:cubicBezTo>
                  <a:cubicBezTo>
                    <a:pt x="132" y="177"/>
                    <a:pt x="132" y="177"/>
                    <a:pt x="132" y="177"/>
                  </a:cubicBezTo>
                  <a:cubicBezTo>
                    <a:pt x="129" y="58"/>
                    <a:pt x="129" y="58"/>
                    <a:pt x="129" y="58"/>
                  </a:cubicBezTo>
                  <a:cubicBezTo>
                    <a:pt x="129" y="58"/>
                    <a:pt x="129" y="58"/>
                    <a:pt x="129" y="58"/>
                  </a:cubicBezTo>
                  <a:cubicBezTo>
                    <a:pt x="135" y="100"/>
                    <a:pt x="135" y="100"/>
                    <a:pt x="135" y="100"/>
                  </a:cubicBezTo>
                  <a:cubicBezTo>
                    <a:pt x="159" y="96"/>
                    <a:pt x="159" y="96"/>
                    <a:pt x="159" y="96"/>
                  </a:cubicBezTo>
                  <a:lnTo>
                    <a:pt x="155" y="57"/>
                  </a:lnTo>
                  <a:close/>
                </a:path>
              </a:pathLst>
            </a:custGeom>
            <a:solidFill>
              <a:srgbClr val="77A7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95" name="Freeform 69"/>
            <p:cNvSpPr/>
            <p:nvPr userDrawn="1"/>
          </p:nvSpPr>
          <p:spPr bwMode="auto">
            <a:xfrm>
              <a:off x="5818981" y="2397126"/>
              <a:ext cx="198438" cy="141288"/>
            </a:xfrm>
            <a:custGeom>
              <a:avLst/>
              <a:gdLst>
                <a:gd name="T0" fmla="*/ 4 w 73"/>
                <a:gd name="T1" fmla="*/ 12 h 52"/>
                <a:gd name="T2" fmla="*/ 18 w 73"/>
                <a:gd name="T3" fmla="*/ 52 h 52"/>
                <a:gd name="T4" fmla="*/ 53 w 73"/>
                <a:gd name="T5" fmla="*/ 52 h 52"/>
                <a:gd name="T6" fmla="*/ 66 w 73"/>
                <a:gd name="T7" fmla="*/ 12 h 52"/>
                <a:gd name="T8" fmla="*/ 38 w 73"/>
                <a:gd name="T9" fmla="*/ 0 h 52"/>
                <a:gd name="T10" fmla="*/ 4 w 73"/>
                <a:gd name="T11" fmla="*/ 1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3" h="52">
                  <a:moveTo>
                    <a:pt x="4" y="12"/>
                  </a:moveTo>
                  <a:cubicBezTo>
                    <a:pt x="0" y="21"/>
                    <a:pt x="10" y="52"/>
                    <a:pt x="18" y="52"/>
                  </a:cubicBezTo>
                  <a:cubicBezTo>
                    <a:pt x="25" y="52"/>
                    <a:pt x="45" y="52"/>
                    <a:pt x="53" y="52"/>
                  </a:cubicBezTo>
                  <a:cubicBezTo>
                    <a:pt x="60" y="52"/>
                    <a:pt x="73" y="19"/>
                    <a:pt x="66" y="12"/>
                  </a:cubicBezTo>
                  <a:cubicBezTo>
                    <a:pt x="58" y="7"/>
                    <a:pt x="38" y="0"/>
                    <a:pt x="38" y="0"/>
                  </a:cubicBezTo>
                  <a:cubicBezTo>
                    <a:pt x="38" y="0"/>
                    <a:pt x="11" y="7"/>
                    <a:pt x="4" y="12"/>
                  </a:cubicBezTo>
                  <a:close/>
                </a:path>
              </a:pathLst>
            </a:custGeom>
            <a:solidFill>
              <a:srgbClr val="6650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96" name="Freeform 70"/>
            <p:cNvSpPr/>
            <p:nvPr userDrawn="1"/>
          </p:nvSpPr>
          <p:spPr bwMode="auto">
            <a:xfrm>
              <a:off x="5814218" y="2428876"/>
              <a:ext cx="38100" cy="52388"/>
            </a:xfrm>
            <a:custGeom>
              <a:avLst/>
              <a:gdLst>
                <a:gd name="T0" fmla="*/ 10 w 14"/>
                <a:gd name="T1" fmla="*/ 18 h 19"/>
                <a:gd name="T2" fmla="*/ 1 w 14"/>
                <a:gd name="T3" fmla="*/ 11 h 19"/>
                <a:gd name="T4" fmla="*/ 7 w 14"/>
                <a:gd name="T5" fmla="*/ 1 h 19"/>
                <a:gd name="T6" fmla="*/ 10 w 14"/>
                <a:gd name="T7" fmla="*/ 1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19">
                  <a:moveTo>
                    <a:pt x="10" y="18"/>
                  </a:moveTo>
                  <a:cubicBezTo>
                    <a:pt x="6" y="19"/>
                    <a:pt x="2" y="16"/>
                    <a:pt x="1" y="11"/>
                  </a:cubicBezTo>
                  <a:cubicBezTo>
                    <a:pt x="0" y="7"/>
                    <a:pt x="3" y="2"/>
                    <a:pt x="7" y="1"/>
                  </a:cubicBezTo>
                  <a:cubicBezTo>
                    <a:pt x="11" y="0"/>
                    <a:pt x="14" y="17"/>
                    <a:pt x="10" y="18"/>
                  </a:cubicBezTo>
                  <a:close/>
                </a:path>
              </a:pathLst>
            </a:custGeom>
            <a:solidFill>
              <a:srgbClr val="FFB7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97" name="Freeform 71"/>
            <p:cNvSpPr/>
            <p:nvPr userDrawn="1"/>
          </p:nvSpPr>
          <p:spPr bwMode="auto">
            <a:xfrm>
              <a:off x="5977731" y="2428876"/>
              <a:ext cx="38100" cy="52388"/>
            </a:xfrm>
            <a:custGeom>
              <a:avLst/>
              <a:gdLst>
                <a:gd name="T0" fmla="*/ 4 w 14"/>
                <a:gd name="T1" fmla="*/ 18 h 19"/>
                <a:gd name="T2" fmla="*/ 13 w 14"/>
                <a:gd name="T3" fmla="*/ 11 h 19"/>
                <a:gd name="T4" fmla="*/ 7 w 14"/>
                <a:gd name="T5" fmla="*/ 1 h 19"/>
                <a:gd name="T6" fmla="*/ 4 w 14"/>
                <a:gd name="T7" fmla="*/ 1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19">
                  <a:moveTo>
                    <a:pt x="4" y="18"/>
                  </a:moveTo>
                  <a:cubicBezTo>
                    <a:pt x="8" y="19"/>
                    <a:pt x="12" y="16"/>
                    <a:pt x="13" y="11"/>
                  </a:cubicBezTo>
                  <a:cubicBezTo>
                    <a:pt x="14" y="7"/>
                    <a:pt x="11" y="2"/>
                    <a:pt x="7" y="1"/>
                  </a:cubicBezTo>
                  <a:cubicBezTo>
                    <a:pt x="3" y="0"/>
                    <a:pt x="0" y="17"/>
                    <a:pt x="4" y="18"/>
                  </a:cubicBezTo>
                  <a:close/>
                </a:path>
              </a:pathLst>
            </a:custGeom>
            <a:solidFill>
              <a:srgbClr val="FFB7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98" name="Freeform 72"/>
            <p:cNvSpPr/>
            <p:nvPr userDrawn="1"/>
          </p:nvSpPr>
          <p:spPr bwMode="auto">
            <a:xfrm>
              <a:off x="5826918" y="2347913"/>
              <a:ext cx="177800" cy="214313"/>
            </a:xfrm>
            <a:custGeom>
              <a:avLst/>
              <a:gdLst>
                <a:gd name="T0" fmla="*/ 32 w 65"/>
                <a:gd name="T1" fmla="*/ 79 h 79"/>
                <a:gd name="T2" fmla="*/ 61 w 65"/>
                <a:gd name="T3" fmla="*/ 20 h 79"/>
                <a:gd name="T4" fmla="*/ 33 w 65"/>
                <a:gd name="T5" fmla="*/ 0 h 79"/>
                <a:gd name="T6" fmla="*/ 4 w 65"/>
                <a:gd name="T7" fmla="*/ 20 h 79"/>
                <a:gd name="T8" fmla="*/ 32 w 65"/>
                <a:gd name="T9" fmla="*/ 7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5" h="79">
                  <a:moveTo>
                    <a:pt x="32" y="79"/>
                  </a:moveTo>
                  <a:cubicBezTo>
                    <a:pt x="65" y="79"/>
                    <a:pt x="61" y="20"/>
                    <a:pt x="61" y="20"/>
                  </a:cubicBezTo>
                  <a:cubicBezTo>
                    <a:pt x="61" y="20"/>
                    <a:pt x="60" y="0"/>
                    <a:pt x="33" y="0"/>
                  </a:cubicBezTo>
                  <a:cubicBezTo>
                    <a:pt x="10" y="0"/>
                    <a:pt x="4" y="20"/>
                    <a:pt x="4" y="20"/>
                  </a:cubicBezTo>
                  <a:cubicBezTo>
                    <a:pt x="4" y="20"/>
                    <a:pt x="0" y="79"/>
                    <a:pt x="32" y="79"/>
                  </a:cubicBezTo>
                  <a:close/>
                </a:path>
              </a:pathLst>
            </a:custGeom>
            <a:solidFill>
              <a:srgbClr val="FFB7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99" name="Freeform 73"/>
            <p:cNvSpPr/>
            <p:nvPr userDrawn="1"/>
          </p:nvSpPr>
          <p:spPr bwMode="auto">
            <a:xfrm>
              <a:off x="5803106" y="2322513"/>
              <a:ext cx="225425" cy="128588"/>
            </a:xfrm>
            <a:custGeom>
              <a:avLst/>
              <a:gdLst>
                <a:gd name="T0" fmla="*/ 9 w 83"/>
                <a:gd name="T1" fmla="*/ 41 h 47"/>
                <a:gd name="T2" fmla="*/ 15 w 83"/>
                <a:gd name="T3" fmla="*/ 46 h 47"/>
                <a:gd name="T4" fmla="*/ 16 w 83"/>
                <a:gd name="T5" fmla="*/ 25 h 47"/>
                <a:gd name="T6" fmla="*/ 55 w 83"/>
                <a:gd name="T7" fmla="*/ 18 h 47"/>
                <a:gd name="T8" fmla="*/ 66 w 83"/>
                <a:gd name="T9" fmla="*/ 25 h 47"/>
                <a:gd name="T10" fmla="*/ 68 w 83"/>
                <a:gd name="T11" fmla="*/ 47 h 47"/>
                <a:gd name="T12" fmla="*/ 74 w 83"/>
                <a:gd name="T13" fmla="*/ 41 h 47"/>
                <a:gd name="T14" fmla="*/ 42 w 83"/>
                <a:gd name="T15" fmla="*/ 0 h 47"/>
                <a:gd name="T16" fmla="*/ 9 w 83"/>
                <a:gd name="T17" fmla="*/ 41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3" h="47">
                  <a:moveTo>
                    <a:pt x="9" y="41"/>
                  </a:moveTo>
                  <a:cubicBezTo>
                    <a:pt x="12" y="40"/>
                    <a:pt x="15" y="46"/>
                    <a:pt x="15" y="46"/>
                  </a:cubicBezTo>
                  <a:cubicBezTo>
                    <a:pt x="16" y="25"/>
                    <a:pt x="16" y="25"/>
                    <a:pt x="16" y="25"/>
                  </a:cubicBezTo>
                  <a:cubicBezTo>
                    <a:pt x="16" y="25"/>
                    <a:pt x="49" y="31"/>
                    <a:pt x="55" y="18"/>
                  </a:cubicBezTo>
                  <a:cubicBezTo>
                    <a:pt x="64" y="15"/>
                    <a:pt x="66" y="25"/>
                    <a:pt x="66" y="25"/>
                  </a:cubicBezTo>
                  <a:cubicBezTo>
                    <a:pt x="66" y="25"/>
                    <a:pt x="68" y="47"/>
                    <a:pt x="68" y="47"/>
                  </a:cubicBezTo>
                  <a:cubicBezTo>
                    <a:pt x="70" y="41"/>
                    <a:pt x="74" y="41"/>
                    <a:pt x="74" y="41"/>
                  </a:cubicBezTo>
                  <a:cubicBezTo>
                    <a:pt x="74" y="41"/>
                    <a:pt x="83" y="0"/>
                    <a:pt x="42" y="0"/>
                  </a:cubicBezTo>
                  <a:cubicBezTo>
                    <a:pt x="0" y="0"/>
                    <a:pt x="9" y="40"/>
                    <a:pt x="9" y="41"/>
                  </a:cubicBezTo>
                  <a:close/>
                </a:path>
              </a:pathLst>
            </a:custGeom>
            <a:solidFill>
              <a:srgbClr val="6650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00" name="Freeform 74"/>
            <p:cNvSpPr/>
            <p:nvPr userDrawn="1"/>
          </p:nvSpPr>
          <p:spPr bwMode="auto">
            <a:xfrm>
              <a:off x="6390481" y="3717926"/>
              <a:ext cx="138113" cy="46038"/>
            </a:xfrm>
            <a:custGeom>
              <a:avLst/>
              <a:gdLst>
                <a:gd name="T0" fmla="*/ 26 w 51"/>
                <a:gd name="T1" fmla="*/ 0 h 17"/>
                <a:gd name="T2" fmla="*/ 50 w 51"/>
                <a:gd name="T3" fmla="*/ 12 h 17"/>
                <a:gd name="T4" fmla="*/ 50 w 51"/>
                <a:gd name="T5" fmla="*/ 17 h 17"/>
                <a:gd name="T6" fmla="*/ 0 w 51"/>
                <a:gd name="T7" fmla="*/ 17 h 17"/>
                <a:gd name="T8" fmla="*/ 0 w 51"/>
                <a:gd name="T9" fmla="*/ 0 h 17"/>
                <a:gd name="T10" fmla="*/ 26 w 51"/>
                <a:gd name="T11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1" h="17">
                  <a:moveTo>
                    <a:pt x="26" y="0"/>
                  </a:moveTo>
                  <a:cubicBezTo>
                    <a:pt x="26" y="0"/>
                    <a:pt x="49" y="10"/>
                    <a:pt x="50" y="12"/>
                  </a:cubicBezTo>
                  <a:cubicBezTo>
                    <a:pt x="51" y="13"/>
                    <a:pt x="50" y="17"/>
                    <a:pt x="50" y="1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6" y="0"/>
                  </a:lnTo>
                  <a:close/>
                </a:path>
              </a:pathLst>
            </a:custGeom>
            <a:solidFill>
              <a:srgbClr val="E6E6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01" name="Freeform 75"/>
            <p:cNvSpPr/>
            <p:nvPr userDrawn="1"/>
          </p:nvSpPr>
          <p:spPr bwMode="auto">
            <a:xfrm>
              <a:off x="6252368" y="3717926"/>
              <a:ext cx="138113" cy="46038"/>
            </a:xfrm>
            <a:custGeom>
              <a:avLst/>
              <a:gdLst>
                <a:gd name="T0" fmla="*/ 25 w 51"/>
                <a:gd name="T1" fmla="*/ 0 h 17"/>
                <a:gd name="T2" fmla="*/ 1 w 51"/>
                <a:gd name="T3" fmla="*/ 12 h 17"/>
                <a:gd name="T4" fmla="*/ 1 w 51"/>
                <a:gd name="T5" fmla="*/ 17 h 17"/>
                <a:gd name="T6" fmla="*/ 51 w 51"/>
                <a:gd name="T7" fmla="*/ 17 h 17"/>
                <a:gd name="T8" fmla="*/ 51 w 51"/>
                <a:gd name="T9" fmla="*/ 0 h 17"/>
                <a:gd name="T10" fmla="*/ 25 w 51"/>
                <a:gd name="T11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1" h="17">
                  <a:moveTo>
                    <a:pt x="25" y="0"/>
                  </a:moveTo>
                  <a:cubicBezTo>
                    <a:pt x="25" y="0"/>
                    <a:pt x="2" y="10"/>
                    <a:pt x="1" y="12"/>
                  </a:cubicBezTo>
                  <a:cubicBezTo>
                    <a:pt x="0" y="13"/>
                    <a:pt x="1" y="17"/>
                    <a:pt x="1" y="17"/>
                  </a:cubicBezTo>
                  <a:cubicBezTo>
                    <a:pt x="51" y="17"/>
                    <a:pt x="51" y="17"/>
                    <a:pt x="51" y="17"/>
                  </a:cubicBezTo>
                  <a:cubicBezTo>
                    <a:pt x="51" y="0"/>
                    <a:pt x="51" y="0"/>
                    <a:pt x="51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E6E6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02" name="Freeform 76"/>
            <p:cNvSpPr/>
            <p:nvPr userDrawn="1"/>
          </p:nvSpPr>
          <p:spPr bwMode="auto">
            <a:xfrm>
              <a:off x="6246018" y="3027363"/>
              <a:ext cx="296863" cy="690563"/>
            </a:xfrm>
            <a:custGeom>
              <a:avLst/>
              <a:gdLst>
                <a:gd name="T0" fmla="*/ 0 w 187"/>
                <a:gd name="T1" fmla="*/ 79 h 435"/>
                <a:gd name="T2" fmla="*/ 46 w 187"/>
                <a:gd name="T3" fmla="*/ 435 h 435"/>
                <a:gd name="T4" fmla="*/ 91 w 187"/>
                <a:gd name="T5" fmla="*/ 435 h 435"/>
                <a:gd name="T6" fmla="*/ 135 w 187"/>
                <a:gd name="T7" fmla="*/ 435 h 435"/>
                <a:gd name="T8" fmla="*/ 187 w 187"/>
                <a:gd name="T9" fmla="*/ 75 h 435"/>
                <a:gd name="T10" fmla="*/ 159 w 187"/>
                <a:gd name="T11" fmla="*/ 0 h 435"/>
                <a:gd name="T12" fmla="*/ 26 w 187"/>
                <a:gd name="T13" fmla="*/ 0 h 435"/>
                <a:gd name="T14" fmla="*/ 0 w 187"/>
                <a:gd name="T15" fmla="*/ 79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7" h="435">
                  <a:moveTo>
                    <a:pt x="0" y="79"/>
                  </a:moveTo>
                  <a:lnTo>
                    <a:pt x="46" y="435"/>
                  </a:lnTo>
                  <a:lnTo>
                    <a:pt x="91" y="435"/>
                  </a:lnTo>
                  <a:lnTo>
                    <a:pt x="135" y="435"/>
                  </a:lnTo>
                  <a:lnTo>
                    <a:pt x="187" y="75"/>
                  </a:lnTo>
                  <a:lnTo>
                    <a:pt x="159" y="0"/>
                  </a:lnTo>
                  <a:lnTo>
                    <a:pt x="26" y="0"/>
                  </a:lnTo>
                  <a:lnTo>
                    <a:pt x="0" y="79"/>
                  </a:lnTo>
                  <a:close/>
                </a:path>
              </a:pathLst>
            </a:custGeom>
            <a:solidFill>
              <a:srgbClr val="4242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03" name="Freeform 77"/>
            <p:cNvSpPr/>
            <p:nvPr userDrawn="1"/>
          </p:nvSpPr>
          <p:spPr bwMode="auto">
            <a:xfrm>
              <a:off x="6292056" y="2474913"/>
              <a:ext cx="204788" cy="204788"/>
            </a:xfrm>
            <a:custGeom>
              <a:avLst/>
              <a:gdLst>
                <a:gd name="T0" fmla="*/ 5 w 75"/>
                <a:gd name="T1" fmla="*/ 12 h 75"/>
                <a:gd name="T2" fmla="*/ 5 w 75"/>
                <a:gd name="T3" fmla="*/ 62 h 75"/>
                <a:gd name="T4" fmla="*/ 71 w 75"/>
                <a:gd name="T5" fmla="*/ 61 h 75"/>
                <a:gd name="T6" fmla="*/ 68 w 75"/>
                <a:gd name="T7" fmla="*/ 13 h 75"/>
                <a:gd name="T8" fmla="*/ 39 w 75"/>
                <a:gd name="T9" fmla="*/ 0 h 75"/>
                <a:gd name="T10" fmla="*/ 5 w 75"/>
                <a:gd name="T11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5" h="75">
                  <a:moveTo>
                    <a:pt x="5" y="12"/>
                  </a:moveTo>
                  <a:cubicBezTo>
                    <a:pt x="0" y="21"/>
                    <a:pt x="16" y="50"/>
                    <a:pt x="5" y="62"/>
                  </a:cubicBezTo>
                  <a:cubicBezTo>
                    <a:pt x="12" y="62"/>
                    <a:pt x="35" y="75"/>
                    <a:pt x="71" y="61"/>
                  </a:cubicBezTo>
                  <a:cubicBezTo>
                    <a:pt x="58" y="52"/>
                    <a:pt x="75" y="19"/>
                    <a:pt x="68" y="13"/>
                  </a:cubicBezTo>
                  <a:cubicBezTo>
                    <a:pt x="60" y="7"/>
                    <a:pt x="39" y="0"/>
                    <a:pt x="39" y="0"/>
                  </a:cubicBezTo>
                  <a:cubicBezTo>
                    <a:pt x="39" y="0"/>
                    <a:pt x="11" y="7"/>
                    <a:pt x="5" y="12"/>
                  </a:cubicBezTo>
                  <a:close/>
                </a:path>
              </a:pathLst>
            </a:custGeom>
            <a:solidFill>
              <a:srgbClr val="4545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04" name="Rectangle 78"/>
            <p:cNvSpPr>
              <a:spLocks noChangeArrowheads="1"/>
            </p:cNvSpPr>
            <p:nvPr userDrawn="1"/>
          </p:nvSpPr>
          <p:spPr bwMode="auto">
            <a:xfrm>
              <a:off x="6360318" y="2605088"/>
              <a:ext cx="61913" cy="87313"/>
            </a:xfrm>
            <a:prstGeom prst="rect">
              <a:avLst/>
            </a:prstGeom>
            <a:solidFill>
              <a:srgbClr val="BD87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05" name="Freeform 79"/>
            <p:cNvSpPr/>
            <p:nvPr userDrawn="1"/>
          </p:nvSpPr>
          <p:spPr bwMode="auto">
            <a:xfrm>
              <a:off x="6185693" y="3114676"/>
              <a:ext cx="66675" cy="73025"/>
            </a:xfrm>
            <a:custGeom>
              <a:avLst/>
              <a:gdLst>
                <a:gd name="T0" fmla="*/ 19 w 24"/>
                <a:gd name="T1" fmla="*/ 10 h 27"/>
                <a:gd name="T2" fmla="*/ 22 w 24"/>
                <a:gd name="T3" fmla="*/ 7 h 27"/>
                <a:gd name="T4" fmla="*/ 17 w 24"/>
                <a:gd name="T5" fmla="*/ 0 h 27"/>
                <a:gd name="T6" fmla="*/ 17 w 24"/>
                <a:gd name="T7" fmla="*/ 0 h 27"/>
                <a:gd name="T8" fmla="*/ 17 w 24"/>
                <a:gd name="T9" fmla="*/ 0 h 27"/>
                <a:gd name="T10" fmla="*/ 5 w 24"/>
                <a:gd name="T11" fmla="*/ 0 h 27"/>
                <a:gd name="T12" fmla="*/ 1 w 24"/>
                <a:gd name="T13" fmla="*/ 16 h 27"/>
                <a:gd name="T14" fmla="*/ 12 w 24"/>
                <a:gd name="T15" fmla="*/ 27 h 27"/>
                <a:gd name="T16" fmla="*/ 24 w 24"/>
                <a:gd name="T17" fmla="*/ 16 h 27"/>
                <a:gd name="T18" fmla="*/ 19 w 24"/>
                <a:gd name="T19" fmla="*/ 1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27">
                  <a:moveTo>
                    <a:pt x="19" y="10"/>
                  </a:moveTo>
                  <a:cubicBezTo>
                    <a:pt x="19" y="10"/>
                    <a:pt x="21" y="9"/>
                    <a:pt x="22" y="7"/>
                  </a:cubicBezTo>
                  <a:cubicBezTo>
                    <a:pt x="22" y="4"/>
                    <a:pt x="1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6"/>
                    <a:pt x="0" y="12"/>
                    <a:pt x="1" y="16"/>
                  </a:cubicBezTo>
                  <a:cubicBezTo>
                    <a:pt x="4" y="19"/>
                    <a:pt x="9" y="27"/>
                    <a:pt x="12" y="27"/>
                  </a:cubicBezTo>
                  <a:cubicBezTo>
                    <a:pt x="16" y="25"/>
                    <a:pt x="22" y="22"/>
                    <a:pt x="24" y="16"/>
                  </a:cubicBezTo>
                  <a:cubicBezTo>
                    <a:pt x="23" y="13"/>
                    <a:pt x="19" y="10"/>
                    <a:pt x="19" y="10"/>
                  </a:cubicBezTo>
                  <a:close/>
                </a:path>
              </a:pathLst>
            </a:custGeom>
            <a:solidFill>
              <a:srgbClr val="FFB7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06" name="Freeform 80"/>
            <p:cNvSpPr/>
            <p:nvPr userDrawn="1"/>
          </p:nvSpPr>
          <p:spPr bwMode="auto">
            <a:xfrm>
              <a:off x="6188868" y="2676526"/>
              <a:ext cx="117475" cy="454025"/>
            </a:xfrm>
            <a:custGeom>
              <a:avLst/>
              <a:gdLst>
                <a:gd name="T0" fmla="*/ 32 w 43"/>
                <a:gd name="T1" fmla="*/ 1 h 167"/>
                <a:gd name="T2" fmla="*/ 3 w 43"/>
                <a:gd name="T3" fmla="*/ 101 h 167"/>
                <a:gd name="T4" fmla="*/ 0 w 43"/>
                <a:gd name="T5" fmla="*/ 166 h 167"/>
                <a:gd name="T6" fmla="*/ 21 w 43"/>
                <a:gd name="T7" fmla="*/ 167 h 167"/>
                <a:gd name="T8" fmla="*/ 21 w 43"/>
                <a:gd name="T9" fmla="*/ 105 h 167"/>
                <a:gd name="T10" fmla="*/ 43 w 43"/>
                <a:gd name="T11" fmla="*/ 37 h 167"/>
                <a:gd name="T12" fmla="*/ 32 w 43"/>
                <a:gd name="T13" fmla="*/ 1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167">
                  <a:moveTo>
                    <a:pt x="32" y="1"/>
                  </a:moveTo>
                  <a:cubicBezTo>
                    <a:pt x="22" y="1"/>
                    <a:pt x="3" y="101"/>
                    <a:pt x="3" y="101"/>
                  </a:cubicBezTo>
                  <a:cubicBezTo>
                    <a:pt x="0" y="166"/>
                    <a:pt x="0" y="166"/>
                    <a:pt x="0" y="166"/>
                  </a:cubicBezTo>
                  <a:cubicBezTo>
                    <a:pt x="21" y="167"/>
                    <a:pt x="21" y="167"/>
                    <a:pt x="21" y="167"/>
                  </a:cubicBezTo>
                  <a:cubicBezTo>
                    <a:pt x="21" y="105"/>
                    <a:pt x="21" y="105"/>
                    <a:pt x="21" y="105"/>
                  </a:cubicBezTo>
                  <a:cubicBezTo>
                    <a:pt x="43" y="37"/>
                    <a:pt x="43" y="37"/>
                    <a:pt x="43" y="37"/>
                  </a:cubicBezTo>
                  <a:cubicBezTo>
                    <a:pt x="43" y="37"/>
                    <a:pt x="39" y="0"/>
                    <a:pt x="32" y="1"/>
                  </a:cubicBezTo>
                  <a:close/>
                </a:path>
              </a:pathLst>
            </a:custGeom>
            <a:solidFill>
              <a:srgbClr val="CF6C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07" name="Freeform 81"/>
            <p:cNvSpPr/>
            <p:nvPr userDrawn="1"/>
          </p:nvSpPr>
          <p:spPr bwMode="auto">
            <a:xfrm>
              <a:off x="6531768" y="3114676"/>
              <a:ext cx="61913" cy="73025"/>
            </a:xfrm>
            <a:custGeom>
              <a:avLst/>
              <a:gdLst>
                <a:gd name="T0" fmla="*/ 4 w 23"/>
                <a:gd name="T1" fmla="*/ 10 h 27"/>
                <a:gd name="T2" fmla="*/ 2 w 23"/>
                <a:gd name="T3" fmla="*/ 7 h 27"/>
                <a:gd name="T4" fmla="*/ 6 w 23"/>
                <a:gd name="T5" fmla="*/ 0 h 27"/>
                <a:gd name="T6" fmla="*/ 7 w 23"/>
                <a:gd name="T7" fmla="*/ 0 h 27"/>
                <a:gd name="T8" fmla="*/ 6 w 23"/>
                <a:gd name="T9" fmla="*/ 0 h 27"/>
                <a:gd name="T10" fmla="*/ 18 w 23"/>
                <a:gd name="T11" fmla="*/ 0 h 27"/>
                <a:gd name="T12" fmla="*/ 22 w 23"/>
                <a:gd name="T13" fmla="*/ 16 h 27"/>
                <a:gd name="T14" fmla="*/ 11 w 23"/>
                <a:gd name="T15" fmla="*/ 27 h 27"/>
                <a:gd name="T16" fmla="*/ 0 w 23"/>
                <a:gd name="T17" fmla="*/ 16 h 27"/>
                <a:gd name="T18" fmla="*/ 4 w 23"/>
                <a:gd name="T19" fmla="*/ 1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" h="27">
                  <a:moveTo>
                    <a:pt x="4" y="10"/>
                  </a:moveTo>
                  <a:cubicBezTo>
                    <a:pt x="4" y="10"/>
                    <a:pt x="2" y="9"/>
                    <a:pt x="2" y="7"/>
                  </a:cubicBezTo>
                  <a:cubicBezTo>
                    <a:pt x="1" y="4"/>
                    <a:pt x="6" y="0"/>
                    <a:pt x="6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6"/>
                    <a:pt x="23" y="12"/>
                    <a:pt x="22" y="16"/>
                  </a:cubicBezTo>
                  <a:cubicBezTo>
                    <a:pt x="19" y="19"/>
                    <a:pt x="15" y="27"/>
                    <a:pt x="11" y="27"/>
                  </a:cubicBezTo>
                  <a:cubicBezTo>
                    <a:pt x="7" y="25"/>
                    <a:pt x="2" y="22"/>
                    <a:pt x="0" y="16"/>
                  </a:cubicBezTo>
                  <a:cubicBezTo>
                    <a:pt x="1" y="13"/>
                    <a:pt x="4" y="10"/>
                    <a:pt x="4" y="10"/>
                  </a:cubicBezTo>
                  <a:close/>
                </a:path>
              </a:pathLst>
            </a:custGeom>
            <a:solidFill>
              <a:srgbClr val="FFB7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08" name="Freeform 82"/>
            <p:cNvSpPr/>
            <p:nvPr userDrawn="1"/>
          </p:nvSpPr>
          <p:spPr bwMode="auto">
            <a:xfrm>
              <a:off x="6477793" y="2676526"/>
              <a:ext cx="114300" cy="454025"/>
            </a:xfrm>
            <a:custGeom>
              <a:avLst/>
              <a:gdLst>
                <a:gd name="T0" fmla="*/ 10 w 42"/>
                <a:gd name="T1" fmla="*/ 1 h 167"/>
                <a:gd name="T2" fmla="*/ 39 w 42"/>
                <a:gd name="T3" fmla="*/ 101 h 167"/>
                <a:gd name="T4" fmla="*/ 42 w 42"/>
                <a:gd name="T5" fmla="*/ 166 h 167"/>
                <a:gd name="T6" fmla="*/ 21 w 42"/>
                <a:gd name="T7" fmla="*/ 167 h 167"/>
                <a:gd name="T8" fmla="*/ 21 w 42"/>
                <a:gd name="T9" fmla="*/ 105 h 167"/>
                <a:gd name="T10" fmla="*/ 0 w 42"/>
                <a:gd name="T11" fmla="*/ 37 h 167"/>
                <a:gd name="T12" fmla="*/ 10 w 42"/>
                <a:gd name="T13" fmla="*/ 1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" h="167">
                  <a:moveTo>
                    <a:pt x="10" y="1"/>
                  </a:moveTo>
                  <a:cubicBezTo>
                    <a:pt x="21" y="1"/>
                    <a:pt x="39" y="101"/>
                    <a:pt x="39" y="101"/>
                  </a:cubicBezTo>
                  <a:cubicBezTo>
                    <a:pt x="42" y="166"/>
                    <a:pt x="42" y="166"/>
                    <a:pt x="42" y="166"/>
                  </a:cubicBezTo>
                  <a:cubicBezTo>
                    <a:pt x="21" y="167"/>
                    <a:pt x="21" y="167"/>
                    <a:pt x="21" y="167"/>
                  </a:cubicBezTo>
                  <a:cubicBezTo>
                    <a:pt x="21" y="105"/>
                    <a:pt x="21" y="105"/>
                    <a:pt x="21" y="105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3" y="0"/>
                    <a:pt x="10" y="1"/>
                  </a:cubicBezTo>
                  <a:close/>
                </a:path>
              </a:pathLst>
            </a:custGeom>
            <a:solidFill>
              <a:srgbClr val="CF6C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09" name="Freeform 83"/>
            <p:cNvSpPr/>
            <p:nvPr userDrawn="1"/>
          </p:nvSpPr>
          <p:spPr bwMode="auto">
            <a:xfrm>
              <a:off x="6287293" y="2509838"/>
              <a:ext cx="41275" cy="52388"/>
            </a:xfrm>
            <a:custGeom>
              <a:avLst/>
              <a:gdLst>
                <a:gd name="T0" fmla="*/ 11 w 15"/>
                <a:gd name="T1" fmla="*/ 18 h 19"/>
                <a:gd name="T2" fmla="*/ 1 w 15"/>
                <a:gd name="T3" fmla="*/ 11 h 19"/>
                <a:gd name="T4" fmla="*/ 7 w 15"/>
                <a:gd name="T5" fmla="*/ 0 h 19"/>
                <a:gd name="T6" fmla="*/ 11 w 15"/>
                <a:gd name="T7" fmla="*/ 1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9">
                  <a:moveTo>
                    <a:pt x="11" y="18"/>
                  </a:moveTo>
                  <a:cubicBezTo>
                    <a:pt x="6" y="19"/>
                    <a:pt x="2" y="16"/>
                    <a:pt x="1" y="11"/>
                  </a:cubicBezTo>
                  <a:cubicBezTo>
                    <a:pt x="0" y="6"/>
                    <a:pt x="3" y="1"/>
                    <a:pt x="7" y="0"/>
                  </a:cubicBezTo>
                  <a:cubicBezTo>
                    <a:pt x="11" y="0"/>
                    <a:pt x="15" y="17"/>
                    <a:pt x="11" y="18"/>
                  </a:cubicBezTo>
                  <a:close/>
                </a:path>
              </a:pathLst>
            </a:custGeom>
            <a:solidFill>
              <a:srgbClr val="FFB7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10" name="Freeform 84"/>
            <p:cNvSpPr/>
            <p:nvPr userDrawn="1"/>
          </p:nvSpPr>
          <p:spPr bwMode="auto">
            <a:xfrm>
              <a:off x="6455568" y="2509838"/>
              <a:ext cx="38100" cy="52388"/>
            </a:xfrm>
            <a:custGeom>
              <a:avLst/>
              <a:gdLst>
                <a:gd name="T0" fmla="*/ 4 w 14"/>
                <a:gd name="T1" fmla="*/ 18 h 19"/>
                <a:gd name="T2" fmla="*/ 13 w 14"/>
                <a:gd name="T3" fmla="*/ 11 h 19"/>
                <a:gd name="T4" fmla="*/ 7 w 14"/>
                <a:gd name="T5" fmla="*/ 0 h 19"/>
                <a:gd name="T6" fmla="*/ 4 w 14"/>
                <a:gd name="T7" fmla="*/ 1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19">
                  <a:moveTo>
                    <a:pt x="4" y="18"/>
                  </a:moveTo>
                  <a:cubicBezTo>
                    <a:pt x="8" y="19"/>
                    <a:pt x="12" y="16"/>
                    <a:pt x="13" y="11"/>
                  </a:cubicBezTo>
                  <a:cubicBezTo>
                    <a:pt x="14" y="6"/>
                    <a:pt x="12" y="1"/>
                    <a:pt x="7" y="0"/>
                  </a:cubicBezTo>
                  <a:cubicBezTo>
                    <a:pt x="3" y="0"/>
                    <a:pt x="0" y="17"/>
                    <a:pt x="4" y="18"/>
                  </a:cubicBezTo>
                  <a:close/>
                </a:path>
              </a:pathLst>
            </a:custGeom>
            <a:solidFill>
              <a:srgbClr val="FFB7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11" name="Freeform 85"/>
            <p:cNvSpPr/>
            <p:nvPr userDrawn="1"/>
          </p:nvSpPr>
          <p:spPr bwMode="auto">
            <a:xfrm>
              <a:off x="6280943" y="2425701"/>
              <a:ext cx="227013" cy="220663"/>
            </a:xfrm>
            <a:custGeom>
              <a:avLst/>
              <a:gdLst>
                <a:gd name="T0" fmla="*/ 40 w 83"/>
                <a:gd name="T1" fmla="*/ 81 h 81"/>
                <a:gd name="T2" fmla="*/ 70 w 83"/>
                <a:gd name="T3" fmla="*/ 20 h 81"/>
                <a:gd name="T4" fmla="*/ 41 w 83"/>
                <a:gd name="T5" fmla="*/ 0 h 81"/>
                <a:gd name="T6" fmla="*/ 11 w 83"/>
                <a:gd name="T7" fmla="*/ 20 h 81"/>
                <a:gd name="T8" fmla="*/ 40 w 83"/>
                <a:gd name="T9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3" h="81">
                  <a:moveTo>
                    <a:pt x="40" y="81"/>
                  </a:moveTo>
                  <a:cubicBezTo>
                    <a:pt x="83" y="63"/>
                    <a:pt x="70" y="20"/>
                    <a:pt x="70" y="20"/>
                  </a:cubicBezTo>
                  <a:cubicBezTo>
                    <a:pt x="70" y="20"/>
                    <a:pt x="69" y="0"/>
                    <a:pt x="41" y="0"/>
                  </a:cubicBezTo>
                  <a:cubicBezTo>
                    <a:pt x="17" y="0"/>
                    <a:pt x="11" y="20"/>
                    <a:pt x="11" y="20"/>
                  </a:cubicBezTo>
                  <a:cubicBezTo>
                    <a:pt x="11" y="20"/>
                    <a:pt x="0" y="65"/>
                    <a:pt x="40" y="81"/>
                  </a:cubicBezTo>
                  <a:close/>
                </a:path>
              </a:pathLst>
            </a:custGeom>
            <a:solidFill>
              <a:srgbClr val="FFB7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12" name="Freeform 86"/>
            <p:cNvSpPr/>
            <p:nvPr userDrawn="1"/>
          </p:nvSpPr>
          <p:spPr bwMode="auto">
            <a:xfrm>
              <a:off x="6276181" y="2398713"/>
              <a:ext cx="231775" cy="133350"/>
            </a:xfrm>
            <a:custGeom>
              <a:avLst/>
              <a:gdLst>
                <a:gd name="T0" fmla="*/ 9 w 85"/>
                <a:gd name="T1" fmla="*/ 42 h 49"/>
                <a:gd name="T2" fmla="*/ 15 w 85"/>
                <a:gd name="T3" fmla="*/ 47 h 49"/>
                <a:gd name="T4" fmla="*/ 17 w 85"/>
                <a:gd name="T5" fmla="*/ 26 h 49"/>
                <a:gd name="T6" fmla="*/ 64 w 85"/>
                <a:gd name="T7" fmla="*/ 41 h 49"/>
                <a:gd name="T8" fmla="*/ 68 w 85"/>
                <a:gd name="T9" fmla="*/ 26 h 49"/>
                <a:gd name="T10" fmla="*/ 70 w 85"/>
                <a:gd name="T11" fmla="*/ 48 h 49"/>
                <a:gd name="T12" fmla="*/ 76 w 85"/>
                <a:gd name="T13" fmla="*/ 43 h 49"/>
                <a:gd name="T14" fmla="*/ 43 w 85"/>
                <a:gd name="T15" fmla="*/ 0 h 49"/>
                <a:gd name="T16" fmla="*/ 9 w 85"/>
                <a:gd name="T17" fmla="*/ 42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5" h="49">
                  <a:moveTo>
                    <a:pt x="9" y="42"/>
                  </a:moveTo>
                  <a:cubicBezTo>
                    <a:pt x="12" y="41"/>
                    <a:pt x="15" y="47"/>
                    <a:pt x="15" y="47"/>
                  </a:cubicBezTo>
                  <a:cubicBezTo>
                    <a:pt x="17" y="26"/>
                    <a:pt x="17" y="26"/>
                    <a:pt x="17" y="26"/>
                  </a:cubicBezTo>
                  <a:cubicBezTo>
                    <a:pt x="17" y="26"/>
                    <a:pt x="32" y="46"/>
                    <a:pt x="64" y="41"/>
                  </a:cubicBezTo>
                  <a:cubicBezTo>
                    <a:pt x="58" y="28"/>
                    <a:pt x="68" y="26"/>
                    <a:pt x="68" y="26"/>
                  </a:cubicBezTo>
                  <a:cubicBezTo>
                    <a:pt x="68" y="26"/>
                    <a:pt x="70" y="49"/>
                    <a:pt x="70" y="48"/>
                  </a:cubicBezTo>
                  <a:cubicBezTo>
                    <a:pt x="72" y="42"/>
                    <a:pt x="76" y="43"/>
                    <a:pt x="76" y="43"/>
                  </a:cubicBezTo>
                  <a:cubicBezTo>
                    <a:pt x="76" y="43"/>
                    <a:pt x="85" y="0"/>
                    <a:pt x="43" y="0"/>
                  </a:cubicBezTo>
                  <a:cubicBezTo>
                    <a:pt x="0" y="0"/>
                    <a:pt x="9" y="41"/>
                    <a:pt x="9" y="42"/>
                  </a:cubicBezTo>
                  <a:close/>
                </a:path>
              </a:pathLst>
            </a:custGeom>
            <a:solidFill>
              <a:srgbClr val="4545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13" name="Freeform 87"/>
            <p:cNvSpPr/>
            <p:nvPr userDrawn="1"/>
          </p:nvSpPr>
          <p:spPr bwMode="auto">
            <a:xfrm>
              <a:off x="6368256" y="2592388"/>
              <a:ext cx="46038" cy="19050"/>
            </a:xfrm>
            <a:custGeom>
              <a:avLst/>
              <a:gdLst>
                <a:gd name="T0" fmla="*/ 8 w 17"/>
                <a:gd name="T1" fmla="*/ 7 h 7"/>
                <a:gd name="T2" fmla="*/ 17 w 17"/>
                <a:gd name="T3" fmla="*/ 3 h 7"/>
                <a:gd name="T4" fmla="*/ 11 w 17"/>
                <a:gd name="T5" fmla="*/ 0 h 7"/>
                <a:gd name="T6" fmla="*/ 8 w 17"/>
                <a:gd name="T7" fmla="*/ 2 h 7"/>
                <a:gd name="T8" fmla="*/ 6 w 17"/>
                <a:gd name="T9" fmla="*/ 0 h 7"/>
                <a:gd name="T10" fmla="*/ 0 w 17"/>
                <a:gd name="T11" fmla="*/ 3 h 7"/>
                <a:gd name="T12" fmla="*/ 8 w 17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" h="7">
                  <a:moveTo>
                    <a:pt x="8" y="7"/>
                  </a:moveTo>
                  <a:cubicBezTo>
                    <a:pt x="13" y="7"/>
                    <a:pt x="17" y="4"/>
                    <a:pt x="17" y="3"/>
                  </a:cubicBezTo>
                  <a:cubicBezTo>
                    <a:pt x="17" y="3"/>
                    <a:pt x="12" y="0"/>
                    <a:pt x="11" y="0"/>
                  </a:cubicBezTo>
                  <a:cubicBezTo>
                    <a:pt x="10" y="0"/>
                    <a:pt x="9" y="2"/>
                    <a:pt x="8" y="2"/>
                  </a:cubicBezTo>
                  <a:cubicBezTo>
                    <a:pt x="8" y="2"/>
                    <a:pt x="7" y="0"/>
                    <a:pt x="6" y="0"/>
                  </a:cubicBezTo>
                  <a:cubicBezTo>
                    <a:pt x="5" y="0"/>
                    <a:pt x="0" y="3"/>
                    <a:pt x="0" y="3"/>
                  </a:cubicBezTo>
                  <a:cubicBezTo>
                    <a:pt x="0" y="4"/>
                    <a:pt x="3" y="7"/>
                    <a:pt x="8" y="7"/>
                  </a:cubicBezTo>
                  <a:close/>
                </a:path>
              </a:pathLst>
            </a:custGeom>
            <a:solidFill>
              <a:srgbClr val="B551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14" name="Freeform 88"/>
            <p:cNvSpPr/>
            <p:nvPr userDrawn="1"/>
          </p:nvSpPr>
          <p:spPr bwMode="auto">
            <a:xfrm>
              <a:off x="6261893" y="2654301"/>
              <a:ext cx="261938" cy="414338"/>
            </a:xfrm>
            <a:custGeom>
              <a:avLst/>
              <a:gdLst>
                <a:gd name="T0" fmla="*/ 8 w 96"/>
                <a:gd name="T1" fmla="*/ 127 h 152"/>
                <a:gd name="T2" fmla="*/ 0 w 96"/>
                <a:gd name="T3" fmla="*/ 152 h 152"/>
                <a:gd name="T4" fmla="*/ 96 w 96"/>
                <a:gd name="T5" fmla="*/ 152 h 152"/>
                <a:gd name="T6" fmla="*/ 86 w 96"/>
                <a:gd name="T7" fmla="*/ 124 h 152"/>
                <a:gd name="T8" fmla="*/ 82 w 96"/>
                <a:gd name="T9" fmla="*/ 58 h 152"/>
                <a:gd name="T10" fmla="*/ 87 w 96"/>
                <a:gd name="T11" fmla="*/ 44 h 152"/>
                <a:gd name="T12" fmla="*/ 84 w 96"/>
                <a:gd name="T13" fmla="*/ 32 h 152"/>
                <a:gd name="T14" fmla="*/ 90 w 96"/>
                <a:gd name="T15" fmla="*/ 9 h 152"/>
                <a:gd name="T16" fmla="*/ 62 w 96"/>
                <a:gd name="T17" fmla="*/ 0 h 152"/>
                <a:gd name="T18" fmla="*/ 62 w 96"/>
                <a:gd name="T19" fmla="*/ 0 h 152"/>
                <a:gd name="T20" fmla="*/ 60 w 96"/>
                <a:gd name="T21" fmla="*/ 0 h 152"/>
                <a:gd name="T22" fmla="*/ 49 w 96"/>
                <a:gd name="T23" fmla="*/ 13 h 152"/>
                <a:gd name="T24" fmla="*/ 47 w 96"/>
                <a:gd name="T25" fmla="*/ 14 h 152"/>
                <a:gd name="T26" fmla="*/ 46 w 96"/>
                <a:gd name="T27" fmla="*/ 13 h 152"/>
                <a:gd name="T28" fmla="*/ 35 w 96"/>
                <a:gd name="T29" fmla="*/ 0 h 152"/>
                <a:gd name="T30" fmla="*/ 33 w 96"/>
                <a:gd name="T31" fmla="*/ 0 h 152"/>
                <a:gd name="T32" fmla="*/ 33 w 96"/>
                <a:gd name="T33" fmla="*/ 0 h 152"/>
                <a:gd name="T34" fmla="*/ 5 w 96"/>
                <a:gd name="T35" fmla="*/ 9 h 152"/>
                <a:gd name="T36" fmla="*/ 10 w 96"/>
                <a:gd name="T37" fmla="*/ 32 h 152"/>
                <a:gd name="T38" fmla="*/ 7 w 96"/>
                <a:gd name="T39" fmla="*/ 44 h 152"/>
                <a:gd name="T40" fmla="*/ 13 w 96"/>
                <a:gd name="T41" fmla="*/ 58 h 152"/>
                <a:gd name="T42" fmla="*/ 8 w 96"/>
                <a:gd name="T43" fmla="*/ 127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6" h="152">
                  <a:moveTo>
                    <a:pt x="8" y="127"/>
                  </a:moveTo>
                  <a:cubicBezTo>
                    <a:pt x="0" y="152"/>
                    <a:pt x="0" y="152"/>
                    <a:pt x="0" y="152"/>
                  </a:cubicBezTo>
                  <a:cubicBezTo>
                    <a:pt x="96" y="152"/>
                    <a:pt x="96" y="152"/>
                    <a:pt x="96" y="152"/>
                  </a:cubicBezTo>
                  <a:cubicBezTo>
                    <a:pt x="86" y="124"/>
                    <a:pt x="86" y="124"/>
                    <a:pt x="86" y="124"/>
                  </a:cubicBezTo>
                  <a:cubicBezTo>
                    <a:pt x="86" y="124"/>
                    <a:pt x="81" y="92"/>
                    <a:pt x="82" y="58"/>
                  </a:cubicBezTo>
                  <a:cubicBezTo>
                    <a:pt x="85" y="54"/>
                    <a:pt x="87" y="49"/>
                    <a:pt x="87" y="44"/>
                  </a:cubicBezTo>
                  <a:cubicBezTo>
                    <a:pt x="87" y="40"/>
                    <a:pt x="86" y="36"/>
                    <a:pt x="84" y="32"/>
                  </a:cubicBezTo>
                  <a:cubicBezTo>
                    <a:pt x="85" y="23"/>
                    <a:pt x="87" y="15"/>
                    <a:pt x="90" y="9"/>
                  </a:cubicBezTo>
                  <a:cubicBezTo>
                    <a:pt x="88" y="7"/>
                    <a:pt x="63" y="1"/>
                    <a:pt x="62" y="0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61" y="0"/>
                    <a:pt x="61" y="0"/>
                    <a:pt x="60" y="0"/>
                  </a:cubicBezTo>
                  <a:cubicBezTo>
                    <a:pt x="49" y="13"/>
                    <a:pt x="49" y="13"/>
                    <a:pt x="49" y="13"/>
                  </a:cubicBezTo>
                  <a:cubicBezTo>
                    <a:pt x="49" y="14"/>
                    <a:pt x="48" y="14"/>
                    <a:pt x="47" y="14"/>
                  </a:cubicBezTo>
                  <a:cubicBezTo>
                    <a:pt x="47" y="14"/>
                    <a:pt x="46" y="14"/>
                    <a:pt x="46" y="13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2" y="1"/>
                    <a:pt x="7" y="7"/>
                    <a:pt x="5" y="9"/>
                  </a:cubicBezTo>
                  <a:cubicBezTo>
                    <a:pt x="7" y="16"/>
                    <a:pt x="9" y="24"/>
                    <a:pt x="10" y="32"/>
                  </a:cubicBezTo>
                  <a:cubicBezTo>
                    <a:pt x="8" y="36"/>
                    <a:pt x="7" y="40"/>
                    <a:pt x="7" y="44"/>
                  </a:cubicBezTo>
                  <a:cubicBezTo>
                    <a:pt x="7" y="49"/>
                    <a:pt x="9" y="54"/>
                    <a:pt x="13" y="58"/>
                  </a:cubicBezTo>
                  <a:cubicBezTo>
                    <a:pt x="14" y="95"/>
                    <a:pt x="8" y="127"/>
                    <a:pt x="8" y="127"/>
                  </a:cubicBezTo>
                  <a:close/>
                </a:path>
              </a:pathLst>
            </a:custGeom>
            <a:solidFill>
              <a:srgbClr val="99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15" name="Freeform 89"/>
            <p:cNvSpPr/>
            <p:nvPr userDrawn="1"/>
          </p:nvSpPr>
          <p:spPr bwMode="auto">
            <a:xfrm>
              <a:off x="6180931" y="3749676"/>
              <a:ext cx="141288" cy="44450"/>
            </a:xfrm>
            <a:custGeom>
              <a:avLst/>
              <a:gdLst>
                <a:gd name="T0" fmla="*/ 26 w 52"/>
                <a:gd name="T1" fmla="*/ 0 h 16"/>
                <a:gd name="T2" fmla="*/ 51 w 52"/>
                <a:gd name="T3" fmla="*/ 11 h 16"/>
                <a:gd name="T4" fmla="*/ 51 w 52"/>
                <a:gd name="T5" fmla="*/ 16 h 16"/>
                <a:gd name="T6" fmla="*/ 0 w 52"/>
                <a:gd name="T7" fmla="*/ 16 h 16"/>
                <a:gd name="T8" fmla="*/ 0 w 52"/>
                <a:gd name="T9" fmla="*/ 0 h 16"/>
                <a:gd name="T10" fmla="*/ 26 w 52"/>
                <a:gd name="T11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2" h="16">
                  <a:moveTo>
                    <a:pt x="26" y="0"/>
                  </a:moveTo>
                  <a:cubicBezTo>
                    <a:pt x="26" y="0"/>
                    <a:pt x="50" y="9"/>
                    <a:pt x="51" y="11"/>
                  </a:cubicBezTo>
                  <a:cubicBezTo>
                    <a:pt x="52" y="12"/>
                    <a:pt x="51" y="16"/>
                    <a:pt x="51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6" y="0"/>
                  </a:lnTo>
                  <a:close/>
                </a:path>
              </a:pathLst>
            </a:custGeom>
            <a:solidFill>
              <a:srgbClr val="77A7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16" name="Freeform 90"/>
            <p:cNvSpPr/>
            <p:nvPr userDrawn="1"/>
          </p:nvSpPr>
          <p:spPr bwMode="auto">
            <a:xfrm>
              <a:off x="6036468" y="3749676"/>
              <a:ext cx="144463" cy="44450"/>
            </a:xfrm>
            <a:custGeom>
              <a:avLst/>
              <a:gdLst>
                <a:gd name="T0" fmla="*/ 26 w 53"/>
                <a:gd name="T1" fmla="*/ 0 h 16"/>
                <a:gd name="T2" fmla="*/ 1 w 53"/>
                <a:gd name="T3" fmla="*/ 11 h 16"/>
                <a:gd name="T4" fmla="*/ 1 w 53"/>
                <a:gd name="T5" fmla="*/ 16 h 16"/>
                <a:gd name="T6" fmla="*/ 53 w 53"/>
                <a:gd name="T7" fmla="*/ 16 h 16"/>
                <a:gd name="T8" fmla="*/ 53 w 53"/>
                <a:gd name="T9" fmla="*/ 0 h 16"/>
                <a:gd name="T10" fmla="*/ 26 w 53"/>
                <a:gd name="T11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3" h="16">
                  <a:moveTo>
                    <a:pt x="26" y="0"/>
                  </a:moveTo>
                  <a:cubicBezTo>
                    <a:pt x="26" y="0"/>
                    <a:pt x="2" y="9"/>
                    <a:pt x="1" y="11"/>
                  </a:cubicBezTo>
                  <a:cubicBezTo>
                    <a:pt x="0" y="12"/>
                    <a:pt x="1" y="16"/>
                    <a:pt x="1" y="16"/>
                  </a:cubicBezTo>
                  <a:cubicBezTo>
                    <a:pt x="53" y="16"/>
                    <a:pt x="53" y="16"/>
                    <a:pt x="53" y="16"/>
                  </a:cubicBezTo>
                  <a:cubicBezTo>
                    <a:pt x="53" y="0"/>
                    <a:pt x="53" y="0"/>
                    <a:pt x="53" y="0"/>
                  </a:cubicBezTo>
                  <a:lnTo>
                    <a:pt x="26" y="0"/>
                  </a:lnTo>
                  <a:close/>
                </a:path>
              </a:pathLst>
            </a:custGeom>
            <a:solidFill>
              <a:srgbClr val="77A7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17" name="Freeform 91"/>
            <p:cNvSpPr/>
            <p:nvPr userDrawn="1"/>
          </p:nvSpPr>
          <p:spPr bwMode="auto">
            <a:xfrm>
              <a:off x="6072981" y="3248026"/>
              <a:ext cx="219075" cy="287338"/>
            </a:xfrm>
            <a:custGeom>
              <a:avLst/>
              <a:gdLst>
                <a:gd name="T0" fmla="*/ 0 w 138"/>
                <a:gd name="T1" fmla="*/ 58 h 181"/>
                <a:gd name="T2" fmla="*/ 1 w 138"/>
                <a:gd name="T3" fmla="*/ 179 h 181"/>
                <a:gd name="T4" fmla="*/ 70 w 138"/>
                <a:gd name="T5" fmla="*/ 179 h 181"/>
                <a:gd name="T6" fmla="*/ 138 w 138"/>
                <a:gd name="T7" fmla="*/ 181 h 181"/>
                <a:gd name="T8" fmla="*/ 135 w 138"/>
                <a:gd name="T9" fmla="*/ 58 h 181"/>
                <a:gd name="T10" fmla="*/ 123 w 138"/>
                <a:gd name="T11" fmla="*/ 0 h 181"/>
                <a:gd name="T12" fmla="*/ 13 w 138"/>
                <a:gd name="T13" fmla="*/ 0 h 181"/>
                <a:gd name="T14" fmla="*/ 0 w 138"/>
                <a:gd name="T15" fmla="*/ 58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8" h="181">
                  <a:moveTo>
                    <a:pt x="0" y="58"/>
                  </a:moveTo>
                  <a:lnTo>
                    <a:pt x="1" y="179"/>
                  </a:lnTo>
                  <a:lnTo>
                    <a:pt x="70" y="179"/>
                  </a:lnTo>
                  <a:lnTo>
                    <a:pt x="138" y="181"/>
                  </a:lnTo>
                  <a:lnTo>
                    <a:pt x="135" y="58"/>
                  </a:lnTo>
                  <a:lnTo>
                    <a:pt x="123" y="0"/>
                  </a:lnTo>
                  <a:lnTo>
                    <a:pt x="13" y="0"/>
                  </a:lnTo>
                  <a:lnTo>
                    <a:pt x="0" y="58"/>
                  </a:lnTo>
                  <a:close/>
                </a:path>
              </a:pathLst>
            </a:custGeom>
            <a:solidFill>
              <a:srgbClr val="3A4C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18" name="Rectangle 92"/>
            <p:cNvSpPr>
              <a:spLocks noChangeArrowheads="1"/>
            </p:cNvSpPr>
            <p:nvPr userDrawn="1"/>
          </p:nvSpPr>
          <p:spPr bwMode="auto">
            <a:xfrm>
              <a:off x="6158706" y="2959101"/>
              <a:ext cx="44450" cy="73025"/>
            </a:xfrm>
            <a:prstGeom prst="rect">
              <a:avLst/>
            </a:prstGeom>
            <a:solidFill>
              <a:srgbClr val="BD87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19" name="Freeform 93"/>
            <p:cNvSpPr/>
            <p:nvPr userDrawn="1"/>
          </p:nvSpPr>
          <p:spPr bwMode="auto">
            <a:xfrm>
              <a:off x="6015831" y="3127376"/>
              <a:ext cx="57150" cy="273050"/>
            </a:xfrm>
            <a:custGeom>
              <a:avLst/>
              <a:gdLst>
                <a:gd name="T0" fmla="*/ 17 w 21"/>
                <a:gd name="T1" fmla="*/ 86 h 100"/>
                <a:gd name="T2" fmla="*/ 20 w 21"/>
                <a:gd name="T3" fmla="*/ 84 h 100"/>
                <a:gd name="T4" fmla="*/ 16 w 21"/>
                <a:gd name="T5" fmla="*/ 78 h 100"/>
                <a:gd name="T6" fmla="*/ 15 w 21"/>
                <a:gd name="T7" fmla="*/ 78 h 100"/>
                <a:gd name="T8" fmla="*/ 16 w 21"/>
                <a:gd name="T9" fmla="*/ 78 h 100"/>
                <a:gd name="T10" fmla="*/ 17 w 21"/>
                <a:gd name="T11" fmla="*/ 34 h 100"/>
                <a:gd name="T12" fmla="*/ 17 w 21"/>
                <a:gd name="T13" fmla="*/ 24 h 100"/>
                <a:gd name="T14" fmla="*/ 20 w 21"/>
                <a:gd name="T15" fmla="*/ 3 h 100"/>
                <a:gd name="T16" fmla="*/ 4 w 21"/>
                <a:gd name="T17" fmla="*/ 0 h 100"/>
                <a:gd name="T18" fmla="*/ 1 w 21"/>
                <a:gd name="T19" fmla="*/ 26 h 100"/>
                <a:gd name="T20" fmla="*/ 5 w 21"/>
                <a:gd name="T21" fmla="*/ 78 h 100"/>
                <a:gd name="T22" fmla="*/ 1 w 21"/>
                <a:gd name="T23" fmla="*/ 91 h 100"/>
                <a:gd name="T24" fmla="*/ 11 w 21"/>
                <a:gd name="T25" fmla="*/ 100 h 100"/>
                <a:gd name="T26" fmla="*/ 21 w 21"/>
                <a:gd name="T27" fmla="*/ 91 h 100"/>
                <a:gd name="T28" fmla="*/ 17 w 21"/>
                <a:gd name="T29" fmla="*/ 86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" h="100">
                  <a:moveTo>
                    <a:pt x="17" y="86"/>
                  </a:moveTo>
                  <a:cubicBezTo>
                    <a:pt x="17" y="86"/>
                    <a:pt x="19" y="86"/>
                    <a:pt x="20" y="84"/>
                  </a:cubicBezTo>
                  <a:cubicBezTo>
                    <a:pt x="20" y="82"/>
                    <a:pt x="16" y="78"/>
                    <a:pt x="16" y="78"/>
                  </a:cubicBezTo>
                  <a:cubicBezTo>
                    <a:pt x="15" y="78"/>
                    <a:pt x="15" y="78"/>
                    <a:pt x="15" y="78"/>
                  </a:cubicBezTo>
                  <a:cubicBezTo>
                    <a:pt x="16" y="78"/>
                    <a:pt x="16" y="78"/>
                    <a:pt x="16" y="78"/>
                  </a:cubicBezTo>
                  <a:cubicBezTo>
                    <a:pt x="17" y="34"/>
                    <a:pt x="17" y="34"/>
                    <a:pt x="17" y="3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5" y="83"/>
                    <a:pt x="0" y="88"/>
                    <a:pt x="1" y="91"/>
                  </a:cubicBezTo>
                  <a:cubicBezTo>
                    <a:pt x="4" y="94"/>
                    <a:pt x="8" y="100"/>
                    <a:pt x="11" y="100"/>
                  </a:cubicBezTo>
                  <a:cubicBezTo>
                    <a:pt x="15" y="98"/>
                    <a:pt x="19" y="96"/>
                    <a:pt x="21" y="91"/>
                  </a:cubicBezTo>
                  <a:cubicBezTo>
                    <a:pt x="20" y="89"/>
                    <a:pt x="17" y="86"/>
                    <a:pt x="17" y="86"/>
                  </a:cubicBezTo>
                  <a:close/>
                </a:path>
              </a:pathLst>
            </a:custGeom>
            <a:solidFill>
              <a:srgbClr val="FFB7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20" name="Freeform 94"/>
            <p:cNvSpPr/>
            <p:nvPr userDrawn="1"/>
          </p:nvSpPr>
          <p:spPr bwMode="auto">
            <a:xfrm>
              <a:off x="6020593" y="3127376"/>
              <a:ext cx="49213" cy="57150"/>
            </a:xfrm>
            <a:custGeom>
              <a:avLst/>
              <a:gdLst>
                <a:gd name="T0" fmla="*/ 31 w 31"/>
                <a:gd name="T1" fmla="*/ 5 h 36"/>
                <a:gd name="T2" fmla="*/ 26 w 31"/>
                <a:gd name="T3" fmla="*/ 36 h 36"/>
                <a:gd name="T4" fmla="*/ 0 w 31"/>
                <a:gd name="T5" fmla="*/ 31 h 36"/>
                <a:gd name="T6" fmla="*/ 3 w 31"/>
                <a:gd name="T7" fmla="*/ 0 h 36"/>
                <a:gd name="T8" fmla="*/ 31 w 31"/>
                <a:gd name="T9" fmla="*/ 5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36">
                  <a:moveTo>
                    <a:pt x="31" y="5"/>
                  </a:moveTo>
                  <a:lnTo>
                    <a:pt x="26" y="36"/>
                  </a:lnTo>
                  <a:lnTo>
                    <a:pt x="0" y="31"/>
                  </a:lnTo>
                  <a:lnTo>
                    <a:pt x="3" y="0"/>
                  </a:lnTo>
                  <a:lnTo>
                    <a:pt x="31" y="5"/>
                  </a:lnTo>
                  <a:close/>
                </a:path>
              </a:pathLst>
            </a:custGeom>
            <a:solidFill>
              <a:srgbClr val="C991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21" name="Freeform 95"/>
            <p:cNvSpPr/>
            <p:nvPr userDrawn="1"/>
          </p:nvSpPr>
          <p:spPr bwMode="auto">
            <a:xfrm>
              <a:off x="6290468" y="3133726"/>
              <a:ext cx="57150" cy="268288"/>
            </a:xfrm>
            <a:custGeom>
              <a:avLst/>
              <a:gdLst>
                <a:gd name="T0" fmla="*/ 4 w 21"/>
                <a:gd name="T1" fmla="*/ 86 h 99"/>
                <a:gd name="T2" fmla="*/ 2 w 21"/>
                <a:gd name="T3" fmla="*/ 83 h 99"/>
                <a:gd name="T4" fmla="*/ 6 w 21"/>
                <a:gd name="T5" fmla="*/ 78 h 99"/>
                <a:gd name="T6" fmla="*/ 6 w 21"/>
                <a:gd name="T7" fmla="*/ 78 h 99"/>
                <a:gd name="T8" fmla="*/ 6 w 21"/>
                <a:gd name="T9" fmla="*/ 78 h 99"/>
                <a:gd name="T10" fmla="*/ 4 w 21"/>
                <a:gd name="T11" fmla="*/ 33 h 99"/>
                <a:gd name="T12" fmla="*/ 4 w 21"/>
                <a:gd name="T13" fmla="*/ 24 h 99"/>
                <a:gd name="T14" fmla="*/ 1 w 21"/>
                <a:gd name="T15" fmla="*/ 3 h 99"/>
                <a:gd name="T16" fmla="*/ 17 w 21"/>
                <a:gd name="T17" fmla="*/ 0 h 99"/>
                <a:gd name="T18" fmla="*/ 21 w 21"/>
                <a:gd name="T19" fmla="*/ 26 h 99"/>
                <a:gd name="T20" fmla="*/ 16 w 21"/>
                <a:gd name="T21" fmla="*/ 78 h 99"/>
                <a:gd name="T22" fmla="*/ 20 w 21"/>
                <a:gd name="T23" fmla="*/ 91 h 99"/>
                <a:gd name="T24" fmla="*/ 10 w 21"/>
                <a:gd name="T25" fmla="*/ 99 h 99"/>
                <a:gd name="T26" fmla="*/ 0 w 21"/>
                <a:gd name="T27" fmla="*/ 91 h 99"/>
                <a:gd name="T28" fmla="*/ 4 w 21"/>
                <a:gd name="T29" fmla="*/ 86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" h="99">
                  <a:moveTo>
                    <a:pt x="4" y="86"/>
                  </a:moveTo>
                  <a:cubicBezTo>
                    <a:pt x="4" y="86"/>
                    <a:pt x="2" y="85"/>
                    <a:pt x="2" y="83"/>
                  </a:cubicBezTo>
                  <a:cubicBezTo>
                    <a:pt x="1" y="81"/>
                    <a:pt x="6" y="78"/>
                    <a:pt x="6" y="78"/>
                  </a:cubicBezTo>
                  <a:cubicBezTo>
                    <a:pt x="6" y="78"/>
                    <a:pt x="6" y="78"/>
                    <a:pt x="6" y="78"/>
                  </a:cubicBezTo>
                  <a:cubicBezTo>
                    <a:pt x="6" y="78"/>
                    <a:pt x="6" y="78"/>
                    <a:pt x="6" y="78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4" y="24"/>
                    <a:pt x="4" y="24"/>
                    <a:pt x="4" y="24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16" y="78"/>
                    <a:pt x="16" y="78"/>
                    <a:pt x="16" y="78"/>
                  </a:cubicBezTo>
                  <a:cubicBezTo>
                    <a:pt x="17" y="83"/>
                    <a:pt x="21" y="88"/>
                    <a:pt x="20" y="91"/>
                  </a:cubicBezTo>
                  <a:cubicBezTo>
                    <a:pt x="18" y="93"/>
                    <a:pt x="13" y="99"/>
                    <a:pt x="10" y="99"/>
                  </a:cubicBezTo>
                  <a:cubicBezTo>
                    <a:pt x="7" y="98"/>
                    <a:pt x="2" y="95"/>
                    <a:pt x="0" y="91"/>
                  </a:cubicBezTo>
                  <a:cubicBezTo>
                    <a:pt x="1" y="89"/>
                    <a:pt x="4" y="86"/>
                    <a:pt x="4" y="86"/>
                  </a:cubicBezTo>
                  <a:close/>
                </a:path>
              </a:pathLst>
            </a:custGeom>
            <a:solidFill>
              <a:srgbClr val="FFB7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22" name="Freeform 96"/>
            <p:cNvSpPr/>
            <p:nvPr userDrawn="1"/>
          </p:nvSpPr>
          <p:spPr bwMode="auto">
            <a:xfrm>
              <a:off x="6292056" y="3133726"/>
              <a:ext cx="49213" cy="53975"/>
            </a:xfrm>
            <a:custGeom>
              <a:avLst/>
              <a:gdLst>
                <a:gd name="T0" fmla="*/ 0 w 31"/>
                <a:gd name="T1" fmla="*/ 5 h 34"/>
                <a:gd name="T2" fmla="*/ 5 w 31"/>
                <a:gd name="T3" fmla="*/ 34 h 34"/>
                <a:gd name="T4" fmla="*/ 31 w 31"/>
                <a:gd name="T5" fmla="*/ 29 h 34"/>
                <a:gd name="T6" fmla="*/ 28 w 31"/>
                <a:gd name="T7" fmla="*/ 0 h 34"/>
                <a:gd name="T8" fmla="*/ 0 w 31"/>
                <a:gd name="T9" fmla="*/ 5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34">
                  <a:moveTo>
                    <a:pt x="0" y="5"/>
                  </a:moveTo>
                  <a:lnTo>
                    <a:pt x="5" y="34"/>
                  </a:lnTo>
                  <a:lnTo>
                    <a:pt x="31" y="29"/>
                  </a:lnTo>
                  <a:lnTo>
                    <a:pt x="28" y="0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C991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23" name="Freeform 97"/>
            <p:cNvSpPr/>
            <p:nvPr userDrawn="1"/>
          </p:nvSpPr>
          <p:spPr bwMode="auto">
            <a:xfrm>
              <a:off x="6017418" y="3001963"/>
              <a:ext cx="327025" cy="323850"/>
            </a:xfrm>
            <a:custGeom>
              <a:avLst/>
              <a:gdLst>
                <a:gd name="T0" fmla="*/ 116 w 120"/>
                <a:gd name="T1" fmla="*/ 38 h 119"/>
                <a:gd name="T2" fmla="*/ 104 w 120"/>
                <a:gd name="T3" fmla="*/ 11 h 119"/>
                <a:gd name="T4" fmla="*/ 69 w 120"/>
                <a:gd name="T5" fmla="*/ 0 h 119"/>
                <a:gd name="T6" fmla="*/ 60 w 120"/>
                <a:gd name="T7" fmla="*/ 11 h 119"/>
                <a:gd name="T8" fmla="*/ 51 w 120"/>
                <a:gd name="T9" fmla="*/ 0 h 119"/>
                <a:gd name="T10" fmla="*/ 15 w 120"/>
                <a:gd name="T11" fmla="*/ 11 h 119"/>
                <a:gd name="T12" fmla="*/ 4 w 120"/>
                <a:gd name="T13" fmla="*/ 38 h 119"/>
                <a:gd name="T14" fmla="*/ 4 w 120"/>
                <a:gd name="T15" fmla="*/ 38 h 119"/>
                <a:gd name="T16" fmla="*/ 4 w 120"/>
                <a:gd name="T17" fmla="*/ 38 h 119"/>
                <a:gd name="T18" fmla="*/ 4 w 120"/>
                <a:gd name="T19" fmla="*/ 38 h 119"/>
                <a:gd name="T20" fmla="*/ 0 w 120"/>
                <a:gd name="T21" fmla="*/ 60 h 119"/>
                <a:gd name="T22" fmla="*/ 22 w 120"/>
                <a:gd name="T23" fmla="*/ 65 h 119"/>
                <a:gd name="T24" fmla="*/ 25 w 120"/>
                <a:gd name="T25" fmla="*/ 38 h 119"/>
                <a:gd name="T26" fmla="*/ 22 w 120"/>
                <a:gd name="T27" fmla="*/ 116 h 119"/>
                <a:gd name="T28" fmla="*/ 99 w 120"/>
                <a:gd name="T29" fmla="*/ 119 h 119"/>
                <a:gd name="T30" fmla="*/ 95 w 120"/>
                <a:gd name="T31" fmla="*/ 38 h 119"/>
                <a:gd name="T32" fmla="*/ 100 w 120"/>
                <a:gd name="T33" fmla="*/ 67 h 119"/>
                <a:gd name="T34" fmla="*/ 120 w 120"/>
                <a:gd name="T35" fmla="*/ 64 h 119"/>
                <a:gd name="T36" fmla="*/ 116 w 120"/>
                <a:gd name="T37" fmla="*/ 38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0" h="119">
                  <a:moveTo>
                    <a:pt x="116" y="38"/>
                  </a:moveTo>
                  <a:cubicBezTo>
                    <a:pt x="116" y="20"/>
                    <a:pt x="104" y="11"/>
                    <a:pt x="104" y="11"/>
                  </a:cubicBezTo>
                  <a:cubicBezTo>
                    <a:pt x="104" y="5"/>
                    <a:pt x="70" y="0"/>
                    <a:pt x="69" y="0"/>
                  </a:cubicBezTo>
                  <a:cubicBezTo>
                    <a:pt x="60" y="11"/>
                    <a:pt x="60" y="11"/>
                    <a:pt x="60" y="11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50" y="0"/>
                    <a:pt x="16" y="5"/>
                    <a:pt x="15" y="11"/>
                  </a:cubicBezTo>
                  <a:cubicBezTo>
                    <a:pt x="15" y="11"/>
                    <a:pt x="7" y="19"/>
                    <a:pt x="4" y="38"/>
                  </a:cubicBezTo>
                  <a:cubicBezTo>
                    <a:pt x="4" y="38"/>
                    <a:pt x="4" y="38"/>
                    <a:pt x="4" y="38"/>
                  </a:cubicBezTo>
                  <a:cubicBezTo>
                    <a:pt x="4" y="38"/>
                    <a:pt x="4" y="38"/>
                    <a:pt x="4" y="38"/>
                  </a:cubicBezTo>
                  <a:cubicBezTo>
                    <a:pt x="4" y="38"/>
                    <a:pt x="4" y="38"/>
                    <a:pt x="4" y="38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2" y="65"/>
                    <a:pt x="22" y="65"/>
                    <a:pt x="22" y="65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2" y="116"/>
                    <a:pt x="22" y="116"/>
                    <a:pt x="22" y="116"/>
                  </a:cubicBezTo>
                  <a:cubicBezTo>
                    <a:pt x="99" y="119"/>
                    <a:pt x="99" y="119"/>
                    <a:pt x="99" y="119"/>
                  </a:cubicBezTo>
                  <a:cubicBezTo>
                    <a:pt x="95" y="38"/>
                    <a:pt x="95" y="38"/>
                    <a:pt x="95" y="38"/>
                  </a:cubicBezTo>
                  <a:cubicBezTo>
                    <a:pt x="100" y="67"/>
                    <a:pt x="100" y="67"/>
                    <a:pt x="100" y="67"/>
                  </a:cubicBezTo>
                  <a:cubicBezTo>
                    <a:pt x="120" y="64"/>
                    <a:pt x="120" y="64"/>
                    <a:pt x="120" y="64"/>
                  </a:cubicBezTo>
                  <a:lnTo>
                    <a:pt x="116" y="38"/>
                  </a:lnTo>
                  <a:close/>
                </a:path>
              </a:pathLst>
            </a:custGeom>
            <a:solidFill>
              <a:srgbClr val="BC66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24" name="Freeform 98"/>
            <p:cNvSpPr/>
            <p:nvPr userDrawn="1"/>
          </p:nvSpPr>
          <p:spPr bwMode="auto">
            <a:xfrm>
              <a:off x="6088856" y="2841626"/>
              <a:ext cx="187325" cy="122238"/>
            </a:xfrm>
            <a:custGeom>
              <a:avLst/>
              <a:gdLst>
                <a:gd name="T0" fmla="*/ 5 w 69"/>
                <a:gd name="T1" fmla="*/ 11 h 45"/>
                <a:gd name="T2" fmla="*/ 17 w 69"/>
                <a:gd name="T3" fmla="*/ 45 h 45"/>
                <a:gd name="T4" fmla="*/ 50 w 69"/>
                <a:gd name="T5" fmla="*/ 45 h 45"/>
                <a:gd name="T6" fmla="*/ 63 w 69"/>
                <a:gd name="T7" fmla="*/ 11 h 45"/>
                <a:gd name="T8" fmla="*/ 36 w 69"/>
                <a:gd name="T9" fmla="*/ 0 h 45"/>
                <a:gd name="T10" fmla="*/ 5 w 69"/>
                <a:gd name="T11" fmla="*/ 1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9" h="45">
                  <a:moveTo>
                    <a:pt x="5" y="11"/>
                  </a:moveTo>
                  <a:cubicBezTo>
                    <a:pt x="0" y="18"/>
                    <a:pt x="10" y="45"/>
                    <a:pt x="17" y="45"/>
                  </a:cubicBezTo>
                  <a:cubicBezTo>
                    <a:pt x="24" y="45"/>
                    <a:pt x="44" y="45"/>
                    <a:pt x="50" y="45"/>
                  </a:cubicBezTo>
                  <a:cubicBezTo>
                    <a:pt x="57" y="45"/>
                    <a:pt x="69" y="16"/>
                    <a:pt x="63" y="11"/>
                  </a:cubicBezTo>
                  <a:cubicBezTo>
                    <a:pt x="56" y="6"/>
                    <a:pt x="36" y="0"/>
                    <a:pt x="36" y="0"/>
                  </a:cubicBezTo>
                  <a:cubicBezTo>
                    <a:pt x="36" y="0"/>
                    <a:pt x="10" y="6"/>
                    <a:pt x="5" y="11"/>
                  </a:cubicBezTo>
                  <a:close/>
                </a:path>
              </a:pathLst>
            </a:custGeom>
            <a:solidFill>
              <a:srgbClr val="663F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25" name="Freeform 99"/>
            <p:cNvSpPr/>
            <p:nvPr userDrawn="1"/>
          </p:nvSpPr>
          <p:spPr bwMode="auto">
            <a:xfrm>
              <a:off x="6082506" y="2871788"/>
              <a:ext cx="38100" cy="44450"/>
            </a:xfrm>
            <a:custGeom>
              <a:avLst/>
              <a:gdLst>
                <a:gd name="T0" fmla="*/ 10 w 14"/>
                <a:gd name="T1" fmla="*/ 15 h 16"/>
                <a:gd name="T2" fmla="*/ 1 w 14"/>
                <a:gd name="T3" fmla="*/ 9 h 16"/>
                <a:gd name="T4" fmla="*/ 7 w 14"/>
                <a:gd name="T5" fmla="*/ 1 h 16"/>
                <a:gd name="T6" fmla="*/ 10 w 14"/>
                <a:gd name="T7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16">
                  <a:moveTo>
                    <a:pt x="10" y="15"/>
                  </a:moveTo>
                  <a:cubicBezTo>
                    <a:pt x="6" y="16"/>
                    <a:pt x="2" y="13"/>
                    <a:pt x="1" y="9"/>
                  </a:cubicBezTo>
                  <a:cubicBezTo>
                    <a:pt x="0" y="5"/>
                    <a:pt x="3" y="1"/>
                    <a:pt x="7" y="1"/>
                  </a:cubicBezTo>
                  <a:cubicBezTo>
                    <a:pt x="11" y="0"/>
                    <a:pt x="14" y="14"/>
                    <a:pt x="10" y="15"/>
                  </a:cubicBezTo>
                  <a:close/>
                </a:path>
              </a:pathLst>
            </a:custGeom>
            <a:solidFill>
              <a:srgbClr val="FFB7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26" name="Freeform 100"/>
            <p:cNvSpPr/>
            <p:nvPr userDrawn="1"/>
          </p:nvSpPr>
          <p:spPr bwMode="auto">
            <a:xfrm>
              <a:off x="6238081" y="2871788"/>
              <a:ext cx="38100" cy="44450"/>
            </a:xfrm>
            <a:custGeom>
              <a:avLst/>
              <a:gdLst>
                <a:gd name="T0" fmla="*/ 4 w 14"/>
                <a:gd name="T1" fmla="*/ 15 h 16"/>
                <a:gd name="T2" fmla="*/ 13 w 14"/>
                <a:gd name="T3" fmla="*/ 9 h 16"/>
                <a:gd name="T4" fmla="*/ 7 w 14"/>
                <a:gd name="T5" fmla="*/ 1 h 16"/>
                <a:gd name="T6" fmla="*/ 4 w 14"/>
                <a:gd name="T7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16">
                  <a:moveTo>
                    <a:pt x="4" y="15"/>
                  </a:moveTo>
                  <a:cubicBezTo>
                    <a:pt x="8" y="16"/>
                    <a:pt x="12" y="13"/>
                    <a:pt x="13" y="9"/>
                  </a:cubicBezTo>
                  <a:cubicBezTo>
                    <a:pt x="14" y="5"/>
                    <a:pt x="11" y="1"/>
                    <a:pt x="7" y="1"/>
                  </a:cubicBezTo>
                  <a:cubicBezTo>
                    <a:pt x="3" y="0"/>
                    <a:pt x="0" y="14"/>
                    <a:pt x="4" y="15"/>
                  </a:cubicBezTo>
                  <a:close/>
                </a:path>
              </a:pathLst>
            </a:custGeom>
            <a:solidFill>
              <a:srgbClr val="FFB7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27" name="Freeform 101"/>
            <p:cNvSpPr/>
            <p:nvPr userDrawn="1"/>
          </p:nvSpPr>
          <p:spPr bwMode="auto">
            <a:xfrm>
              <a:off x="6099968" y="2801938"/>
              <a:ext cx="165100" cy="184150"/>
            </a:xfrm>
            <a:custGeom>
              <a:avLst/>
              <a:gdLst>
                <a:gd name="T0" fmla="*/ 30 w 61"/>
                <a:gd name="T1" fmla="*/ 68 h 68"/>
                <a:gd name="T2" fmla="*/ 57 w 61"/>
                <a:gd name="T3" fmla="*/ 17 h 68"/>
                <a:gd name="T4" fmla="*/ 31 w 61"/>
                <a:gd name="T5" fmla="*/ 0 h 68"/>
                <a:gd name="T6" fmla="*/ 3 w 61"/>
                <a:gd name="T7" fmla="*/ 17 h 68"/>
                <a:gd name="T8" fmla="*/ 30 w 61"/>
                <a:gd name="T9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68">
                  <a:moveTo>
                    <a:pt x="30" y="68"/>
                  </a:moveTo>
                  <a:cubicBezTo>
                    <a:pt x="61" y="68"/>
                    <a:pt x="57" y="17"/>
                    <a:pt x="57" y="17"/>
                  </a:cubicBezTo>
                  <a:cubicBezTo>
                    <a:pt x="57" y="17"/>
                    <a:pt x="56" y="0"/>
                    <a:pt x="31" y="0"/>
                  </a:cubicBezTo>
                  <a:cubicBezTo>
                    <a:pt x="8" y="0"/>
                    <a:pt x="3" y="17"/>
                    <a:pt x="3" y="17"/>
                  </a:cubicBezTo>
                  <a:cubicBezTo>
                    <a:pt x="3" y="17"/>
                    <a:pt x="0" y="68"/>
                    <a:pt x="30" y="68"/>
                  </a:cubicBezTo>
                  <a:close/>
                </a:path>
              </a:pathLst>
            </a:custGeom>
            <a:solidFill>
              <a:srgbClr val="FFB7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28" name="Freeform 102"/>
            <p:cNvSpPr/>
            <p:nvPr userDrawn="1"/>
          </p:nvSpPr>
          <p:spPr bwMode="auto">
            <a:xfrm>
              <a:off x="6085681" y="2771776"/>
              <a:ext cx="201613" cy="119063"/>
            </a:xfrm>
            <a:custGeom>
              <a:avLst/>
              <a:gdLst>
                <a:gd name="T0" fmla="*/ 4 w 74"/>
                <a:gd name="T1" fmla="*/ 38 h 44"/>
                <a:gd name="T2" fmla="*/ 10 w 74"/>
                <a:gd name="T3" fmla="*/ 42 h 44"/>
                <a:gd name="T4" fmla="*/ 11 w 74"/>
                <a:gd name="T5" fmla="*/ 24 h 44"/>
                <a:gd name="T6" fmla="*/ 24 w 74"/>
                <a:gd name="T7" fmla="*/ 29 h 44"/>
                <a:gd name="T8" fmla="*/ 23 w 74"/>
                <a:gd name="T9" fmla="*/ 21 h 44"/>
                <a:gd name="T10" fmla="*/ 38 w 74"/>
                <a:gd name="T11" fmla="*/ 28 h 44"/>
                <a:gd name="T12" fmla="*/ 49 w 74"/>
                <a:gd name="T13" fmla="*/ 28 h 44"/>
                <a:gd name="T14" fmla="*/ 48 w 74"/>
                <a:gd name="T15" fmla="*/ 21 h 44"/>
                <a:gd name="T16" fmla="*/ 53 w 74"/>
                <a:gd name="T17" fmla="*/ 23 h 44"/>
                <a:gd name="T18" fmla="*/ 58 w 74"/>
                <a:gd name="T19" fmla="*/ 24 h 44"/>
                <a:gd name="T20" fmla="*/ 61 w 74"/>
                <a:gd name="T21" fmla="*/ 43 h 44"/>
                <a:gd name="T22" fmla="*/ 66 w 74"/>
                <a:gd name="T23" fmla="*/ 39 h 44"/>
                <a:gd name="T24" fmla="*/ 35 w 74"/>
                <a:gd name="T25" fmla="*/ 3 h 44"/>
                <a:gd name="T26" fmla="*/ 24 w 74"/>
                <a:gd name="T27" fmla="*/ 4 h 44"/>
                <a:gd name="T28" fmla="*/ 22 w 74"/>
                <a:gd name="T29" fmla="*/ 0 h 44"/>
                <a:gd name="T30" fmla="*/ 20 w 74"/>
                <a:gd name="T31" fmla="*/ 5 h 44"/>
                <a:gd name="T32" fmla="*/ 12 w 74"/>
                <a:gd name="T33" fmla="*/ 0 h 44"/>
                <a:gd name="T34" fmla="*/ 13 w 74"/>
                <a:gd name="T35" fmla="*/ 8 h 44"/>
                <a:gd name="T36" fmla="*/ 4 w 74"/>
                <a:gd name="T37" fmla="*/ 38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4" h="44">
                  <a:moveTo>
                    <a:pt x="4" y="38"/>
                  </a:moveTo>
                  <a:cubicBezTo>
                    <a:pt x="7" y="37"/>
                    <a:pt x="10" y="42"/>
                    <a:pt x="10" y="42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1" y="24"/>
                    <a:pt x="17" y="29"/>
                    <a:pt x="24" y="29"/>
                  </a:cubicBezTo>
                  <a:cubicBezTo>
                    <a:pt x="23" y="25"/>
                    <a:pt x="23" y="21"/>
                    <a:pt x="23" y="21"/>
                  </a:cubicBezTo>
                  <a:cubicBezTo>
                    <a:pt x="25" y="24"/>
                    <a:pt x="33" y="27"/>
                    <a:pt x="38" y="28"/>
                  </a:cubicBezTo>
                  <a:cubicBezTo>
                    <a:pt x="36" y="22"/>
                    <a:pt x="44" y="23"/>
                    <a:pt x="49" y="28"/>
                  </a:cubicBezTo>
                  <a:cubicBezTo>
                    <a:pt x="47" y="23"/>
                    <a:pt x="46" y="23"/>
                    <a:pt x="48" y="21"/>
                  </a:cubicBezTo>
                  <a:cubicBezTo>
                    <a:pt x="53" y="20"/>
                    <a:pt x="53" y="23"/>
                    <a:pt x="53" y="23"/>
                  </a:cubicBezTo>
                  <a:cubicBezTo>
                    <a:pt x="56" y="20"/>
                    <a:pt x="58" y="24"/>
                    <a:pt x="58" y="24"/>
                  </a:cubicBezTo>
                  <a:cubicBezTo>
                    <a:pt x="58" y="24"/>
                    <a:pt x="61" y="44"/>
                    <a:pt x="61" y="43"/>
                  </a:cubicBezTo>
                  <a:cubicBezTo>
                    <a:pt x="62" y="38"/>
                    <a:pt x="66" y="39"/>
                    <a:pt x="66" y="39"/>
                  </a:cubicBezTo>
                  <a:cubicBezTo>
                    <a:pt x="66" y="39"/>
                    <a:pt x="74" y="3"/>
                    <a:pt x="35" y="3"/>
                  </a:cubicBezTo>
                  <a:cubicBezTo>
                    <a:pt x="31" y="3"/>
                    <a:pt x="27" y="3"/>
                    <a:pt x="24" y="4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0" y="18"/>
                    <a:pt x="4" y="37"/>
                    <a:pt x="4" y="38"/>
                  </a:cubicBezTo>
                  <a:close/>
                </a:path>
              </a:pathLst>
            </a:custGeom>
            <a:solidFill>
              <a:srgbClr val="663F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29" name="Rectangle 103"/>
            <p:cNvSpPr>
              <a:spLocks noChangeArrowheads="1"/>
            </p:cNvSpPr>
            <p:nvPr userDrawn="1"/>
          </p:nvSpPr>
          <p:spPr bwMode="auto">
            <a:xfrm>
              <a:off x="6196806" y="3097213"/>
              <a:ext cx="60325" cy="17463"/>
            </a:xfrm>
            <a:prstGeom prst="rect">
              <a:avLst/>
            </a:prstGeom>
            <a:solidFill>
              <a:srgbClr val="E6E6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30" name="Freeform 104"/>
            <p:cNvSpPr/>
            <p:nvPr userDrawn="1"/>
          </p:nvSpPr>
          <p:spPr bwMode="auto">
            <a:xfrm>
              <a:off x="6196806" y="3114676"/>
              <a:ext cx="60325" cy="58738"/>
            </a:xfrm>
            <a:custGeom>
              <a:avLst/>
              <a:gdLst>
                <a:gd name="T0" fmla="*/ 38 w 38"/>
                <a:gd name="T1" fmla="*/ 29 h 37"/>
                <a:gd name="T2" fmla="*/ 19 w 38"/>
                <a:gd name="T3" fmla="*/ 37 h 37"/>
                <a:gd name="T4" fmla="*/ 0 w 38"/>
                <a:gd name="T5" fmla="*/ 29 h 37"/>
                <a:gd name="T6" fmla="*/ 0 w 38"/>
                <a:gd name="T7" fmla="*/ 0 h 37"/>
                <a:gd name="T8" fmla="*/ 38 w 38"/>
                <a:gd name="T9" fmla="*/ 0 h 37"/>
                <a:gd name="T10" fmla="*/ 38 w 38"/>
                <a:gd name="T11" fmla="*/ 29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8" h="37">
                  <a:moveTo>
                    <a:pt x="38" y="29"/>
                  </a:moveTo>
                  <a:lnTo>
                    <a:pt x="19" y="37"/>
                  </a:lnTo>
                  <a:lnTo>
                    <a:pt x="0" y="29"/>
                  </a:lnTo>
                  <a:lnTo>
                    <a:pt x="0" y="0"/>
                  </a:lnTo>
                  <a:lnTo>
                    <a:pt x="38" y="0"/>
                  </a:lnTo>
                  <a:lnTo>
                    <a:pt x="38" y="29"/>
                  </a:lnTo>
                  <a:close/>
                </a:path>
              </a:pathLst>
            </a:custGeom>
            <a:solidFill>
              <a:srgbClr val="8F4D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31" name="Freeform 105"/>
            <p:cNvSpPr/>
            <p:nvPr userDrawn="1"/>
          </p:nvSpPr>
          <p:spPr bwMode="auto">
            <a:xfrm>
              <a:off x="6096793" y="3532188"/>
              <a:ext cx="76200" cy="217488"/>
            </a:xfrm>
            <a:custGeom>
              <a:avLst/>
              <a:gdLst>
                <a:gd name="T0" fmla="*/ 48 w 48"/>
                <a:gd name="T1" fmla="*/ 137 h 137"/>
                <a:gd name="T2" fmla="*/ 12 w 48"/>
                <a:gd name="T3" fmla="*/ 137 h 137"/>
                <a:gd name="T4" fmla="*/ 0 w 48"/>
                <a:gd name="T5" fmla="*/ 0 h 137"/>
                <a:gd name="T6" fmla="*/ 48 w 48"/>
                <a:gd name="T7" fmla="*/ 0 h 137"/>
                <a:gd name="T8" fmla="*/ 48 w 48"/>
                <a:gd name="T9" fmla="*/ 137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137">
                  <a:moveTo>
                    <a:pt x="48" y="137"/>
                  </a:moveTo>
                  <a:lnTo>
                    <a:pt x="12" y="137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137"/>
                  </a:lnTo>
                  <a:close/>
                </a:path>
              </a:pathLst>
            </a:custGeom>
            <a:solidFill>
              <a:srgbClr val="FFB7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32" name="Freeform 106"/>
            <p:cNvSpPr/>
            <p:nvPr userDrawn="1"/>
          </p:nvSpPr>
          <p:spPr bwMode="auto">
            <a:xfrm>
              <a:off x="6185693" y="3532188"/>
              <a:ext cx="76200" cy="217488"/>
            </a:xfrm>
            <a:custGeom>
              <a:avLst/>
              <a:gdLst>
                <a:gd name="T0" fmla="*/ 0 w 48"/>
                <a:gd name="T1" fmla="*/ 137 h 137"/>
                <a:gd name="T2" fmla="*/ 36 w 48"/>
                <a:gd name="T3" fmla="*/ 137 h 137"/>
                <a:gd name="T4" fmla="*/ 48 w 48"/>
                <a:gd name="T5" fmla="*/ 0 h 137"/>
                <a:gd name="T6" fmla="*/ 0 w 48"/>
                <a:gd name="T7" fmla="*/ 0 h 137"/>
                <a:gd name="T8" fmla="*/ 0 w 48"/>
                <a:gd name="T9" fmla="*/ 137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137">
                  <a:moveTo>
                    <a:pt x="0" y="137"/>
                  </a:moveTo>
                  <a:lnTo>
                    <a:pt x="36" y="137"/>
                  </a:lnTo>
                  <a:lnTo>
                    <a:pt x="48" y="0"/>
                  </a:lnTo>
                  <a:lnTo>
                    <a:pt x="0" y="0"/>
                  </a:lnTo>
                  <a:lnTo>
                    <a:pt x="0" y="137"/>
                  </a:lnTo>
                  <a:close/>
                </a:path>
              </a:pathLst>
            </a:custGeom>
            <a:solidFill>
              <a:srgbClr val="FFB7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33" name="Freeform 107"/>
            <p:cNvSpPr/>
            <p:nvPr userDrawn="1"/>
          </p:nvSpPr>
          <p:spPr bwMode="auto">
            <a:xfrm>
              <a:off x="6246018" y="3740151"/>
              <a:ext cx="166688" cy="115888"/>
            </a:xfrm>
            <a:custGeom>
              <a:avLst/>
              <a:gdLst>
                <a:gd name="T0" fmla="*/ 57 w 61"/>
                <a:gd name="T1" fmla="*/ 35 h 43"/>
                <a:gd name="T2" fmla="*/ 17 w 61"/>
                <a:gd name="T3" fmla="*/ 21 h 43"/>
                <a:gd name="T4" fmla="*/ 8 w 61"/>
                <a:gd name="T5" fmla="*/ 0 h 43"/>
                <a:gd name="T6" fmla="*/ 0 w 61"/>
                <a:gd name="T7" fmla="*/ 0 h 43"/>
                <a:gd name="T8" fmla="*/ 11 w 61"/>
                <a:gd name="T9" fmla="*/ 26 h 43"/>
                <a:gd name="T10" fmla="*/ 57 w 61"/>
                <a:gd name="T11" fmla="*/ 43 h 43"/>
                <a:gd name="T12" fmla="*/ 61 w 61"/>
                <a:gd name="T13" fmla="*/ 39 h 43"/>
                <a:gd name="T14" fmla="*/ 57 w 61"/>
                <a:gd name="T15" fmla="*/ 35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1" h="43">
                  <a:moveTo>
                    <a:pt x="57" y="35"/>
                  </a:moveTo>
                  <a:cubicBezTo>
                    <a:pt x="39" y="35"/>
                    <a:pt x="25" y="30"/>
                    <a:pt x="17" y="21"/>
                  </a:cubicBezTo>
                  <a:cubicBezTo>
                    <a:pt x="12" y="15"/>
                    <a:pt x="9" y="8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10"/>
                    <a:pt x="5" y="19"/>
                    <a:pt x="11" y="26"/>
                  </a:cubicBezTo>
                  <a:cubicBezTo>
                    <a:pt x="21" y="37"/>
                    <a:pt x="36" y="43"/>
                    <a:pt x="57" y="43"/>
                  </a:cubicBezTo>
                  <a:cubicBezTo>
                    <a:pt x="59" y="43"/>
                    <a:pt x="61" y="41"/>
                    <a:pt x="61" y="39"/>
                  </a:cubicBezTo>
                  <a:cubicBezTo>
                    <a:pt x="61" y="37"/>
                    <a:pt x="59" y="35"/>
                    <a:pt x="57" y="35"/>
                  </a:cubicBezTo>
                  <a:close/>
                </a:path>
              </a:pathLst>
            </a:custGeom>
            <a:solidFill>
              <a:srgbClr val="CC88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34" name="Freeform 108"/>
            <p:cNvSpPr/>
            <p:nvPr userDrawn="1"/>
          </p:nvSpPr>
          <p:spPr bwMode="auto">
            <a:xfrm>
              <a:off x="6246018" y="3694113"/>
              <a:ext cx="25400" cy="46038"/>
            </a:xfrm>
            <a:custGeom>
              <a:avLst/>
              <a:gdLst>
                <a:gd name="T0" fmla="*/ 8 w 9"/>
                <a:gd name="T1" fmla="*/ 16 h 17"/>
                <a:gd name="T2" fmla="*/ 8 w 9"/>
                <a:gd name="T3" fmla="*/ 12 h 17"/>
                <a:gd name="T4" fmla="*/ 8 w 9"/>
                <a:gd name="T5" fmla="*/ 10 h 17"/>
                <a:gd name="T6" fmla="*/ 9 w 9"/>
                <a:gd name="T7" fmla="*/ 5 h 17"/>
                <a:gd name="T8" fmla="*/ 5 w 9"/>
                <a:gd name="T9" fmla="*/ 0 h 17"/>
                <a:gd name="T10" fmla="*/ 1 w 9"/>
                <a:gd name="T11" fmla="*/ 4 h 17"/>
                <a:gd name="T12" fmla="*/ 0 w 9"/>
                <a:gd name="T13" fmla="*/ 10 h 17"/>
                <a:gd name="T14" fmla="*/ 0 w 9"/>
                <a:gd name="T15" fmla="*/ 12 h 17"/>
                <a:gd name="T16" fmla="*/ 0 w 9"/>
                <a:gd name="T17" fmla="*/ 16 h 17"/>
                <a:gd name="T18" fmla="*/ 0 w 9"/>
                <a:gd name="T19" fmla="*/ 17 h 17"/>
                <a:gd name="T20" fmla="*/ 0 w 9"/>
                <a:gd name="T21" fmla="*/ 17 h 17"/>
                <a:gd name="T22" fmla="*/ 8 w 9"/>
                <a:gd name="T23" fmla="*/ 17 h 17"/>
                <a:gd name="T24" fmla="*/ 8 w 9"/>
                <a:gd name="T25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" h="17">
                  <a:moveTo>
                    <a:pt x="8" y="16"/>
                  </a:moveTo>
                  <a:cubicBezTo>
                    <a:pt x="8" y="15"/>
                    <a:pt x="8" y="13"/>
                    <a:pt x="8" y="12"/>
                  </a:cubicBezTo>
                  <a:cubicBezTo>
                    <a:pt x="8" y="11"/>
                    <a:pt x="8" y="11"/>
                    <a:pt x="8" y="10"/>
                  </a:cubicBezTo>
                  <a:cubicBezTo>
                    <a:pt x="8" y="9"/>
                    <a:pt x="8" y="7"/>
                    <a:pt x="9" y="5"/>
                  </a:cubicBezTo>
                  <a:cubicBezTo>
                    <a:pt x="9" y="3"/>
                    <a:pt x="7" y="1"/>
                    <a:pt x="5" y="0"/>
                  </a:cubicBezTo>
                  <a:cubicBezTo>
                    <a:pt x="3" y="0"/>
                    <a:pt x="1" y="1"/>
                    <a:pt x="1" y="4"/>
                  </a:cubicBezTo>
                  <a:cubicBezTo>
                    <a:pt x="0" y="6"/>
                    <a:pt x="0" y="8"/>
                    <a:pt x="0" y="10"/>
                  </a:cubicBezTo>
                  <a:cubicBezTo>
                    <a:pt x="0" y="11"/>
                    <a:pt x="0" y="11"/>
                    <a:pt x="0" y="12"/>
                  </a:cubicBezTo>
                  <a:cubicBezTo>
                    <a:pt x="0" y="14"/>
                    <a:pt x="0" y="15"/>
                    <a:pt x="0" y="16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8" y="17"/>
                    <a:pt x="8" y="17"/>
                    <a:pt x="8" y="17"/>
                  </a:cubicBezTo>
                  <a:lnTo>
                    <a:pt x="8" y="16"/>
                  </a:lnTo>
                  <a:close/>
                </a:path>
              </a:pathLst>
            </a:custGeom>
            <a:solidFill>
              <a:srgbClr val="8A5C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35" name="Freeform 109"/>
            <p:cNvSpPr/>
            <p:nvPr userDrawn="1"/>
          </p:nvSpPr>
          <p:spPr bwMode="auto">
            <a:xfrm>
              <a:off x="6311106" y="3511551"/>
              <a:ext cx="327025" cy="355600"/>
            </a:xfrm>
            <a:custGeom>
              <a:avLst/>
              <a:gdLst>
                <a:gd name="T0" fmla="*/ 77 w 120"/>
                <a:gd name="T1" fmla="*/ 131 h 131"/>
                <a:gd name="T2" fmla="*/ 43 w 120"/>
                <a:gd name="T3" fmla="*/ 131 h 131"/>
                <a:gd name="T4" fmla="*/ 9 w 120"/>
                <a:gd name="T5" fmla="*/ 77 h 131"/>
                <a:gd name="T6" fmla="*/ 26 w 120"/>
                <a:gd name="T7" fmla="*/ 32 h 131"/>
                <a:gd name="T8" fmla="*/ 94 w 120"/>
                <a:gd name="T9" fmla="*/ 32 h 131"/>
                <a:gd name="T10" fmla="*/ 111 w 120"/>
                <a:gd name="T11" fmla="*/ 77 h 131"/>
                <a:gd name="T12" fmla="*/ 77 w 120"/>
                <a:gd name="T13" fmla="*/ 131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0" h="131">
                  <a:moveTo>
                    <a:pt x="77" y="131"/>
                  </a:moveTo>
                  <a:cubicBezTo>
                    <a:pt x="43" y="131"/>
                    <a:pt x="43" y="131"/>
                    <a:pt x="43" y="131"/>
                  </a:cubicBezTo>
                  <a:cubicBezTo>
                    <a:pt x="17" y="131"/>
                    <a:pt x="0" y="103"/>
                    <a:pt x="9" y="77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39" y="0"/>
                    <a:pt x="81" y="0"/>
                    <a:pt x="94" y="32"/>
                  </a:cubicBezTo>
                  <a:cubicBezTo>
                    <a:pt x="111" y="77"/>
                    <a:pt x="111" y="77"/>
                    <a:pt x="111" y="77"/>
                  </a:cubicBezTo>
                  <a:cubicBezTo>
                    <a:pt x="120" y="103"/>
                    <a:pt x="103" y="131"/>
                    <a:pt x="77" y="131"/>
                  </a:cubicBezTo>
                  <a:close/>
                </a:path>
              </a:pathLst>
            </a:custGeom>
            <a:solidFill>
              <a:srgbClr val="E69A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36" name="Oval 110"/>
            <p:cNvSpPr>
              <a:spLocks noChangeArrowheads="1"/>
            </p:cNvSpPr>
            <p:nvPr userDrawn="1"/>
          </p:nvSpPr>
          <p:spPr bwMode="auto">
            <a:xfrm>
              <a:off x="6460331" y="3656013"/>
              <a:ext cx="30163" cy="1905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37" name="Freeform 111"/>
            <p:cNvSpPr/>
            <p:nvPr userDrawn="1"/>
          </p:nvSpPr>
          <p:spPr bwMode="auto">
            <a:xfrm>
              <a:off x="6477793" y="3627438"/>
              <a:ext cx="58738" cy="44450"/>
            </a:xfrm>
            <a:custGeom>
              <a:avLst/>
              <a:gdLst>
                <a:gd name="T0" fmla="*/ 0 w 22"/>
                <a:gd name="T1" fmla="*/ 10 h 16"/>
                <a:gd name="T2" fmla="*/ 11 w 22"/>
                <a:gd name="T3" fmla="*/ 14 h 16"/>
                <a:gd name="T4" fmla="*/ 18 w 22"/>
                <a:gd name="T5" fmla="*/ 0 h 16"/>
                <a:gd name="T6" fmla="*/ 0 w 22"/>
                <a:gd name="T7" fmla="*/ 3 h 16"/>
                <a:gd name="T8" fmla="*/ 0 w 22"/>
                <a:gd name="T9" fmla="*/ 1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16">
                  <a:moveTo>
                    <a:pt x="0" y="10"/>
                  </a:moveTo>
                  <a:cubicBezTo>
                    <a:pt x="0" y="10"/>
                    <a:pt x="5" y="16"/>
                    <a:pt x="11" y="14"/>
                  </a:cubicBezTo>
                  <a:cubicBezTo>
                    <a:pt x="22" y="12"/>
                    <a:pt x="18" y="0"/>
                    <a:pt x="18" y="0"/>
                  </a:cubicBezTo>
                  <a:cubicBezTo>
                    <a:pt x="0" y="3"/>
                    <a:pt x="0" y="3"/>
                    <a:pt x="0" y="3"/>
                  </a:cubicBezTo>
                  <a:lnTo>
                    <a:pt x="0" y="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38" name="Freeform 112"/>
            <p:cNvSpPr/>
            <p:nvPr userDrawn="1"/>
          </p:nvSpPr>
          <p:spPr bwMode="auto">
            <a:xfrm>
              <a:off x="6414293" y="3630613"/>
              <a:ext cx="63500" cy="41275"/>
            </a:xfrm>
            <a:custGeom>
              <a:avLst/>
              <a:gdLst>
                <a:gd name="T0" fmla="*/ 23 w 23"/>
                <a:gd name="T1" fmla="*/ 9 h 15"/>
                <a:gd name="T2" fmla="*/ 11 w 23"/>
                <a:gd name="T3" fmla="*/ 13 h 15"/>
                <a:gd name="T4" fmla="*/ 4 w 23"/>
                <a:gd name="T5" fmla="*/ 0 h 15"/>
                <a:gd name="T6" fmla="*/ 23 w 23"/>
                <a:gd name="T7" fmla="*/ 2 h 15"/>
                <a:gd name="T8" fmla="*/ 23 w 23"/>
                <a:gd name="T9" fmla="*/ 9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15">
                  <a:moveTo>
                    <a:pt x="23" y="9"/>
                  </a:moveTo>
                  <a:cubicBezTo>
                    <a:pt x="23" y="9"/>
                    <a:pt x="17" y="15"/>
                    <a:pt x="11" y="13"/>
                  </a:cubicBezTo>
                  <a:cubicBezTo>
                    <a:pt x="0" y="11"/>
                    <a:pt x="4" y="0"/>
                    <a:pt x="4" y="0"/>
                  </a:cubicBezTo>
                  <a:cubicBezTo>
                    <a:pt x="23" y="2"/>
                    <a:pt x="23" y="2"/>
                    <a:pt x="23" y="2"/>
                  </a:cubicBezTo>
                  <a:lnTo>
                    <a:pt x="23" y="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39" name="Oval 113"/>
            <p:cNvSpPr>
              <a:spLocks noChangeArrowheads="1"/>
            </p:cNvSpPr>
            <p:nvPr userDrawn="1"/>
          </p:nvSpPr>
          <p:spPr bwMode="auto">
            <a:xfrm>
              <a:off x="6409531" y="3573463"/>
              <a:ext cx="127000" cy="68263"/>
            </a:xfrm>
            <a:prstGeom prst="ellipse">
              <a:avLst/>
            </a:prstGeom>
            <a:solidFill>
              <a:srgbClr val="9463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40" name="Freeform 114"/>
            <p:cNvSpPr/>
            <p:nvPr userDrawn="1"/>
          </p:nvSpPr>
          <p:spPr bwMode="auto">
            <a:xfrm>
              <a:off x="6387306" y="3722688"/>
              <a:ext cx="174625" cy="150813"/>
            </a:xfrm>
            <a:custGeom>
              <a:avLst/>
              <a:gdLst>
                <a:gd name="T0" fmla="*/ 64 w 64"/>
                <a:gd name="T1" fmla="*/ 31 h 55"/>
                <a:gd name="T2" fmla="*/ 53 w 64"/>
                <a:gd name="T3" fmla="*/ 53 h 55"/>
                <a:gd name="T4" fmla="*/ 11 w 64"/>
                <a:gd name="T5" fmla="*/ 53 h 55"/>
                <a:gd name="T6" fmla="*/ 0 w 64"/>
                <a:gd name="T7" fmla="*/ 31 h 55"/>
                <a:gd name="T8" fmla="*/ 32 w 64"/>
                <a:gd name="T9" fmla="*/ 0 h 55"/>
                <a:gd name="T10" fmla="*/ 64 w 64"/>
                <a:gd name="T11" fmla="*/ 31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4" h="55">
                  <a:moveTo>
                    <a:pt x="64" y="31"/>
                  </a:moveTo>
                  <a:cubicBezTo>
                    <a:pt x="64" y="40"/>
                    <a:pt x="60" y="48"/>
                    <a:pt x="53" y="53"/>
                  </a:cubicBezTo>
                  <a:cubicBezTo>
                    <a:pt x="49" y="55"/>
                    <a:pt x="13" y="55"/>
                    <a:pt x="11" y="53"/>
                  </a:cubicBezTo>
                  <a:cubicBezTo>
                    <a:pt x="4" y="48"/>
                    <a:pt x="0" y="40"/>
                    <a:pt x="0" y="31"/>
                  </a:cubicBezTo>
                  <a:cubicBezTo>
                    <a:pt x="0" y="14"/>
                    <a:pt x="14" y="0"/>
                    <a:pt x="32" y="0"/>
                  </a:cubicBezTo>
                  <a:cubicBezTo>
                    <a:pt x="50" y="0"/>
                    <a:pt x="64" y="14"/>
                    <a:pt x="64" y="31"/>
                  </a:cubicBezTo>
                  <a:close/>
                </a:path>
              </a:pathLst>
            </a:custGeom>
            <a:solidFill>
              <a:srgbClr val="E6C6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41" name="Oval 115"/>
            <p:cNvSpPr>
              <a:spLocks noChangeArrowheads="1"/>
            </p:cNvSpPr>
            <p:nvPr userDrawn="1"/>
          </p:nvSpPr>
          <p:spPr bwMode="auto">
            <a:xfrm>
              <a:off x="6496843" y="3589338"/>
              <a:ext cx="20638" cy="365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42" name="Oval 116"/>
            <p:cNvSpPr>
              <a:spLocks noChangeArrowheads="1"/>
            </p:cNvSpPr>
            <p:nvPr userDrawn="1"/>
          </p:nvSpPr>
          <p:spPr bwMode="auto">
            <a:xfrm>
              <a:off x="6501606" y="3606801"/>
              <a:ext cx="11113" cy="12700"/>
            </a:xfrm>
            <a:prstGeom prst="ellipse">
              <a:avLst/>
            </a:prstGeom>
            <a:solidFill>
              <a:srgbClr val="2B2B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43" name="Oval 117"/>
            <p:cNvSpPr>
              <a:spLocks noChangeArrowheads="1"/>
            </p:cNvSpPr>
            <p:nvPr userDrawn="1"/>
          </p:nvSpPr>
          <p:spPr bwMode="auto">
            <a:xfrm>
              <a:off x="6433343" y="3589338"/>
              <a:ext cx="22225" cy="365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44" name="Oval 118"/>
            <p:cNvSpPr>
              <a:spLocks noChangeArrowheads="1"/>
            </p:cNvSpPr>
            <p:nvPr userDrawn="1"/>
          </p:nvSpPr>
          <p:spPr bwMode="auto">
            <a:xfrm>
              <a:off x="6441281" y="3606801"/>
              <a:ext cx="9525" cy="12700"/>
            </a:xfrm>
            <a:prstGeom prst="ellipse">
              <a:avLst/>
            </a:prstGeom>
            <a:solidFill>
              <a:srgbClr val="2B2B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45" name="Freeform 119"/>
            <p:cNvSpPr/>
            <p:nvPr userDrawn="1"/>
          </p:nvSpPr>
          <p:spPr bwMode="auto">
            <a:xfrm>
              <a:off x="6504781" y="3494088"/>
              <a:ext cx="61913" cy="79375"/>
            </a:xfrm>
            <a:custGeom>
              <a:avLst/>
              <a:gdLst>
                <a:gd name="T0" fmla="*/ 17 w 23"/>
                <a:gd name="T1" fmla="*/ 29 h 29"/>
                <a:gd name="T2" fmla="*/ 0 w 23"/>
                <a:gd name="T3" fmla="*/ 17 h 29"/>
                <a:gd name="T4" fmla="*/ 22 w 23"/>
                <a:gd name="T5" fmla="*/ 1 h 29"/>
                <a:gd name="T6" fmla="*/ 17 w 23"/>
                <a:gd name="T7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29">
                  <a:moveTo>
                    <a:pt x="17" y="29"/>
                  </a:moveTo>
                  <a:cubicBezTo>
                    <a:pt x="12" y="23"/>
                    <a:pt x="0" y="17"/>
                    <a:pt x="0" y="17"/>
                  </a:cubicBezTo>
                  <a:cubicBezTo>
                    <a:pt x="0" y="17"/>
                    <a:pt x="20" y="0"/>
                    <a:pt x="22" y="1"/>
                  </a:cubicBezTo>
                  <a:cubicBezTo>
                    <a:pt x="23" y="1"/>
                    <a:pt x="20" y="28"/>
                    <a:pt x="17" y="29"/>
                  </a:cubicBezTo>
                  <a:close/>
                </a:path>
              </a:pathLst>
            </a:custGeom>
            <a:solidFill>
              <a:srgbClr val="A66F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46" name="Freeform 120"/>
            <p:cNvSpPr/>
            <p:nvPr userDrawn="1"/>
          </p:nvSpPr>
          <p:spPr bwMode="auto">
            <a:xfrm>
              <a:off x="6517481" y="3516313"/>
              <a:ext cx="36513" cy="44450"/>
            </a:xfrm>
            <a:custGeom>
              <a:avLst/>
              <a:gdLst>
                <a:gd name="T0" fmla="*/ 10 w 13"/>
                <a:gd name="T1" fmla="*/ 16 h 16"/>
                <a:gd name="T2" fmla="*/ 0 w 13"/>
                <a:gd name="T3" fmla="*/ 10 h 16"/>
                <a:gd name="T4" fmla="*/ 12 w 13"/>
                <a:gd name="T5" fmla="*/ 0 h 16"/>
                <a:gd name="T6" fmla="*/ 10 w 13"/>
                <a:gd name="T7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16">
                  <a:moveTo>
                    <a:pt x="10" y="16"/>
                  </a:moveTo>
                  <a:cubicBezTo>
                    <a:pt x="6" y="13"/>
                    <a:pt x="0" y="10"/>
                    <a:pt x="0" y="10"/>
                  </a:cubicBezTo>
                  <a:cubicBezTo>
                    <a:pt x="0" y="10"/>
                    <a:pt x="11" y="0"/>
                    <a:pt x="12" y="0"/>
                  </a:cubicBezTo>
                  <a:cubicBezTo>
                    <a:pt x="13" y="1"/>
                    <a:pt x="11" y="15"/>
                    <a:pt x="10" y="16"/>
                  </a:cubicBezTo>
                  <a:close/>
                </a:path>
              </a:pathLst>
            </a:custGeom>
            <a:solidFill>
              <a:srgbClr val="FFA6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47" name="Freeform 121"/>
            <p:cNvSpPr/>
            <p:nvPr userDrawn="1"/>
          </p:nvSpPr>
          <p:spPr bwMode="auto">
            <a:xfrm>
              <a:off x="6382543" y="3494088"/>
              <a:ext cx="61913" cy="79375"/>
            </a:xfrm>
            <a:custGeom>
              <a:avLst/>
              <a:gdLst>
                <a:gd name="T0" fmla="*/ 6 w 23"/>
                <a:gd name="T1" fmla="*/ 29 h 29"/>
                <a:gd name="T2" fmla="*/ 23 w 23"/>
                <a:gd name="T3" fmla="*/ 17 h 29"/>
                <a:gd name="T4" fmla="*/ 1 w 23"/>
                <a:gd name="T5" fmla="*/ 1 h 29"/>
                <a:gd name="T6" fmla="*/ 6 w 23"/>
                <a:gd name="T7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29">
                  <a:moveTo>
                    <a:pt x="6" y="29"/>
                  </a:moveTo>
                  <a:cubicBezTo>
                    <a:pt x="11" y="23"/>
                    <a:pt x="23" y="17"/>
                    <a:pt x="23" y="17"/>
                  </a:cubicBezTo>
                  <a:cubicBezTo>
                    <a:pt x="23" y="17"/>
                    <a:pt x="4" y="0"/>
                    <a:pt x="1" y="1"/>
                  </a:cubicBezTo>
                  <a:cubicBezTo>
                    <a:pt x="0" y="1"/>
                    <a:pt x="4" y="28"/>
                    <a:pt x="6" y="29"/>
                  </a:cubicBezTo>
                  <a:close/>
                </a:path>
              </a:pathLst>
            </a:custGeom>
            <a:solidFill>
              <a:srgbClr val="CF8A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48" name="Freeform 122"/>
            <p:cNvSpPr/>
            <p:nvPr userDrawn="1"/>
          </p:nvSpPr>
          <p:spPr bwMode="auto">
            <a:xfrm>
              <a:off x="6395243" y="3516313"/>
              <a:ext cx="36513" cy="44450"/>
            </a:xfrm>
            <a:custGeom>
              <a:avLst/>
              <a:gdLst>
                <a:gd name="T0" fmla="*/ 4 w 13"/>
                <a:gd name="T1" fmla="*/ 16 h 16"/>
                <a:gd name="T2" fmla="*/ 13 w 13"/>
                <a:gd name="T3" fmla="*/ 10 h 16"/>
                <a:gd name="T4" fmla="*/ 1 w 13"/>
                <a:gd name="T5" fmla="*/ 0 h 16"/>
                <a:gd name="T6" fmla="*/ 4 w 13"/>
                <a:gd name="T7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16">
                  <a:moveTo>
                    <a:pt x="4" y="16"/>
                  </a:moveTo>
                  <a:cubicBezTo>
                    <a:pt x="7" y="13"/>
                    <a:pt x="13" y="10"/>
                    <a:pt x="13" y="10"/>
                  </a:cubicBezTo>
                  <a:cubicBezTo>
                    <a:pt x="13" y="10"/>
                    <a:pt x="2" y="0"/>
                    <a:pt x="1" y="0"/>
                  </a:cubicBezTo>
                  <a:cubicBezTo>
                    <a:pt x="0" y="1"/>
                    <a:pt x="2" y="15"/>
                    <a:pt x="4" y="16"/>
                  </a:cubicBezTo>
                  <a:close/>
                </a:path>
              </a:pathLst>
            </a:custGeom>
            <a:solidFill>
              <a:srgbClr val="FFA6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49" name="Freeform 123"/>
            <p:cNvSpPr/>
            <p:nvPr userDrawn="1"/>
          </p:nvSpPr>
          <p:spPr bwMode="auto">
            <a:xfrm>
              <a:off x="6463506" y="3644901"/>
              <a:ext cx="25400" cy="12700"/>
            </a:xfrm>
            <a:custGeom>
              <a:avLst/>
              <a:gdLst>
                <a:gd name="T0" fmla="*/ 4 w 9"/>
                <a:gd name="T1" fmla="*/ 5 h 5"/>
                <a:gd name="T2" fmla="*/ 1 w 9"/>
                <a:gd name="T3" fmla="*/ 2 h 5"/>
                <a:gd name="T4" fmla="*/ 1 w 9"/>
                <a:gd name="T5" fmla="*/ 0 h 5"/>
                <a:gd name="T6" fmla="*/ 8 w 9"/>
                <a:gd name="T7" fmla="*/ 0 h 5"/>
                <a:gd name="T8" fmla="*/ 8 w 9"/>
                <a:gd name="T9" fmla="*/ 2 h 5"/>
                <a:gd name="T10" fmla="*/ 5 w 9"/>
                <a:gd name="T11" fmla="*/ 5 h 5"/>
                <a:gd name="T12" fmla="*/ 4 w 9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5">
                  <a:moveTo>
                    <a:pt x="4" y="5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9" y="0"/>
                    <a:pt x="9" y="1"/>
                    <a:pt x="8" y="2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5"/>
                    <a:pt x="4" y="5"/>
                    <a:pt x="4" y="5"/>
                  </a:cubicBezTo>
                  <a:close/>
                </a:path>
              </a:pathLst>
            </a:custGeom>
            <a:solidFill>
              <a:srgbClr val="593C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50" name="Freeform 124"/>
            <p:cNvSpPr/>
            <p:nvPr userDrawn="1"/>
          </p:nvSpPr>
          <p:spPr bwMode="auto">
            <a:xfrm>
              <a:off x="6520656" y="3627438"/>
              <a:ext cx="133350" cy="25400"/>
            </a:xfrm>
            <a:custGeom>
              <a:avLst/>
              <a:gdLst>
                <a:gd name="T0" fmla="*/ 49 w 49"/>
                <a:gd name="T1" fmla="*/ 9 h 9"/>
                <a:gd name="T2" fmla="*/ 0 w 49"/>
                <a:gd name="T3" fmla="*/ 5 h 9"/>
                <a:gd name="T4" fmla="*/ 0 w 49"/>
                <a:gd name="T5" fmla="*/ 4 h 9"/>
                <a:gd name="T6" fmla="*/ 49 w 49"/>
                <a:gd name="T7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9" h="9">
                  <a:moveTo>
                    <a:pt x="49" y="9"/>
                  </a:moveTo>
                  <a:cubicBezTo>
                    <a:pt x="28" y="1"/>
                    <a:pt x="0" y="5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27" y="0"/>
                    <a:pt x="49" y="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51" name="Freeform 125"/>
            <p:cNvSpPr/>
            <p:nvPr userDrawn="1"/>
          </p:nvSpPr>
          <p:spPr bwMode="auto">
            <a:xfrm>
              <a:off x="6512718" y="3646488"/>
              <a:ext cx="128588" cy="41275"/>
            </a:xfrm>
            <a:custGeom>
              <a:avLst/>
              <a:gdLst>
                <a:gd name="T0" fmla="*/ 47 w 47"/>
                <a:gd name="T1" fmla="*/ 15 h 15"/>
                <a:gd name="T2" fmla="*/ 0 w 47"/>
                <a:gd name="T3" fmla="*/ 1 h 15"/>
                <a:gd name="T4" fmla="*/ 0 w 47"/>
                <a:gd name="T5" fmla="*/ 0 h 15"/>
                <a:gd name="T6" fmla="*/ 47 w 47"/>
                <a:gd name="T7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" h="15">
                  <a:moveTo>
                    <a:pt x="47" y="15"/>
                  </a:moveTo>
                  <a:cubicBezTo>
                    <a:pt x="30" y="1"/>
                    <a:pt x="1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31" y="0"/>
                    <a:pt x="47" y="1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52" name="Freeform 126"/>
            <p:cNvSpPr/>
            <p:nvPr userDrawn="1"/>
          </p:nvSpPr>
          <p:spPr bwMode="auto">
            <a:xfrm>
              <a:off x="6498431" y="3656013"/>
              <a:ext cx="120650" cy="61913"/>
            </a:xfrm>
            <a:custGeom>
              <a:avLst/>
              <a:gdLst>
                <a:gd name="T0" fmla="*/ 44 w 44"/>
                <a:gd name="T1" fmla="*/ 23 h 23"/>
                <a:gd name="T2" fmla="*/ 0 w 44"/>
                <a:gd name="T3" fmla="*/ 1 h 23"/>
                <a:gd name="T4" fmla="*/ 0 w 44"/>
                <a:gd name="T5" fmla="*/ 0 h 23"/>
                <a:gd name="T6" fmla="*/ 44 w 44"/>
                <a:gd name="T7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4" h="23">
                  <a:moveTo>
                    <a:pt x="44" y="23"/>
                  </a:moveTo>
                  <a:cubicBezTo>
                    <a:pt x="28" y="3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32" y="4"/>
                    <a:pt x="44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53" name="Freeform 127"/>
            <p:cNvSpPr/>
            <p:nvPr userDrawn="1"/>
          </p:nvSpPr>
          <p:spPr bwMode="auto">
            <a:xfrm>
              <a:off x="6295231" y="3627438"/>
              <a:ext cx="133350" cy="25400"/>
            </a:xfrm>
            <a:custGeom>
              <a:avLst/>
              <a:gdLst>
                <a:gd name="T0" fmla="*/ 0 w 49"/>
                <a:gd name="T1" fmla="*/ 9 h 9"/>
                <a:gd name="T2" fmla="*/ 49 w 49"/>
                <a:gd name="T3" fmla="*/ 5 h 9"/>
                <a:gd name="T4" fmla="*/ 49 w 49"/>
                <a:gd name="T5" fmla="*/ 4 h 9"/>
                <a:gd name="T6" fmla="*/ 0 w 49"/>
                <a:gd name="T7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9" h="9">
                  <a:moveTo>
                    <a:pt x="0" y="9"/>
                  </a:moveTo>
                  <a:cubicBezTo>
                    <a:pt x="22" y="1"/>
                    <a:pt x="49" y="5"/>
                    <a:pt x="49" y="5"/>
                  </a:cubicBezTo>
                  <a:cubicBezTo>
                    <a:pt x="49" y="4"/>
                    <a:pt x="49" y="4"/>
                    <a:pt x="49" y="4"/>
                  </a:cubicBezTo>
                  <a:cubicBezTo>
                    <a:pt x="49" y="4"/>
                    <a:pt x="22" y="0"/>
                    <a:pt x="0" y="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54" name="Freeform 128"/>
            <p:cNvSpPr/>
            <p:nvPr userDrawn="1"/>
          </p:nvSpPr>
          <p:spPr bwMode="auto">
            <a:xfrm>
              <a:off x="6309518" y="3646488"/>
              <a:ext cx="127000" cy="41275"/>
            </a:xfrm>
            <a:custGeom>
              <a:avLst/>
              <a:gdLst>
                <a:gd name="T0" fmla="*/ 0 w 47"/>
                <a:gd name="T1" fmla="*/ 15 h 15"/>
                <a:gd name="T2" fmla="*/ 47 w 47"/>
                <a:gd name="T3" fmla="*/ 1 h 15"/>
                <a:gd name="T4" fmla="*/ 47 w 47"/>
                <a:gd name="T5" fmla="*/ 0 h 15"/>
                <a:gd name="T6" fmla="*/ 0 w 47"/>
                <a:gd name="T7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" h="15">
                  <a:moveTo>
                    <a:pt x="0" y="15"/>
                  </a:moveTo>
                  <a:cubicBezTo>
                    <a:pt x="18" y="1"/>
                    <a:pt x="47" y="1"/>
                    <a:pt x="47" y="1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7" y="0"/>
                    <a:pt x="16" y="0"/>
                    <a:pt x="0" y="1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55" name="Freeform 129"/>
            <p:cNvSpPr/>
            <p:nvPr userDrawn="1"/>
          </p:nvSpPr>
          <p:spPr bwMode="auto">
            <a:xfrm>
              <a:off x="6330156" y="3656013"/>
              <a:ext cx="120650" cy="61913"/>
            </a:xfrm>
            <a:custGeom>
              <a:avLst/>
              <a:gdLst>
                <a:gd name="T0" fmla="*/ 0 w 44"/>
                <a:gd name="T1" fmla="*/ 23 h 23"/>
                <a:gd name="T2" fmla="*/ 44 w 44"/>
                <a:gd name="T3" fmla="*/ 1 h 23"/>
                <a:gd name="T4" fmla="*/ 44 w 44"/>
                <a:gd name="T5" fmla="*/ 0 h 23"/>
                <a:gd name="T6" fmla="*/ 0 w 44"/>
                <a:gd name="T7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4" h="23">
                  <a:moveTo>
                    <a:pt x="0" y="23"/>
                  </a:moveTo>
                  <a:cubicBezTo>
                    <a:pt x="16" y="3"/>
                    <a:pt x="44" y="1"/>
                    <a:pt x="44" y="1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44" y="0"/>
                    <a:pt x="12" y="4"/>
                    <a:pt x="0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56" name="Oval 130"/>
            <p:cNvSpPr>
              <a:spLocks noChangeArrowheads="1"/>
            </p:cNvSpPr>
            <p:nvPr userDrawn="1"/>
          </p:nvSpPr>
          <p:spPr bwMode="auto">
            <a:xfrm>
              <a:off x="6352381" y="3844926"/>
              <a:ext cx="57150" cy="3810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57" name="Oval 131"/>
            <p:cNvSpPr>
              <a:spLocks noChangeArrowheads="1"/>
            </p:cNvSpPr>
            <p:nvPr userDrawn="1"/>
          </p:nvSpPr>
          <p:spPr bwMode="auto">
            <a:xfrm>
              <a:off x="6536531" y="3844926"/>
              <a:ext cx="57150" cy="38100"/>
            </a:xfrm>
            <a:prstGeom prst="ellipse">
              <a:avLst/>
            </a:prstGeom>
            <a:solidFill>
              <a:srgbClr val="9463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58" name="Rectangle 132"/>
            <p:cNvSpPr>
              <a:spLocks noChangeArrowheads="1"/>
            </p:cNvSpPr>
            <p:nvPr userDrawn="1"/>
          </p:nvSpPr>
          <p:spPr bwMode="auto">
            <a:xfrm>
              <a:off x="6490493" y="3714751"/>
              <a:ext cx="36513" cy="158750"/>
            </a:xfrm>
            <a:prstGeom prst="rect">
              <a:avLst/>
            </a:prstGeom>
            <a:solidFill>
              <a:srgbClr val="E69A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59" name="Rectangle 133"/>
            <p:cNvSpPr>
              <a:spLocks noChangeArrowheads="1"/>
            </p:cNvSpPr>
            <p:nvPr userDrawn="1"/>
          </p:nvSpPr>
          <p:spPr bwMode="auto">
            <a:xfrm>
              <a:off x="6425406" y="3714751"/>
              <a:ext cx="33338" cy="158750"/>
            </a:xfrm>
            <a:prstGeom prst="rect">
              <a:avLst/>
            </a:prstGeom>
            <a:solidFill>
              <a:srgbClr val="E69A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60" name="Oval 134"/>
            <p:cNvSpPr>
              <a:spLocks noChangeArrowheads="1"/>
            </p:cNvSpPr>
            <p:nvPr userDrawn="1"/>
          </p:nvSpPr>
          <p:spPr bwMode="auto">
            <a:xfrm>
              <a:off x="6479381" y="3859213"/>
              <a:ext cx="57150" cy="3492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61" name="Oval 135"/>
            <p:cNvSpPr>
              <a:spLocks noChangeArrowheads="1"/>
            </p:cNvSpPr>
            <p:nvPr userDrawn="1"/>
          </p:nvSpPr>
          <p:spPr bwMode="auto">
            <a:xfrm>
              <a:off x="6414293" y="3859213"/>
              <a:ext cx="55563" cy="3492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62" name="Freeform 136"/>
            <p:cNvSpPr/>
            <p:nvPr userDrawn="1"/>
          </p:nvSpPr>
          <p:spPr bwMode="auto">
            <a:xfrm>
              <a:off x="6099968" y="1887538"/>
              <a:ext cx="855663" cy="541338"/>
            </a:xfrm>
            <a:custGeom>
              <a:avLst/>
              <a:gdLst>
                <a:gd name="T0" fmla="*/ 237 w 315"/>
                <a:gd name="T1" fmla="*/ 136 h 199"/>
                <a:gd name="T2" fmla="*/ 168 w 315"/>
                <a:gd name="T3" fmla="*/ 54 h 199"/>
                <a:gd name="T4" fmla="*/ 86 w 315"/>
                <a:gd name="T5" fmla="*/ 24 h 199"/>
                <a:gd name="T6" fmla="*/ 17 w 315"/>
                <a:gd name="T7" fmla="*/ 32 h 199"/>
                <a:gd name="T8" fmla="*/ 85 w 315"/>
                <a:gd name="T9" fmla="*/ 52 h 199"/>
                <a:gd name="T10" fmla="*/ 156 w 315"/>
                <a:gd name="T11" fmla="*/ 107 h 199"/>
                <a:gd name="T12" fmla="*/ 157 w 315"/>
                <a:gd name="T13" fmla="*/ 119 h 199"/>
                <a:gd name="T14" fmla="*/ 132 w 315"/>
                <a:gd name="T15" fmla="*/ 114 h 199"/>
                <a:gd name="T16" fmla="*/ 113 w 315"/>
                <a:gd name="T17" fmla="*/ 101 h 199"/>
                <a:gd name="T18" fmla="*/ 83 w 315"/>
                <a:gd name="T19" fmla="*/ 99 h 199"/>
                <a:gd name="T20" fmla="*/ 102 w 315"/>
                <a:gd name="T21" fmla="*/ 128 h 199"/>
                <a:gd name="T22" fmla="*/ 119 w 315"/>
                <a:gd name="T23" fmla="*/ 138 h 199"/>
                <a:gd name="T24" fmla="*/ 146 w 315"/>
                <a:gd name="T25" fmla="*/ 163 h 199"/>
                <a:gd name="T26" fmla="*/ 239 w 315"/>
                <a:gd name="T27" fmla="*/ 198 h 199"/>
                <a:gd name="T28" fmla="*/ 315 w 315"/>
                <a:gd name="T29" fmla="*/ 178 h 199"/>
                <a:gd name="T30" fmla="*/ 298 w 315"/>
                <a:gd name="T31" fmla="*/ 101 h 199"/>
                <a:gd name="T32" fmla="*/ 237 w 315"/>
                <a:gd name="T33" fmla="*/ 136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5" h="199">
                  <a:moveTo>
                    <a:pt x="237" y="136"/>
                  </a:moveTo>
                  <a:cubicBezTo>
                    <a:pt x="205" y="113"/>
                    <a:pt x="189" y="62"/>
                    <a:pt x="168" y="54"/>
                  </a:cubicBezTo>
                  <a:cubicBezTo>
                    <a:pt x="143" y="51"/>
                    <a:pt x="109" y="21"/>
                    <a:pt x="86" y="24"/>
                  </a:cubicBezTo>
                  <a:cubicBezTo>
                    <a:pt x="71" y="24"/>
                    <a:pt x="0" y="0"/>
                    <a:pt x="17" y="32"/>
                  </a:cubicBezTo>
                  <a:cubicBezTo>
                    <a:pt x="21" y="38"/>
                    <a:pt x="85" y="52"/>
                    <a:pt x="85" y="52"/>
                  </a:cubicBezTo>
                  <a:cubicBezTo>
                    <a:pt x="85" y="52"/>
                    <a:pt x="144" y="79"/>
                    <a:pt x="156" y="107"/>
                  </a:cubicBezTo>
                  <a:cubicBezTo>
                    <a:pt x="158" y="110"/>
                    <a:pt x="158" y="114"/>
                    <a:pt x="157" y="119"/>
                  </a:cubicBezTo>
                  <a:cubicBezTo>
                    <a:pt x="147" y="119"/>
                    <a:pt x="144" y="122"/>
                    <a:pt x="132" y="114"/>
                  </a:cubicBezTo>
                  <a:cubicBezTo>
                    <a:pt x="123" y="108"/>
                    <a:pt x="113" y="101"/>
                    <a:pt x="113" y="101"/>
                  </a:cubicBezTo>
                  <a:cubicBezTo>
                    <a:pt x="105" y="96"/>
                    <a:pt x="88" y="91"/>
                    <a:pt x="83" y="99"/>
                  </a:cubicBezTo>
                  <a:cubicBezTo>
                    <a:pt x="76" y="110"/>
                    <a:pt x="94" y="123"/>
                    <a:pt x="102" y="128"/>
                  </a:cubicBezTo>
                  <a:cubicBezTo>
                    <a:pt x="102" y="128"/>
                    <a:pt x="105" y="130"/>
                    <a:pt x="119" y="138"/>
                  </a:cubicBezTo>
                  <a:cubicBezTo>
                    <a:pt x="130" y="146"/>
                    <a:pt x="133" y="156"/>
                    <a:pt x="146" y="163"/>
                  </a:cubicBezTo>
                  <a:cubicBezTo>
                    <a:pt x="170" y="181"/>
                    <a:pt x="230" y="199"/>
                    <a:pt x="239" y="198"/>
                  </a:cubicBezTo>
                  <a:cubicBezTo>
                    <a:pt x="264" y="195"/>
                    <a:pt x="315" y="178"/>
                    <a:pt x="315" y="178"/>
                  </a:cubicBezTo>
                  <a:cubicBezTo>
                    <a:pt x="298" y="101"/>
                    <a:pt x="298" y="101"/>
                    <a:pt x="298" y="101"/>
                  </a:cubicBezTo>
                  <a:cubicBezTo>
                    <a:pt x="275" y="124"/>
                    <a:pt x="237" y="136"/>
                    <a:pt x="237" y="136"/>
                  </a:cubicBezTo>
                  <a:close/>
                </a:path>
              </a:pathLst>
            </a:custGeom>
            <a:solidFill>
              <a:srgbClr val="FFC6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63" name="Freeform 137"/>
            <p:cNvSpPr/>
            <p:nvPr userDrawn="1"/>
          </p:nvSpPr>
          <p:spPr bwMode="auto">
            <a:xfrm>
              <a:off x="5261768" y="1876426"/>
              <a:ext cx="846138" cy="557213"/>
            </a:xfrm>
            <a:custGeom>
              <a:avLst/>
              <a:gdLst>
                <a:gd name="T0" fmla="*/ 77 w 311"/>
                <a:gd name="T1" fmla="*/ 142 h 205"/>
                <a:gd name="T2" fmla="*/ 145 w 311"/>
                <a:gd name="T3" fmla="*/ 58 h 205"/>
                <a:gd name="T4" fmla="*/ 225 w 311"/>
                <a:gd name="T5" fmla="*/ 26 h 205"/>
                <a:gd name="T6" fmla="*/ 295 w 311"/>
                <a:gd name="T7" fmla="*/ 33 h 205"/>
                <a:gd name="T8" fmla="*/ 227 w 311"/>
                <a:gd name="T9" fmla="*/ 55 h 205"/>
                <a:gd name="T10" fmla="*/ 157 w 311"/>
                <a:gd name="T11" fmla="*/ 111 h 205"/>
                <a:gd name="T12" fmla="*/ 157 w 311"/>
                <a:gd name="T13" fmla="*/ 123 h 205"/>
                <a:gd name="T14" fmla="*/ 182 w 311"/>
                <a:gd name="T15" fmla="*/ 117 h 205"/>
                <a:gd name="T16" fmla="*/ 200 w 311"/>
                <a:gd name="T17" fmla="*/ 104 h 205"/>
                <a:gd name="T18" fmla="*/ 230 w 311"/>
                <a:gd name="T19" fmla="*/ 101 h 205"/>
                <a:gd name="T20" fmla="*/ 212 w 311"/>
                <a:gd name="T21" fmla="*/ 131 h 205"/>
                <a:gd name="T22" fmla="*/ 196 w 311"/>
                <a:gd name="T23" fmla="*/ 142 h 205"/>
                <a:gd name="T24" fmla="*/ 169 w 311"/>
                <a:gd name="T25" fmla="*/ 167 h 205"/>
                <a:gd name="T26" fmla="*/ 77 w 311"/>
                <a:gd name="T27" fmla="*/ 204 h 205"/>
                <a:gd name="T28" fmla="*/ 0 w 311"/>
                <a:gd name="T29" fmla="*/ 186 h 205"/>
                <a:gd name="T30" fmla="*/ 16 w 311"/>
                <a:gd name="T31" fmla="*/ 108 h 205"/>
                <a:gd name="T32" fmla="*/ 77 w 311"/>
                <a:gd name="T33" fmla="*/ 142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1" h="205">
                  <a:moveTo>
                    <a:pt x="77" y="142"/>
                  </a:moveTo>
                  <a:cubicBezTo>
                    <a:pt x="109" y="118"/>
                    <a:pt x="124" y="66"/>
                    <a:pt x="145" y="58"/>
                  </a:cubicBezTo>
                  <a:cubicBezTo>
                    <a:pt x="169" y="54"/>
                    <a:pt x="202" y="24"/>
                    <a:pt x="225" y="26"/>
                  </a:cubicBezTo>
                  <a:cubicBezTo>
                    <a:pt x="240" y="26"/>
                    <a:pt x="311" y="0"/>
                    <a:pt x="295" y="33"/>
                  </a:cubicBezTo>
                  <a:cubicBezTo>
                    <a:pt x="291" y="39"/>
                    <a:pt x="227" y="55"/>
                    <a:pt x="227" y="55"/>
                  </a:cubicBezTo>
                  <a:cubicBezTo>
                    <a:pt x="227" y="55"/>
                    <a:pt x="169" y="83"/>
                    <a:pt x="157" y="111"/>
                  </a:cubicBezTo>
                  <a:cubicBezTo>
                    <a:pt x="156" y="114"/>
                    <a:pt x="156" y="119"/>
                    <a:pt x="157" y="123"/>
                  </a:cubicBezTo>
                  <a:cubicBezTo>
                    <a:pt x="167" y="122"/>
                    <a:pt x="170" y="126"/>
                    <a:pt x="182" y="117"/>
                  </a:cubicBezTo>
                  <a:cubicBezTo>
                    <a:pt x="191" y="111"/>
                    <a:pt x="200" y="104"/>
                    <a:pt x="200" y="104"/>
                  </a:cubicBezTo>
                  <a:cubicBezTo>
                    <a:pt x="209" y="99"/>
                    <a:pt x="225" y="94"/>
                    <a:pt x="230" y="101"/>
                  </a:cubicBezTo>
                  <a:cubicBezTo>
                    <a:pt x="238" y="112"/>
                    <a:pt x="220" y="125"/>
                    <a:pt x="212" y="131"/>
                  </a:cubicBezTo>
                  <a:cubicBezTo>
                    <a:pt x="212" y="131"/>
                    <a:pt x="209" y="133"/>
                    <a:pt x="196" y="142"/>
                  </a:cubicBezTo>
                  <a:cubicBezTo>
                    <a:pt x="184" y="149"/>
                    <a:pt x="182" y="160"/>
                    <a:pt x="169" y="167"/>
                  </a:cubicBezTo>
                  <a:cubicBezTo>
                    <a:pt x="145" y="185"/>
                    <a:pt x="85" y="205"/>
                    <a:pt x="77" y="204"/>
                  </a:cubicBezTo>
                  <a:cubicBezTo>
                    <a:pt x="51" y="201"/>
                    <a:pt x="0" y="186"/>
                    <a:pt x="0" y="186"/>
                  </a:cubicBezTo>
                  <a:cubicBezTo>
                    <a:pt x="16" y="108"/>
                    <a:pt x="16" y="108"/>
                    <a:pt x="16" y="108"/>
                  </a:cubicBezTo>
                  <a:cubicBezTo>
                    <a:pt x="39" y="131"/>
                    <a:pt x="77" y="142"/>
                    <a:pt x="77" y="142"/>
                  </a:cubicBezTo>
                  <a:close/>
                </a:path>
              </a:pathLst>
            </a:custGeom>
            <a:solidFill>
              <a:srgbClr val="FFC6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64" name="Freeform 138"/>
            <p:cNvSpPr/>
            <p:nvPr userDrawn="1"/>
          </p:nvSpPr>
          <p:spPr bwMode="auto">
            <a:xfrm>
              <a:off x="4850606" y="2393951"/>
              <a:ext cx="171450" cy="96838"/>
            </a:xfrm>
            <a:custGeom>
              <a:avLst/>
              <a:gdLst>
                <a:gd name="T0" fmla="*/ 55 w 63"/>
                <a:gd name="T1" fmla="*/ 28 h 36"/>
                <a:gd name="T2" fmla="*/ 14 w 63"/>
                <a:gd name="T3" fmla="*/ 36 h 36"/>
                <a:gd name="T4" fmla="*/ 0 w 63"/>
                <a:gd name="T5" fmla="*/ 27 h 36"/>
                <a:gd name="T6" fmla="*/ 59 w 63"/>
                <a:gd name="T7" fmla="*/ 2 h 36"/>
                <a:gd name="T8" fmla="*/ 55 w 63"/>
                <a:gd name="T9" fmla="*/ 2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36">
                  <a:moveTo>
                    <a:pt x="55" y="28"/>
                  </a:moveTo>
                  <a:cubicBezTo>
                    <a:pt x="14" y="36"/>
                    <a:pt x="14" y="36"/>
                    <a:pt x="14" y="36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30" y="0"/>
                    <a:pt x="59" y="2"/>
                  </a:cubicBezTo>
                  <a:cubicBezTo>
                    <a:pt x="63" y="2"/>
                    <a:pt x="55" y="28"/>
                    <a:pt x="55" y="28"/>
                  </a:cubicBezTo>
                  <a:close/>
                </a:path>
              </a:pathLst>
            </a:custGeom>
            <a:solidFill>
              <a:srgbClr val="6E78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65" name="Freeform 139"/>
            <p:cNvSpPr/>
            <p:nvPr userDrawn="1"/>
          </p:nvSpPr>
          <p:spPr bwMode="auto">
            <a:xfrm>
              <a:off x="4766468" y="2516188"/>
              <a:ext cx="530225" cy="477838"/>
            </a:xfrm>
            <a:custGeom>
              <a:avLst/>
              <a:gdLst>
                <a:gd name="T0" fmla="*/ 179 w 195"/>
                <a:gd name="T1" fmla="*/ 59 h 176"/>
                <a:gd name="T2" fmla="*/ 107 w 195"/>
                <a:gd name="T3" fmla="*/ 165 h 176"/>
                <a:gd name="T4" fmla="*/ 1 w 195"/>
                <a:gd name="T5" fmla="*/ 93 h 176"/>
                <a:gd name="T6" fmla="*/ 77 w 195"/>
                <a:gd name="T7" fmla="*/ 9 h 176"/>
                <a:gd name="T8" fmla="*/ 179 w 195"/>
                <a:gd name="T9" fmla="*/ 59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" h="176">
                  <a:moveTo>
                    <a:pt x="179" y="59"/>
                  </a:moveTo>
                  <a:cubicBezTo>
                    <a:pt x="195" y="103"/>
                    <a:pt x="164" y="153"/>
                    <a:pt x="107" y="165"/>
                  </a:cubicBezTo>
                  <a:cubicBezTo>
                    <a:pt x="51" y="176"/>
                    <a:pt x="3" y="140"/>
                    <a:pt x="1" y="93"/>
                  </a:cubicBezTo>
                  <a:cubicBezTo>
                    <a:pt x="0" y="53"/>
                    <a:pt x="34" y="17"/>
                    <a:pt x="77" y="9"/>
                  </a:cubicBezTo>
                  <a:cubicBezTo>
                    <a:pt x="120" y="0"/>
                    <a:pt x="165" y="21"/>
                    <a:pt x="179" y="5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66" name="Freeform 140"/>
            <p:cNvSpPr/>
            <p:nvPr userDrawn="1"/>
          </p:nvSpPr>
          <p:spPr bwMode="auto">
            <a:xfrm>
              <a:off x="4887118" y="2519363"/>
              <a:ext cx="176213" cy="53975"/>
            </a:xfrm>
            <a:custGeom>
              <a:avLst/>
              <a:gdLst>
                <a:gd name="T0" fmla="*/ 56 w 65"/>
                <a:gd name="T1" fmla="*/ 10 h 20"/>
                <a:gd name="T2" fmla="*/ 10 w 65"/>
                <a:gd name="T3" fmla="*/ 19 h 20"/>
                <a:gd name="T4" fmla="*/ 1 w 65"/>
                <a:gd name="T5" fmla="*/ 16 h 20"/>
                <a:gd name="T6" fmla="*/ 1 w 65"/>
                <a:gd name="T7" fmla="*/ 16 h 20"/>
                <a:gd name="T8" fmla="*/ 8 w 65"/>
                <a:gd name="T9" fmla="*/ 10 h 20"/>
                <a:gd name="T10" fmla="*/ 55 w 65"/>
                <a:gd name="T11" fmla="*/ 1 h 20"/>
                <a:gd name="T12" fmla="*/ 64 w 65"/>
                <a:gd name="T13" fmla="*/ 4 h 20"/>
                <a:gd name="T14" fmla="*/ 64 w 65"/>
                <a:gd name="T15" fmla="*/ 4 h 20"/>
                <a:gd name="T16" fmla="*/ 56 w 65"/>
                <a:gd name="T17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5" h="20">
                  <a:moveTo>
                    <a:pt x="56" y="10"/>
                  </a:moveTo>
                  <a:cubicBezTo>
                    <a:pt x="10" y="19"/>
                    <a:pt x="10" y="19"/>
                    <a:pt x="10" y="19"/>
                  </a:cubicBezTo>
                  <a:cubicBezTo>
                    <a:pt x="5" y="20"/>
                    <a:pt x="1" y="19"/>
                    <a:pt x="1" y="16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0" y="14"/>
                    <a:pt x="4" y="11"/>
                    <a:pt x="8" y="10"/>
                  </a:cubicBezTo>
                  <a:cubicBezTo>
                    <a:pt x="55" y="1"/>
                    <a:pt x="55" y="1"/>
                    <a:pt x="55" y="1"/>
                  </a:cubicBezTo>
                  <a:cubicBezTo>
                    <a:pt x="60" y="0"/>
                    <a:pt x="64" y="1"/>
                    <a:pt x="64" y="4"/>
                  </a:cubicBezTo>
                  <a:cubicBezTo>
                    <a:pt x="64" y="4"/>
                    <a:pt x="64" y="4"/>
                    <a:pt x="64" y="4"/>
                  </a:cubicBezTo>
                  <a:cubicBezTo>
                    <a:pt x="65" y="6"/>
                    <a:pt x="61" y="9"/>
                    <a:pt x="56" y="10"/>
                  </a:cubicBezTo>
                  <a:close/>
                </a:path>
              </a:pathLst>
            </a:custGeom>
            <a:solidFill>
              <a:srgbClr val="3B3D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67" name="Freeform 141"/>
            <p:cNvSpPr/>
            <p:nvPr userDrawn="1"/>
          </p:nvSpPr>
          <p:spPr bwMode="auto">
            <a:xfrm>
              <a:off x="4850606" y="2390776"/>
              <a:ext cx="215900" cy="155575"/>
            </a:xfrm>
            <a:custGeom>
              <a:avLst/>
              <a:gdLst>
                <a:gd name="T0" fmla="*/ 79 w 79"/>
                <a:gd name="T1" fmla="*/ 20 h 57"/>
                <a:gd name="T2" fmla="*/ 59 w 79"/>
                <a:gd name="T3" fmla="*/ 3 h 57"/>
                <a:gd name="T4" fmla="*/ 32 w 79"/>
                <a:gd name="T5" fmla="*/ 24 h 57"/>
                <a:gd name="T6" fmla="*/ 0 w 79"/>
                <a:gd name="T7" fmla="*/ 28 h 57"/>
                <a:gd name="T8" fmla="*/ 24 w 79"/>
                <a:gd name="T9" fmla="*/ 57 h 57"/>
                <a:gd name="T10" fmla="*/ 67 w 79"/>
                <a:gd name="T11" fmla="*/ 48 h 57"/>
                <a:gd name="T12" fmla="*/ 79 w 79"/>
                <a:gd name="T13" fmla="*/ 2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9" h="57">
                  <a:moveTo>
                    <a:pt x="79" y="20"/>
                  </a:moveTo>
                  <a:cubicBezTo>
                    <a:pt x="79" y="20"/>
                    <a:pt x="74" y="0"/>
                    <a:pt x="59" y="3"/>
                  </a:cubicBezTo>
                  <a:cubicBezTo>
                    <a:pt x="47" y="5"/>
                    <a:pt x="43" y="19"/>
                    <a:pt x="32" y="24"/>
                  </a:cubicBezTo>
                  <a:cubicBezTo>
                    <a:pt x="13" y="32"/>
                    <a:pt x="0" y="28"/>
                    <a:pt x="0" y="28"/>
                  </a:cubicBezTo>
                  <a:cubicBezTo>
                    <a:pt x="24" y="57"/>
                    <a:pt x="24" y="57"/>
                    <a:pt x="24" y="57"/>
                  </a:cubicBezTo>
                  <a:cubicBezTo>
                    <a:pt x="67" y="48"/>
                    <a:pt x="67" y="48"/>
                    <a:pt x="67" y="48"/>
                  </a:cubicBezTo>
                  <a:lnTo>
                    <a:pt x="79" y="2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68" name="Freeform 142"/>
            <p:cNvSpPr/>
            <p:nvPr userDrawn="1"/>
          </p:nvSpPr>
          <p:spPr bwMode="auto">
            <a:xfrm>
              <a:off x="4945856" y="2611438"/>
              <a:ext cx="144463" cy="258763"/>
            </a:xfrm>
            <a:custGeom>
              <a:avLst/>
              <a:gdLst>
                <a:gd name="T0" fmla="*/ 36 w 53"/>
                <a:gd name="T1" fmla="*/ 28 h 95"/>
                <a:gd name="T2" fmla="*/ 24 w 53"/>
                <a:gd name="T3" fmla="*/ 25 h 95"/>
                <a:gd name="T4" fmla="*/ 17 w 53"/>
                <a:gd name="T5" fmla="*/ 33 h 95"/>
                <a:gd name="T6" fmla="*/ 51 w 53"/>
                <a:gd name="T7" fmla="*/ 57 h 95"/>
                <a:gd name="T8" fmla="*/ 38 w 53"/>
                <a:gd name="T9" fmla="*/ 81 h 95"/>
                <a:gd name="T10" fmla="*/ 41 w 53"/>
                <a:gd name="T11" fmla="*/ 92 h 95"/>
                <a:gd name="T12" fmla="*/ 30 w 53"/>
                <a:gd name="T13" fmla="*/ 95 h 95"/>
                <a:gd name="T14" fmla="*/ 28 w 53"/>
                <a:gd name="T15" fmla="*/ 84 h 95"/>
                <a:gd name="T16" fmla="*/ 8 w 53"/>
                <a:gd name="T17" fmla="*/ 79 h 95"/>
                <a:gd name="T18" fmla="*/ 12 w 53"/>
                <a:gd name="T19" fmla="*/ 67 h 95"/>
                <a:gd name="T20" fmla="*/ 29 w 53"/>
                <a:gd name="T21" fmla="*/ 71 h 95"/>
                <a:gd name="T22" fmla="*/ 36 w 53"/>
                <a:gd name="T23" fmla="*/ 61 h 95"/>
                <a:gd name="T24" fmla="*/ 2 w 53"/>
                <a:gd name="T25" fmla="*/ 37 h 95"/>
                <a:gd name="T26" fmla="*/ 14 w 53"/>
                <a:gd name="T27" fmla="*/ 14 h 95"/>
                <a:gd name="T28" fmla="*/ 12 w 53"/>
                <a:gd name="T29" fmla="*/ 3 h 95"/>
                <a:gd name="T30" fmla="*/ 23 w 53"/>
                <a:gd name="T31" fmla="*/ 0 h 95"/>
                <a:gd name="T32" fmla="*/ 25 w 53"/>
                <a:gd name="T33" fmla="*/ 11 h 95"/>
                <a:gd name="T34" fmla="*/ 43 w 53"/>
                <a:gd name="T35" fmla="*/ 17 h 95"/>
                <a:gd name="T36" fmla="*/ 36 w 53"/>
                <a:gd name="T37" fmla="*/ 28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3" h="95">
                  <a:moveTo>
                    <a:pt x="36" y="28"/>
                  </a:moveTo>
                  <a:cubicBezTo>
                    <a:pt x="32" y="25"/>
                    <a:pt x="28" y="24"/>
                    <a:pt x="24" y="25"/>
                  </a:cubicBezTo>
                  <a:cubicBezTo>
                    <a:pt x="18" y="26"/>
                    <a:pt x="16" y="28"/>
                    <a:pt x="17" y="33"/>
                  </a:cubicBezTo>
                  <a:cubicBezTo>
                    <a:pt x="19" y="43"/>
                    <a:pt x="47" y="37"/>
                    <a:pt x="51" y="57"/>
                  </a:cubicBezTo>
                  <a:cubicBezTo>
                    <a:pt x="53" y="68"/>
                    <a:pt x="49" y="77"/>
                    <a:pt x="38" y="81"/>
                  </a:cubicBezTo>
                  <a:cubicBezTo>
                    <a:pt x="41" y="92"/>
                    <a:pt x="41" y="92"/>
                    <a:pt x="41" y="92"/>
                  </a:cubicBezTo>
                  <a:cubicBezTo>
                    <a:pt x="30" y="95"/>
                    <a:pt x="30" y="95"/>
                    <a:pt x="30" y="95"/>
                  </a:cubicBezTo>
                  <a:cubicBezTo>
                    <a:pt x="28" y="84"/>
                    <a:pt x="28" y="84"/>
                    <a:pt x="28" y="84"/>
                  </a:cubicBezTo>
                  <a:cubicBezTo>
                    <a:pt x="22" y="84"/>
                    <a:pt x="13" y="83"/>
                    <a:pt x="8" y="79"/>
                  </a:cubicBezTo>
                  <a:cubicBezTo>
                    <a:pt x="12" y="67"/>
                    <a:pt x="12" y="67"/>
                    <a:pt x="12" y="67"/>
                  </a:cubicBezTo>
                  <a:cubicBezTo>
                    <a:pt x="19" y="70"/>
                    <a:pt x="24" y="72"/>
                    <a:pt x="29" y="71"/>
                  </a:cubicBezTo>
                  <a:cubicBezTo>
                    <a:pt x="35" y="69"/>
                    <a:pt x="37" y="66"/>
                    <a:pt x="36" y="61"/>
                  </a:cubicBezTo>
                  <a:cubicBezTo>
                    <a:pt x="34" y="50"/>
                    <a:pt x="6" y="56"/>
                    <a:pt x="2" y="37"/>
                  </a:cubicBezTo>
                  <a:cubicBezTo>
                    <a:pt x="0" y="26"/>
                    <a:pt x="5" y="18"/>
                    <a:pt x="14" y="14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5" y="11"/>
                    <a:pt x="25" y="11"/>
                    <a:pt x="25" y="11"/>
                  </a:cubicBezTo>
                  <a:cubicBezTo>
                    <a:pt x="32" y="11"/>
                    <a:pt x="37" y="13"/>
                    <a:pt x="43" y="17"/>
                  </a:cubicBezTo>
                  <a:lnTo>
                    <a:pt x="36" y="2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69" name="Freeform 143"/>
            <p:cNvSpPr/>
            <p:nvPr userDrawn="1"/>
          </p:nvSpPr>
          <p:spPr bwMode="auto">
            <a:xfrm>
              <a:off x="4934743" y="2562226"/>
              <a:ext cx="22225" cy="49213"/>
            </a:xfrm>
            <a:custGeom>
              <a:avLst/>
              <a:gdLst>
                <a:gd name="T0" fmla="*/ 0 w 14"/>
                <a:gd name="T1" fmla="*/ 31 h 31"/>
                <a:gd name="T2" fmla="*/ 4 w 14"/>
                <a:gd name="T3" fmla="*/ 2 h 31"/>
                <a:gd name="T4" fmla="*/ 14 w 14"/>
                <a:gd name="T5" fmla="*/ 0 h 31"/>
                <a:gd name="T6" fmla="*/ 0 w 14"/>
                <a:gd name="T7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31">
                  <a:moveTo>
                    <a:pt x="0" y="31"/>
                  </a:moveTo>
                  <a:lnTo>
                    <a:pt x="4" y="2"/>
                  </a:lnTo>
                  <a:lnTo>
                    <a:pt x="14" y="0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8C9E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70" name="Freeform 144"/>
            <p:cNvSpPr/>
            <p:nvPr userDrawn="1"/>
          </p:nvSpPr>
          <p:spPr bwMode="auto">
            <a:xfrm>
              <a:off x="4995068" y="2551113"/>
              <a:ext cx="73025" cy="65088"/>
            </a:xfrm>
            <a:custGeom>
              <a:avLst/>
              <a:gdLst>
                <a:gd name="T0" fmla="*/ 46 w 46"/>
                <a:gd name="T1" fmla="*/ 41 h 41"/>
                <a:gd name="T2" fmla="*/ 0 w 46"/>
                <a:gd name="T3" fmla="*/ 2 h 41"/>
                <a:gd name="T4" fmla="*/ 10 w 46"/>
                <a:gd name="T5" fmla="*/ 0 h 41"/>
                <a:gd name="T6" fmla="*/ 46 w 46"/>
                <a:gd name="T7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6" h="41">
                  <a:moveTo>
                    <a:pt x="46" y="41"/>
                  </a:moveTo>
                  <a:lnTo>
                    <a:pt x="0" y="2"/>
                  </a:lnTo>
                  <a:lnTo>
                    <a:pt x="10" y="0"/>
                  </a:lnTo>
                  <a:lnTo>
                    <a:pt x="46" y="41"/>
                  </a:lnTo>
                  <a:close/>
                </a:path>
              </a:pathLst>
            </a:custGeom>
            <a:solidFill>
              <a:srgbClr val="8C9E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71" name="Freeform 145"/>
            <p:cNvSpPr/>
            <p:nvPr userDrawn="1"/>
          </p:nvSpPr>
          <p:spPr bwMode="auto">
            <a:xfrm>
              <a:off x="5029993" y="2543176"/>
              <a:ext cx="30163" cy="15875"/>
            </a:xfrm>
            <a:custGeom>
              <a:avLst/>
              <a:gdLst>
                <a:gd name="T0" fmla="*/ 19 w 19"/>
                <a:gd name="T1" fmla="*/ 10 h 10"/>
                <a:gd name="T2" fmla="*/ 0 w 19"/>
                <a:gd name="T3" fmla="*/ 2 h 10"/>
                <a:gd name="T4" fmla="*/ 11 w 19"/>
                <a:gd name="T5" fmla="*/ 0 h 10"/>
                <a:gd name="T6" fmla="*/ 19 w 19"/>
                <a:gd name="T7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10">
                  <a:moveTo>
                    <a:pt x="19" y="10"/>
                  </a:moveTo>
                  <a:lnTo>
                    <a:pt x="0" y="2"/>
                  </a:lnTo>
                  <a:lnTo>
                    <a:pt x="11" y="0"/>
                  </a:lnTo>
                  <a:lnTo>
                    <a:pt x="19" y="10"/>
                  </a:lnTo>
                  <a:close/>
                </a:path>
              </a:pathLst>
            </a:custGeom>
            <a:solidFill>
              <a:srgbClr val="8C9E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72" name="Freeform 146"/>
            <p:cNvSpPr/>
            <p:nvPr userDrawn="1"/>
          </p:nvSpPr>
          <p:spPr bwMode="auto">
            <a:xfrm>
              <a:off x="4896643" y="2566988"/>
              <a:ext cx="28575" cy="28575"/>
            </a:xfrm>
            <a:custGeom>
              <a:avLst/>
              <a:gdLst>
                <a:gd name="T0" fmla="*/ 0 w 18"/>
                <a:gd name="T1" fmla="*/ 18 h 18"/>
                <a:gd name="T2" fmla="*/ 7 w 18"/>
                <a:gd name="T3" fmla="*/ 2 h 18"/>
                <a:gd name="T4" fmla="*/ 18 w 18"/>
                <a:gd name="T5" fmla="*/ 0 h 18"/>
                <a:gd name="T6" fmla="*/ 0 w 18"/>
                <a:gd name="T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8">
                  <a:moveTo>
                    <a:pt x="0" y="18"/>
                  </a:moveTo>
                  <a:lnTo>
                    <a:pt x="7" y="2"/>
                  </a:lnTo>
                  <a:lnTo>
                    <a:pt x="18" y="0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8C9E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73" name="Freeform 147"/>
            <p:cNvSpPr/>
            <p:nvPr userDrawn="1"/>
          </p:nvSpPr>
          <p:spPr bwMode="auto">
            <a:xfrm>
              <a:off x="6947693" y="3233738"/>
              <a:ext cx="430213" cy="307975"/>
            </a:xfrm>
            <a:custGeom>
              <a:avLst/>
              <a:gdLst>
                <a:gd name="T0" fmla="*/ 131 w 158"/>
                <a:gd name="T1" fmla="*/ 113 h 113"/>
                <a:gd name="T2" fmla="*/ 3 w 158"/>
                <a:gd name="T3" fmla="*/ 68 h 113"/>
                <a:gd name="T4" fmla="*/ 1 w 158"/>
                <a:gd name="T5" fmla="*/ 63 h 113"/>
                <a:gd name="T6" fmla="*/ 21 w 158"/>
                <a:gd name="T7" fmla="*/ 3 h 113"/>
                <a:gd name="T8" fmla="*/ 27 w 158"/>
                <a:gd name="T9" fmla="*/ 0 h 113"/>
                <a:gd name="T10" fmla="*/ 154 w 158"/>
                <a:gd name="T11" fmla="*/ 45 h 113"/>
                <a:gd name="T12" fmla="*/ 157 w 158"/>
                <a:gd name="T13" fmla="*/ 50 h 113"/>
                <a:gd name="T14" fmla="*/ 136 w 158"/>
                <a:gd name="T15" fmla="*/ 110 h 113"/>
                <a:gd name="T16" fmla="*/ 131 w 158"/>
                <a:gd name="T17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8" h="113">
                  <a:moveTo>
                    <a:pt x="131" y="113"/>
                  </a:moveTo>
                  <a:cubicBezTo>
                    <a:pt x="3" y="68"/>
                    <a:pt x="3" y="68"/>
                    <a:pt x="3" y="68"/>
                  </a:cubicBezTo>
                  <a:cubicBezTo>
                    <a:pt x="1" y="67"/>
                    <a:pt x="0" y="65"/>
                    <a:pt x="1" y="6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2" y="1"/>
                    <a:pt x="25" y="0"/>
                    <a:pt x="27" y="0"/>
                  </a:cubicBezTo>
                  <a:cubicBezTo>
                    <a:pt x="154" y="45"/>
                    <a:pt x="154" y="45"/>
                    <a:pt x="154" y="45"/>
                  </a:cubicBezTo>
                  <a:cubicBezTo>
                    <a:pt x="157" y="46"/>
                    <a:pt x="158" y="48"/>
                    <a:pt x="157" y="50"/>
                  </a:cubicBezTo>
                  <a:cubicBezTo>
                    <a:pt x="136" y="110"/>
                    <a:pt x="136" y="110"/>
                    <a:pt x="136" y="110"/>
                  </a:cubicBezTo>
                  <a:cubicBezTo>
                    <a:pt x="136" y="112"/>
                    <a:pt x="133" y="113"/>
                    <a:pt x="131" y="113"/>
                  </a:cubicBezTo>
                  <a:close/>
                </a:path>
              </a:pathLst>
            </a:custGeom>
            <a:solidFill>
              <a:srgbClr val="424C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74" name="Freeform 148"/>
            <p:cNvSpPr/>
            <p:nvPr userDrawn="1"/>
          </p:nvSpPr>
          <p:spPr bwMode="auto">
            <a:xfrm>
              <a:off x="6982618" y="3100388"/>
              <a:ext cx="446088" cy="320675"/>
            </a:xfrm>
            <a:custGeom>
              <a:avLst/>
              <a:gdLst>
                <a:gd name="T0" fmla="*/ 136 w 164"/>
                <a:gd name="T1" fmla="*/ 118 h 118"/>
                <a:gd name="T2" fmla="*/ 4 w 164"/>
                <a:gd name="T3" fmla="*/ 71 h 118"/>
                <a:gd name="T4" fmla="*/ 1 w 164"/>
                <a:gd name="T5" fmla="*/ 66 h 118"/>
                <a:gd name="T6" fmla="*/ 22 w 164"/>
                <a:gd name="T7" fmla="*/ 4 h 118"/>
                <a:gd name="T8" fmla="*/ 28 w 164"/>
                <a:gd name="T9" fmla="*/ 1 h 118"/>
                <a:gd name="T10" fmla="*/ 160 w 164"/>
                <a:gd name="T11" fmla="*/ 47 h 118"/>
                <a:gd name="T12" fmla="*/ 163 w 164"/>
                <a:gd name="T13" fmla="*/ 53 h 118"/>
                <a:gd name="T14" fmla="*/ 142 w 164"/>
                <a:gd name="T15" fmla="*/ 115 h 118"/>
                <a:gd name="T16" fmla="*/ 136 w 164"/>
                <a:gd name="T17" fmla="*/ 11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4" h="118">
                  <a:moveTo>
                    <a:pt x="136" y="118"/>
                  </a:moveTo>
                  <a:cubicBezTo>
                    <a:pt x="4" y="71"/>
                    <a:pt x="4" y="71"/>
                    <a:pt x="4" y="71"/>
                  </a:cubicBezTo>
                  <a:cubicBezTo>
                    <a:pt x="1" y="71"/>
                    <a:pt x="0" y="68"/>
                    <a:pt x="1" y="66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3" y="2"/>
                    <a:pt x="26" y="0"/>
                    <a:pt x="28" y="1"/>
                  </a:cubicBezTo>
                  <a:cubicBezTo>
                    <a:pt x="160" y="47"/>
                    <a:pt x="160" y="47"/>
                    <a:pt x="160" y="47"/>
                  </a:cubicBezTo>
                  <a:cubicBezTo>
                    <a:pt x="163" y="48"/>
                    <a:pt x="164" y="51"/>
                    <a:pt x="163" y="53"/>
                  </a:cubicBezTo>
                  <a:cubicBezTo>
                    <a:pt x="142" y="115"/>
                    <a:pt x="142" y="115"/>
                    <a:pt x="142" y="115"/>
                  </a:cubicBezTo>
                  <a:cubicBezTo>
                    <a:pt x="141" y="117"/>
                    <a:pt x="138" y="118"/>
                    <a:pt x="136" y="118"/>
                  </a:cubicBezTo>
                  <a:close/>
                </a:path>
              </a:pathLst>
            </a:custGeom>
            <a:solidFill>
              <a:srgbClr val="5765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75" name="Freeform 149"/>
            <p:cNvSpPr/>
            <p:nvPr userDrawn="1"/>
          </p:nvSpPr>
          <p:spPr bwMode="auto">
            <a:xfrm>
              <a:off x="7241381" y="3302001"/>
              <a:ext cx="79375" cy="98425"/>
            </a:xfrm>
            <a:custGeom>
              <a:avLst/>
              <a:gdLst>
                <a:gd name="T0" fmla="*/ 33 w 50"/>
                <a:gd name="T1" fmla="*/ 62 h 62"/>
                <a:gd name="T2" fmla="*/ 0 w 50"/>
                <a:gd name="T3" fmla="*/ 51 h 62"/>
                <a:gd name="T4" fmla="*/ 19 w 50"/>
                <a:gd name="T5" fmla="*/ 0 h 62"/>
                <a:gd name="T6" fmla="*/ 50 w 50"/>
                <a:gd name="T7" fmla="*/ 10 h 62"/>
                <a:gd name="T8" fmla="*/ 33 w 50"/>
                <a:gd name="T9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62">
                  <a:moveTo>
                    <a:pt x="33" y="62"/>
                  </a:moveTo>
                  <a:lnTo>
                    <a:pt x="0" y="51"/>
                  </a:lnTo>
                  <a:lnTo>
                    <a:pt x="19" y="0"/>
                  </a:lnTo>
                  <a:lnTo>
                    <a:pt x="50" y="10"/>
                  </a:lnTo>
                  <a:lnTo>
                    <a:pt x="33" y="62"/>
                  </a:lnTo>
                  <a:close/>
                </a:path>
              </a:pathLst>
            </a:custGeom>
            <a:solidFill>
              <a:srgbClr val="424C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76" name="Freeform 150"/>
            <p:cNvSpPr/>
            <p:nvPr userDrawn="1"/>
          </p:nvSpPr>
          <p:spPr bwMode="auto">
            <a:xfrm>
              <a:off x="7230268" y="3306763"/>
              <a:ext cx="82550" cy="150813"/>
            </a:xfrm>
            <a:custGeom>
              <a:avLst/>
              <a:gdLst>
                <a:gd name="T0" fmla="*/ 26 w 52"/>
                <a:gd name="T1" fmla="*/ 88 h 95"/>
                <a:gd name="T2" fmla="*/ 9 w 52"/>
                <a:gd name="T3" fmla="*/ 95 h 95"/>
                <a:gd name="T4" fmla="*/ 0 w 52"/>
                <a:gd name="T5" fmla="*/ 79 h 95"/>
                <a:gd name="T6" fmla="*/ 28 w 52"/>
                <a:gd name="T7" fmla="*/ 0 h 95"/>
                <a:gd name="T8" fmla="*/ 52 w 52"/>
                <a:gd name="T9" fmla="*/ 11 h 95"/>
                <a:gd name="T10" fmla="*/ 26 w 52"/>
                <a:gd name="T11" fmla="*/ 88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2" h="95">
                  <a:moveTo>
                    <a:pt x="26" y="88"/>
                  </a:moveTo>
                  <a:lnTo>
                    <a:pt x="9" y="95"/>
                  </a:lnTo>
                  <a:lnTo>
                    <a:pt x="0" y="79"/>
                  </a:lnTo>
                  <a:lnTo>
                    <a:pt x="28" y="0"/>
                  </a:lnTo>
                  <a:lnTo>
                    <a:pt x="52" y="11"/>
                  </a:lnTo>
                  <a:lnTo>
                    <a:pt x="26" y="88"/>
                  </a:lnTo>
                  <a:close/>
                </a:path>
              </a:pathLst>
            </a:custGeom>
            <a:solidFill>
              <a:srgbClr val="5765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77" name="Freeform 151"/>
            <p:cNvSpPr>
              <a:spLocks noEditPoints="1"/>
            </p:cNvSpPr>
            <p:nvPr userDrawn="1"/>
          </p:nvSpPr>
          <p:spPr bwMode="auto">
            <a:xfrm>
              <a:off x="7233443" y="3370263"/>
              <a:ext cx="65088" cy="53975"/>
            </a:xfrm>
            <a:custGeom>
              <a:avLst/>
              <a:gdLst>
                <a:gd name="T0" fmla="*/ 33 w 41"/>
                <a:gd name="T1" fmla="*/ 34 h 34"/>
                <a:gd name="T2" fmla="*/ 0 w 41"/>
                <a:gd name="T3" fmla="*/ 22 h 34"/>
                <a:gd name="T4" fmla="*/ 7 w 41"/>
                <a:gd name="T5" fmla="*/ 0 h 34"/>
                <a:gd name="T6" fmla="*/ 41 w 41"/>
                <a:gd name="T7" fmla="*/ 12 h 34"/>
                <a:gd name="T8" fmla="*/ 33 w 41"/>
                <a:gd name="T9" fmla="*/ 34 h 34"/>
                <a:gd name="T10" fmla="*/ 5 w 41"/>
                <a:gd name="T11" fmla="*/ 20 h 34"/>
                <a:gd name="T12" fmla="*/ 29 w 41"/>
                <a:gd name="T13" fmla="*/ 29 h 34"/>
                <a:gd name="T14" fmla="*/ 34 w 41"/>
                <a:gd name="T15" fmla="*/ 13 h 34"/>
                <a:gd name="T16" fmla="*/ 10 w 41"/>
                <a:gd name="T17" fmla="*/ 5 h 34"/>
                <a:gd name="T18" fmla="*/ 5 w 41"/>
                <a:gd name="T19" fmla="*/ 2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" h="34">
                  <a:moveTo>
                    <a:pt x="33" y="34"/>
                  </a:moveTo>
                  <a:lnTo>
                    <a:pt x="0" y="22"/>
                  </a:lnTo>
                  <a:lnTo>
                    <a:pt x="7" y="0"/>
                  </a:lnTo>
                  <a:lnTo>
                    <a:pt x="41" y="12"/>
                  </a:lnTo>
                  <a:lnTo>
                    <a:pt x="33" y="34"/>
                  </a:lnTo>
                  <a:close/>
                  <a:moveTo>
                    <a:pt x="5" y="20"/>
                  </a:moveTo>
                  <a:lnTo>
                    <a:pt x="29" y="29"/>
                  </a:lnTo>
                  <a:lnTo>
                    <a:pt x="34" y="13"/>
                  </a:lnTo>
                  <a:lnTo>
                    <a:pt x="10" y="5"/>
                  </a:lnTo>
                  <a:lnTo>
                    <a:pt x="5" y="2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78" name="Freeform 152"/>
            <p:cNvSpPr/>
            <p:nvPr userDrawn="1"/>
          </p:nvSpPr>
          <p:spPr bwMode="auto">
            <a:xfrm>
              <a:off x="7058818" y="3236913"/>
              <a:ext cx="76200" cy="96838"/>
            </a:xfrm>
            <a:custGeom>
              <a:avLst/>
              <a:gdLst>
                <a:gd name="T0" fmla="*/ 31 w 48"/>
                <a:gd name="T1" fmla="*/ 61 h 61"/>
                <a:gd name="T2" fmla="*/ 0 w 48"/>
                <a:gd name="T3" fmla="*/ 51 h 61"/>
                <a:gd name="T4" fmla="*/ 17 w 48"/>
                <a:gd name="T5" fmla="*/ 0 h 61"/>
                <a:gd name="T6" fmla="*/ 48 w 48"/>
                <a:gd name="T7" fmla="*/ 12 h 61"/>
                <a:gd name="T8" fmla="*/ 31 w 48"/>
                <a:gd name="T9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61">
                  <a:moveTo>
                    <a:pt x="31" y="61"/>
                  </a:moveTo>
                  <a:lnTo>
                    <a:pt x="0" y="51"/>
                  </a:lnTo>
                  <a:lnTo>
                    <a:pt x="17" y="0"/>
                  </a:lnTo>
                  <a:lnTo>
                    <a:pt x="48" y="12"/>
                  </a:lnTo>
                  <a:lnTo>
                    <a:pt x="31" y="61"/>
                  </a:lnTo>
                  <a:close/>
                </a:path>
              </a:pathLst>
            </a:custGeom>
            <a:solidFill>
              <a:srgbClr val="424C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79" name="Freeform 153"/>
            <p:cNvSpPr/>
            <p:nvPr userDrawn="1"/>
          </p:nvSpPr>
          <p:spPr bwMode="auto">
            <a:xfrm>
              <a:off x="7046118" y="3244851"/>
              <a:ext cx="84138" cy="149225"/>
            </a:xfrm>
            <a:custGeom>
              <a:avLst/>
              <a:gdLst>
                <a:gd name="T0" fmla="*/ 25 w 53"/>
                <a:gd name="T1" fmla="*/ 86 h 94"/>
                <a:gd name="T2" fmla="*/ 8 w 53"/>
                <a:gd name="T3" fmla="*/ 94 h 94"/>
                <a:gd name="T4" fmla="*/ 0 w 53"/>
                <a:gd name="T5" fmla="*/ 77 h 94"/>
                <a:gd name="T6" fmla="*/ 27 w 53"/>
                <a:gd name="T7" fmla="*/ 0 h 94"/>
                <a:gd name="T8" fmla="*/ 53 w 53"/>
                <a:gd name="T9" fmla="*/ 8 h 94"/>
                <a:gd name="T10" fmla="*/ 25 w 53"/>
                <a:gd name="T11" fmla="*/ 86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3" h="94">
                  <a:moveTo>
                    <a:pt x="25" y="86"/>
                  </a:moveTo>
                  <a:lnTo>
                    <a:pt x="8" y="94"/>
                  </a:lnTo>
                  <a:lnTo>
                    <a:pt x="0" y="77"/>
                  </a:lnTo>
                  <a:lnTo>
                    <a:pt x="27" y="0"/>
                  </a:lnTo>
                  <a:lnTo>
                    <a:pt x="53" y="8"/>
                  </a:lnTo>
                  <a:lnTo>
                    <a:pt x="25" y="86"/>
                  </a:lnTo>
                  <a:close/>
                </a:path>
              </a:pathLst>
            </a:custGeom>
            <a:solidFill>
              <a:srgbClr val="5765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80" name="Freeform 154"/>
            <p:cNvSpPr>
              <a:spLocks noEditPoints="1"/>
            </p:cNvSpPr>
            <p:nvPr userDrawn="1"/>
          </p:nvSpPr>
          <p:spPr bwMode="auto">
            <a:xfrm>
              <a:off x="7047706" y="3305176"/>
              <a:ext cx="66675" cy="53975"/>
            </a:xfrm>
            <a:custGeom>
              <a:avLst/>
              <a:gdLst>
                <a:gd name="T0" fmla="*/ 33 w 42"/>
                <a:gd name="T1" fmla="*/ 34 h 34"/>
                <a:gd name="T2" fmla="*/ 0 w 42"/>
                <a:gd name="T3" fmla="*/ 24 h 34"/>
                <a:gd name="T4" fmla="*/ 7 w 42"/>
                <a:gd name="T5" fmla="*/ 0 h 34"/>
                <a:gd name="T6" fmla="*/ 42 w 42"/>
                <a:gd name="T7" fmla="*/ 12 h 34"/>
                <a:gd name="T8" fmla="*/ 33 w 42"/>
                <a:gd name="T9" fmla="*/ 34 h 34"/>
                <a:gd name="T10" fmla="*/ 6 w 42"/>
                <a:gd name="T11" fmla="*/ 20 h 34"/>
                <a:gd name="T12" fmla="*/ 31 w 42"/>
                <a:gd name="T13" fmla="*/ 29 h 34"/>
                <a:gd name="T14" fmla="*/ 36 w 42"/>
                <a:gd name="T15" fmla="*/ 15 h 34"/>
                <a:gd name="T16" fmla="*/ 11 w 42"/>
                <a:gd name="T17" fmla="*/ 6 h 34"/>
                <a:gd name="T18" fmla="*/ 6 w 42"/>
                <a:gd name="T19" fmla="*/ 2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34">
                  <a:moveTo>
                    <a:pt x="33" y="34"/>
                  </a:moveTo>
                  <a:lnTo>
                    <a:pt x="0" y="24"/>
                  </a:lnTo>
                  <a:lnTo>
                    <a:pt x="7" y="0"/>
                  </a:lnTo>
                  <a:lnTo>
                    <a:pt x="42" y="12"/>
                  </a:lnTo>
                  <a:lnTo>
                    <a:pt x="33" y="34"/>
                  </a:lnTo>
                  <a:close/>
                  <a:moveTo>
                    <a:pt x="6" y="20"/>
                  </a:moveTo>
                  <a:lnTo>
                    <a:pt x="31" y="29"/>
                  </a:lnTo>
                  <a:lnTo>
                    <a:pt x="36" y="15"/>
                  </a:lnTo>
                  <a:lnTo>
                    <a:pt x="11" y="6"/>
                  </a:lnTo>
                  <a:lnTo>
                    <a:pt x="6" y="2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81" name="Freeform 155"/>
            <p:cNvSpPr/>
            <p:nvPr userDrawn="1"/>
          </p:nvSpPr>
          <p:spPr bwMode="auto">
            <a:xfrm>
              <a:off x="7173118" y="3114676"/>
              <a:ext cx="22225" cy="31750"/>
            </a:xfrm>
            <a:custGeom>
              <a:avLst/>
              <a:gdLst>
                <a:gd name="T0" fmla="*/ 8 w 8"/>
                <a:gd name="T1" fmla="*/ 1 h 12"/>
                <a:gd name="T2" fmla="*/ 8 w 8"/>
                <a:gd name="T3" fmla="*/ 1 h 12"/>
                <a:gd name="T4" fmla="*/ 2 w 8"/>
                <a:gd name="T5" fmla="*/ 3 h 12"/>
                <a:gd name="T6" fmla="*/ 0 w 8"/>
                <a:gd name="T7" fmla="*/ 11 h 12"/>
                <a:gd name="T8" fmla="*/ 4 w 8"/>
                <a:gd name="T9" fmla="*/ 12 h 12"/>
                <a:gd name="T10" fmla="*/ 8 w 8"/>
                <a:gd name="T11" fmla="*/ 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12">
                  <a:moveTo>
                    <a:pt x="8" y="1"/>
                  </a:moveTo>
                  <a:cubicBezTo>
                    <a:pt x="8" y="1"/>
                    <a:pt x="8" y="1"/>
                    <a:pt x="8" y="1"/>
                  </a:cubicBezTo>
                  <a:cubicBezTo>
                    <a:pt x="6" y="0"/>
                    <a:pt x="3" y="1"/>
                    <a:pt x="2" y="3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4" y="12"/>
                    <a:pt x="4" y="12"/>
                    <a:pt x="4" y="12"/>
                  </a:cubicBezTo>
                  <a:lnTo>
                    <a:pt x="8" y="1"/>
                  </a:lnTo>
                  <a:close/>
                </a:path>
              </a:pathLst>
            </a:custGeom>
            <a:solidFill>
              <a:srgbClr val="424C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82" name="Freeform 156"/>
            <p:cNvSpPr/>
            <p:nvPr userDrawn="1"/>
          </p:nvSpPr>
          <p:spPr bwMode="auto">
            <a:xfrm>
              <a:off x="7287418" y="3152776"/>
              <a:ext cx="22225" cy="34925"/>
            </a:xfrm>
            <a:custGeom>
              <a:avLst/>
              <a:gdLst>
                <a:gd name="T0" fmla="*/ 4 w 8"/>
                <a:gd name="T1" fmla="*/ 0 h 13"/>
                <a:gd name="T2" fmla="*/ 4 w 8"/>
                <a:gd name="T3" fmla="*/ 0 h 13"/>
                <a:gd name="T4" fmla="*/ 8 w 8"/>
                <a:gd name="T5" fmla="*/ 6 h 13"/>
                <a:gd name="T6" fmla="*/ 5 w 8"/>
                <a:gd name="T7" fmla="*/ 13 h 13"/>
                <a:gd name="T8" fmla="*/ 0 w 8"/>
                <a:gd name="T9" fmla="*/ 11 h 13"/>
                <a:gd name="T10" fmla="*/ 4 w 8"/>
                <a:gd name="T11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13"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7" y="1"/>
                    <a:pt x="8" y="4"/>
                    <a:pt x="8" y="6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0" y="11"/>
                    <a:pt x="0" y="11"/>
                    <a:pt x="0" y="11"/>
                  </a:cubicBezTo>
                  <a:lnTo>
                    <a:pt x="4" y="0"/>
                  </a:lnTo>
                  <a:close/>
                </a:path>
              </a:pathLst>
            </a:custGeom>
            <a:solidFill>
              <a:srgbClr val="424C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83" name="Freeform 157"/>
            <p:cNvSpPr/>
            <p:nvPr userDrawn="1"/>
          </p:nvSpPr>
          <p:spPr bwMode="auto">
            <a:xfrm>
              <a:off x="7190581" y="3114676"/>
              <a:ext cx="107950" cy="58738"/>
            </a:xfrm>
            <a:custGeom>
              <a:avLst/>
              <a:gdLst>
                <a:gd name="T0" fmla="*/ 37 w 40"/>
                <a:gd name="T1" fmla="*/ 22 h 22"/>
                <a:gd name="T2" fmla="*/ 20 w 40"/>
                <a:gd name="T3" fmla="*/ 12 h 22"/>
                <a:gd name="T4" fmla="*/ 0 w 40"/>
                <a:gd name="T5" fmla="*/ 9 h 22"/>
                <a:gd name="T6" fmla="*/ 2 w 40"/>
                <a:gd name="T7" fmla="*/ 1 h 22"/>
                <a:gd name="T8" fmla="*/ 22 w 40"/>
                <a:gd name="T9" fmla="*/ 5 h 22"/>
                <a:gd name="T10" fmla="*/ 40 w 40"/>
                <a:gd name="T11" fmla="*/ 14 h 22"/>
                <a:gd name="T12" fmla="*/ 37 w 40"/>
                <a:gd name="T1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" h="22">
                  <a:moveTo>
                    <a:pt x="37" y="22"/>
                  </a:moveTo>
                  <a:cubicBezTo>
                    <a:pt x="37" y="22"/>
                    <a:pt x="33" y="17"/>
                    <a:pt x="20" y="12"/>
                  </a:cubicBezTo>
                  <a:cubicBezTo>
                    <a:pt x="6" y="8"/>
                    <a:pt x="0" y="9"/>
                    <a:pt x="0" y="9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9" y="0"/>
                    <a:pt x="22" y="5"/>
                  </a:cubicBezTo>
                  <a:cubicBezTo>
                    <a:pt x="36" y="9"/>
                    <a:pt x="40" y="14"/>
                    <a:pt x="40" y="14"/>
                  </a:cubicBezTo>
                  <a:lnTo>
                    <a:pt x="37" y="22"/>
                  </a:lnTo>
                  <a:close/>
                </a:path>
              </a:pathLst>
            </a:custGeom>
            <a:solidFill>
              <a:srgbClr val="4740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84" name="Freeform 158"/>
            <p:cNvSpPr/>
            <p:nvPr userDrawn="1"/>
          </p:nvSpPr>
          <p:spPr bwMode="auto">
            <a:xfrm>
              <a:off x="7236618" y="3195638"/>
              <a:ext cx="314325" cy="223838"/>
            </a:xfrm>
            <a:custGeom>
              <a:avLst/>
              <a:gdLst>
                <a:gd name="T0" fmla="*/ 98 w 116"/>
                <a:gd name="T1" fmla="*/ 82 h 82"/>
                <a:gd name="T2" fmla="*/ 1 w 116"/>
                <a:gd name="T3" fmla="*/ 48 h 82"/>
                <a:gd name="T4" fmla="*/ 0 w 116"/>
                <a:gd name="T5" fmla="*/ 46 h 82"/>
                <a:gd name="T6" fmla="*/ 16 w 116"/>
                <a:gd name="T7" fmla="*/ 2 h 82"/>
                <a:gd name="T8" fmla="*/ 17 w 116"/>
                <a:gd name="T9" fmla="*/ 1 h 82"/>
                <a:gd name="T10" fmla="*/ 115 w 116"/>
                <a:gd name="T11" fmla="*/ 34 h 82"/>
                <a:gd name="T12" fmla="*/ 115 w 116"/>
                <a:gd name="T13" fmla="*/ 36 h 82"/>
                <a:gd name="T14" fmla="*/ 100 w 116"/>
                <a:gd name="T15" fmla="*/ 81 h 82"/>
                <a:gd name="T16" fmla="*/ 98 w 116"/>
                <a:gd name="T17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6" h="82">
                  <a:moveTo>
                    <a:pt x="98" y="82"/>
                  </a:moveTo>
                  <a:cubicBezTo>
                    <a:pt x="1" y="48"/>
                    <a:pt x="1" y="48"/>
                    <a:pt x="1" y="48"/>
                  </a:cubicBezTo>
                  <a:cubicBezTo>
                    <a:pt x="0" y="48"/>
                    <a:pt x="0" y="47"/>
                    <a:pt x="0" y="46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1"/>
                    <a:pt x="17" y="0"/>
                    <a:pt x="17" y="1"/>
                  </a:cubicBezTo>
                  <a:cubicBezTo>
                    <a:pt x="115" y="34"/>
                    <a:pt x="115" y="34"/>
                    <a:pt x="115" y="34"/>
                  </a:cubicBezTo>
                  <a:cubicBezTo>
                    <a:pt x="115" y="35"/>
                    <a:pt x="116" y="35"/>
                    <a:pt x="115" y="36"/>
                  </a:cubicBezTo>
                  <a:cubicBezTo>
                    <a:pt x="100" y="81"/>
                    <a:pt x="100" y="81"/>
                    <a:pt x="100" y="81"/>
                  </a:cubicBezTo>
                  <a:cubicBezTo>
                    <a:pt x="100" y="82"/>
                    <a:pt x="99" y="82"/>
                    <a:pt x="98" y="82"/>
                  </a:cubicBezTo>
                  <a:close/>
                </a:path>
              </a:pathLst>
            </a:custGeom>
            <a:solidFill>
              <a:srgbClr val="5F96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85" name="Freeform 159"/>
            <p:cNvSpPr/>
            <p:nvPr userDrawn="1"/>
          </p:nvSpPr>
          <p:spPr bwMode="auto">
            <a:xfrm>
              <a:off x="7255668" y="3214688"/>
              <a:ext cx="274638" cy="185738"/>
            </a:xfrm>
            <a:custGeom>
              <a:avLst/>
              <a:gdLst>
                <a:gd name="T0" fmla="*/ 85 w 101"/>
                <a:gd name="T1" fmla="*/ 66 h 68"/>
                <a:gd name="T2" fmla="*/ 84 w 101"/>
                <a:gd name="T3" fmla="*/ 66 h 68"/>
                <a:gd name="T4" fmla="*/ 81 w 101"/>
                <a:gd name="T5" fmla="*/ 68 h 68"/>
                <a:gd name="T6" fmla="*/ 5 w 101"/>
                <a:gd name="T7" fmla="*/ 41 h 68"/>
                <a:gd name="T8" fmla="*/ 3 w 101"/>
                <a:gd name="T9" fmla="*/ 38 h 68"/>
                <a:gd name="T10" fmla="*/ 3 w 101"/>
                <a:gd name="T11" fmla="*/ 38 h 68"/>
                <a:gd name="T12" fmla="*/ 2 w 101"/>
                <a:gd name="T13" fmla="*/ 35 h 68"/>
                <a:gd name="T14" fmla="*/ 2 w 101"/>
                <a:gd name="T15" fmla="*/ 35 h 68"/>
                <a:gd name="T16" fmla="*/ 1 w 101"/>
                <a:gd name="T17" fmla="*/ 31 h 68"/>
                <a:gd name="T18" fmla="*/ 10 w 101"/>
                <a:gd name="T19" fmla="*/ 5 h 68"/>
                <a:gd name="T20" fmla="*/ 13 w 101"/>
                <a:gd name="T21" fmla="*/ 4 h 68"/>
                <a:gd name="T22" fmla="*/ 13 w 101"/>
                <a:gd name="T23" fmla="*/ 4 h 68"/>
                <a:gd name="T24" fmla="*/ 16 w 101"/>
                <a:gd name="T25" fmla="*/ 2 h 68"/>
                <a:gd name="T26" fmla="*/ 16 w 101"/>
                <a:gd name="T27" fmla="*/ 2 h 68"/>
                <a:gd name="T28" fmla="*/ 19 w 101"/>
                <a:gd name="T29" fmla="*/ 0 h 68"/>
                <a:gd name="T30" fmla="*/ 96 w 101"/>
                <a:gd name="T31" fmla="*/ 27 h 68"/>
                <a:gd name="T32" fmla="*/ 97 w 101"/>
                <a:gd name="T33" fmla="*/ 30 h 68"/>
                <a:gd name="T34" fmla="*/ 97 w 101"/>
                <a:gd name="T35" fmla="*/ 30 h 68"/>
                <a:gd name="T36" fmla="*/ 98 w 101"/>
                <a:gd name="T37" fmla="*/ 33 h 68"/>
                <a:gd name="T38" fmla="*/ 99 w 101"/>
                <a:gd name="T39" fmla="*/ 34 h 68"/>
                <a:gd name="T40" fmla="*/ 101 w 101"/>
                <a:gd name="T41" fmla="*/ 37 h 68"/>
                <a:gd name="T42" fmla="*/ 92 w 101"/>
                <a:gd name="T43" fmla="*/ 63 h 68"/>
                <a:gd name="T44" fmla="*/ 89 w 101"/>
                <a:gd name="T45" fmla="*/ 65 h 68"/>
                <a:gd name="T46" fmla="*/ 88 w 101"/>
                <a:gd name="T47" fmla="*/ 64 h 68"/>
                <a:gd name="T48" fmla="*/ 85 w 101"/>
                <a:gd name="T49" fmla="*/ 66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1" h="68">
                  <a:moveTo>
                    <a:pt x="85" y="66"/>
                  </a:moveTo>
                  <a:cubicBezTo>
                    <a:pt x="84" y="66"/>
                    <a:pt x="84" y="66"/>
                    <a:pt x="84" y="66"/>
                  </a:cubicBezTo>
                  <a:cubicBezTo>
                    <a:pt x="84" y="68"/>
                    <a:pt x="83" y="68"/>
                    <a:pt x="81" y="68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3" y="41"/>
                    <a:pt x="3" y="39"/>
                    <a:pt x="3" y="38"/>
                  </a:cubicBezTo>
                  <a:cubicBezTo>
                    <a:pt x="3" y="38"/>
                    <a:pt x="3" y="38"/>
                    <a:pt x="3" y="38"/>
                  </a:cubicBezTo>
                  <a:cubicBezTo>
                    <a:pt x="4" y="36"/>
                    <a:pt x="3" y="35"/>
                    <a:pt x="2" y="35"/>
                  </a:cubicBezTo>
                  <a:cubicBezTo>
                    <a:pt x="2" y="35"/>
                    <a:pt x="2" y="35"/>
                    <a:pt x="2" y="35"/>
                  </a:cubicBezTo>
                  <a:cubicBezTo>
                    <a:pt x="1" y="34"/>
                    <a:pt x="0" y="33"/>
                    <a:pt x="1" y="31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4"/>
                    <a:pt x="11" y="3"/>
                    <a:pt x="13" y="4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4" y="4"/>
                    <a:pt x="15" y="3"/>
                    <a:pt x="16" y="2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0"/>
                    <a:pt x="18" y="0"/>
                    <a:pt x="19" y="0"/>
                  </a:cubicBezTo>
                  <a:cubicBezTo>
                    <a:pt x="96" y="27"/>
                    <a:pt x="96" y="27"/>
                    <a:pt x="96" y="27"/>
                  </a:cubicBezTo>
                  <a:cubicBezTo>
                    <a:pt x="97" y="27"/>
                    <a:pt x="97" y="29"/>
                    <a:pt x="97" y="30"/>
                  </a:cubicBezTo>
                  <a:cubicBezTo>
                    <a:pt x="97" y="30"/>
                    <a:pt x="97" y="30"/>
                    <a:pt x="97" y="30"/>
                  </a:cubicBezTo>
                  <a:cubicBezTo>
                    <a:pt x="96" y="32"/>
                    <a:pt x="97" y="33"/>
                    <a:pt x="98" y="33"/>
                  </a:cubicBezTo>
                  <a:cubicBezTo>
                    <a:pt x="99" y="34"/>
                    <a:pt x="99" y="34"/>
                    <a:pt x="99" y="34"/>
                  </a:cubicBezTo>
                  <a:cubicBezTo>
                    <a:pt x="101" y="34"/>
                    <a:pt x="101" y="36"/>
                    <a:pt x="101" y="37"/>
                  </a:cubicBezTo>
                  <a:cubicBezTo>
                    <a:pt x="92" y="63"/>
                    <a:pt x="92" y="63"/>
                    <a:pt x="92" y="63"/>
                  </a:cubicBezTo>
                  <a:cubicBezTo>
                    <a:pt x="91" y="64"/>
                    <a:pt x="90" y="65"/>
                    <a:pt x="89" y="65"/>
                  </a:cubicBezTo>
                  <a:cubicBezTo>
                    <a:pt x="88" y="64"/>
                    <a:pt x="88" y="64"/>
                    <a:pt x="88" y="64"/>
                  </a:cubicBezTo>
                  <a:cubicBezTo>
                    <a:pt x="86" y="64"/>
                    <a:pt x="85" y="65"/>
                    <a:pt x="85" y="66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86" name="Freeform 160"/>
            <p:cNvSpPr/>
            <p:nvPr userDrawn="1"/>
          </p:nvSpPr>
          <p:spPr bwMode="auto">
            <a:xfrm>
              <a:off x="7352506" y="3260726"/>
              <a:ext cx="79375" cy="92075"/>
            </a:xfrm>
            <a:custGeom>
              <a:avLst/>
              <a:gdLst>
                <a:gd name="T0" fmla="*/ 26 w 29"/>
                <a:gd name="T1" fmla="*/ 21 h 34"/>
                <a:gd name="T2" fmla="*/ 10 w 29"/>
                <a:gd name="T3" fmla="*/ 32 h 34"/>
                <a:gd name="T4" fmla="*/ 3 w 29"/>
                <a:gd name="T5" fmla="*/ 13 h 34"/>
                <a:gd name="T6" fmla="*/ 20 w 29"/>
                <a:gd name="T7" fmla="*/ 2 h 34"/>
                <a:gd name="T8" fmla="*/ 26 w 29"/>
                <a:gd name="T9" fmla="*/ 2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34">
                  <a:moveTo>
                    <a:pt x="26" y="21"/>
                  </a:moveTo>
                  <a:cubicBezTo>
                    <a:pt x="23" y="30"/>
                    <a:pt x="16" y="34"/>
                    <a:pt x="10" y="32"/>
                  </a:cubicBezTo>
                  <a:cubicBezTo>
                    <a:pt x="3" y="30"/>
                    <a:pt x="0" y="22"/>
                    <a:pt x="3" y="13"/>
                  </a:cubicBezTo>
                  <a:cubicBezTo>
                    <a:pt x="6" y="5"/>
                    <a:pt x="14" y="0"/>
                    <a:pt x="20" y="2"/>
                  </a:cubicBezTo>
                  <a:cubicBezTo>
                    <a:pt x="26" y="5"/>
                    <a:pt x="29" y="13"/>
                    <a:pt x="26" y="21"/>
                  </a:cubicBezTo>
                  <a:close/>
                </a:path>
              </a:pathLst>
            </a:custGeom>
            <a:solidFill>
              <a:srgbClr val="5F96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87" name="Freeform 161"/>
            <p:cNvSpPr/>
            <p:nvPr userDrawn="1"/>
          </p:nvSpPr>
          <p:spPr bwMode="auto">
            <a:xfrm>
              <a:off x="7301706" y="3267076"/>
              <a:ext cx="30163" cy="28575"/>
            </a:xfrm>
            <a:custGeom>
              <a:avLst/>
              <a:gdLst>
                <a:gd name="T0" fmla="*/ 1 w 11"/>
                <a:gd name="T1" fmla="*/ 4 h 11"/>
                <a:gd name="T2" fmla="*/ 7 w 11"/>
                <a:gd name="T3" fmla="*/ 1 h 11"/>
                <a:gd name="T4" fmla="*/ 10 w 11"/>
                <a:gd name="T5" fmla="*/ 7 h 11"/>
                <a:gd name="T6" fmla="*/ 4 w 11"/>
                <a:gd name="T7" fmla="*/ 10 h 11"/>
                <a:gd name="T8" fmla="*/ 1 w 11"/>
                <a:gd name="T9" fmla="*/ 4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1">
                  <a:moveTo>
                    <a:pt x="1" y="4"/>
                  </a:moveTo>
                  <a:cubicBezTo>
                    <a:pt x="2" y="1"/>
                    <a:pt x="5" y="0"/>
                    <a:pt x="7" y="1"/>
                  </a:cubicBezTo>
                  <a:cubicBezTo>
                    <a:pt x="10" y="2"/>
                    <a:pt x="11" y="5"/>
                    <a:pt x="10" y="7"/>
                  </a:cubicBezTo>
                  <a:cubicBezTo>
                    <a:pt x="10" y="10"/>
                    <a:pt x="7" y="11"/>
                    <a:pt x="4" y="10"/>
                  </a:cubicBezTo>
                  <a:cubicBezTo>
                    <a:pt x="1" y="9"/>
                    <a:pt x="0" y="7"/>
                    <a:pt x="1" y="4"/>
                  </a:cubicBezTo>
                  <a:close/>
                </a:path>
              </a:pathLst>
            </a:custGeom>
            <a:solidFill>
              <a:srgbClr val="5F96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88" name="Freeform 162"/>
            <p:cNvSpPr/>
            <p:nvPr userDrawn="1"/>
          </p:nvSpPr>
          <p:spPr bwMode="auto">
            <a:xfrm>
              <a:off x="7454106" y="3317876"/>
              <a:ext cx="30163" cy="33338"/>
            </a:xfrm>
            <a:custGeom>
              <a:avLst/>
              <a:gdLst>
                <a:gd name="T0" fmla="*/ 1 w 11"/>
                <a:gd name="T1" fmla="*/ 4 h 12"/>
                <a:gd name="T2" fmla="*/ 7 w 11"/>
                <a:gd name="T3" fmla="*/ 1 h 12"/>
                <a:gd name="T4" fmla="*/ 10 w 11"/>
                <a:gd name="T5" fmla="*/ 8 h 12"/>
                <a:gd name="T6" fmla="*/ 4 w 11"/>
                <a:gd name="T7" fmla="*/ 11 h 12"/>
                <a:gd name="T8" fmla="*/ 1 w 11"/>
                <a:gd name="T9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2">
                  <a:moveTo>
                    <a:pt x="1" y="4"/>
                  </a:moveTo>
                  <a:cubicBezTo>
                    <a:pt x="2" y="2"/>
                    <a:pt x="5" y="0"/>
                    <a:pt x="7" y="1"/>
                  </a:cubicBezTo>
                  <a:cubicBezTo>
                    <a:pt x="10" y="2"/>
                    <a:pt x="11" y="5"/>
                    <a:pt x="10" y="8"/>
                  </a:cubicBezTo>
                  <a:cubicBezTo>
                    <a:pt x="9" y="10"/>
                    <a:pt x="7" y="12"/>
                    <a:pt x="4" y="11"/>
                  </a:cubicBezTo>
                  <a:cubicBezTo>
                    <a:pt x="1" y="10"/>
                    <a:pt x="0" y="7"/>
                    <a:pt x="1" y="4"/>
                  </a:cubicBezTo>
                  <a:close/>
                </a:path>
              </a:pathLst>
            </a:custGeom>
            <a:solidFill>
              <a:srgbClr val="5F96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89" name="Freeform 163"/>
            <p:cNvSpPr/>
            <p:nvPr userDrawn="1"/>
          </p:nvSpPr>
          <p:spPr bwMode="auto">
            <a:xfrm>
              <a:off x="7333456" y="3333751"/>
              <a:ext cx="79375" cy="79375"/>
            </a:xfrm>
            <a:custGeom>
              <a:avLst/>
              <a:gdLst>
                <a:gd name="T0" fmla="*/ 4 w 29"/>
                <a:gd name="T1" fmla="*/ 7 h 29"/>
                <a:gd name="T2" fmla="*/ 22 w 29"/>
                <a:gd name="T3" fmla="*/ 4 h 29"/>
                <a:gd name="T4" fmla="*/ 25 w 29"/>
                <a:gd name="T5" fmla="*/ 22 h 29"/>
                <a:gd name="T6" fmla="*/ 7 w 29"/>
                <a:gd name="T7" fmla="*/ 25 h 29"/>
                <a:gd name="T8" fmla="*/ 4 w 29"/>
                <a:gd name="T9" fmla="*/ 7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29">
                  <a:moveTo>
                    <a:pt x="4" y="7"/>
                  </a:moveTo>
                  <a:cubicBezTo>
                    <a:pt x="8" y="2"/>
                    <a:pt x="16" y="0"/>
                    <a:pt x="22" y="4"/>
                  </a:cubicBezTo>
                  <a:cubicBezTo>
                    <a:pt x="28" y="8"/>
                    <a:pt x="29" y="16"/>
                    <a:pt x="25" y="22"/>
                  </a:cubicBezTo>
                  <a:cubicBezTo>
                    <a:pt x="21" y="28"/>
                    <a:pt x="13" y="29"/>
                    <a:pt x="7" y="25"/>
                  </a:cubicBezTo>
                  <a:cubicBezTo>
                    <a:pt x="2" y="21"/>
                    <a:pt x="0" y="13"/>
                    <a:pt x="4" y="7"/>
                  </a:cubicBezTo>
                  <a:close/>
                </a:path>
              </a:pathLst>
            </a:custGeom>
            <a:solidFill>
              <a:srgbClr val="6B6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90" name="Freeform 164"/>
            <p:cNvSpPr/>
            <p:nvPr userDrawn="1"/>
          </p:nvSpPr>
          <p:spPr bwMode="auto">
            <a:xfrm>
              <a:off x="7339806" y="3340101"/>
              <a:ext cx="68263" cy="68263"/>
            </a:xfrm>
            <a:custGeom>
              <a:avLst/>
              <a:gdLst>
                <a:gd name="T0" fmla="*/ 4 w 25"/>
                <a:gd name="T1" fmla="*/ 7 h 25"/>
                <a:gd name="T2" fmla="*/ 19 w 25"/>
                <a:gd name="T3" fmla="*/ 4 h 25"/>
                <a:gd name="T4" fmla="*/ 22 w 25"/>
                <a:gd name="T5" fmla="*/ 19 h 25"/>
                <a:gd name="T6" fmla="*/ 7 w 25"/>
                <a:gd name="T7" fmla="*/ 22 h 25"/>
                <a:gd name="T8" fmla="*/ 4 w 25"/>
                <a:gd name="T9" fmla="*/ 7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25">
                  <a:moveTo>
                    <a:pt x="4" y="7"/>
                  </a:moveTo>
                  <a:cubicBezTo>
                    <a:pt x="7" y="2"/>
                    <a:pt x="14" y="0"/>
                    <a:pt x="19" y="4"/>
                  </a:cubicBezTo>
                  <a:cubicBezTo>
                    <a:pt x="24" y="7"/>
                    <a:pt x="25" y="14"/>
                    <a:pt x="22" y="19"/>
                  </a:cubicBezTo>
                  <a:cubicBezTo>
                    <a:pt x="18" y="24"/>
                    <a:pt x="12" y="25"/>
                    <a:pt x="7" y="22"/>
                  </a:cubicBezTo>
                  <a:cubicBezTo>
                    <a:pt x="2" y="18"/>
                    <a:pt x="0" y="12"/>
                    <a:pt x="4" y="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91" name="Freeform 165"/>
            <p:cNvSpPr/>
            <p:nvPr userDrawn="1"/>
          </p:nvSpPr>
          <p:spPr bwMode="auto">
            <a:xfrm>
              <a:off x="7358856" y="3355976"/>
              <a:ext cx="31750" cy="38100"/>
            </a:xfrm>
            <a:custGeom>
              <a:avLst/>
              <a:gdLst>
                <a:gd name="T0" fmla="*/ 2 w 12"/>
                <a:gd name="T1" fmla="*/ 8 h 14"/>
                <a:gd name="T2" fmla="*/ 3 w 12"/>
                <a:gd name="T3" fmla="*/ 10 h 14"/>
                <a:gd name="T4" fmla="*/ 5 w 12"/>
                <a:gd name="T5" fmla="*/ 10 h 14"/>
                <a:gd name="T6" fmla="*/ 4 w 12"/>
                <a:gd name="T7" fmla="*/ 3 h 14"/>
                <a:gd name="T8" fmla="*/ 8 w 12"/>
                <a:gd name="T9" fmla="*/ 1 h 14"/>
                <a:gd name="T10" fmla="*/ 10 w 12"/>
                <a:gd name="T11" fmla="*/ 0 h 14"/>
                <a:gd name="T12" fmla="*/ 11 w 12"/>
                <a:gd name="T13" fmla="*/ 1 h 14"/>
                <a:gd name="T14" fmla="*/ 10 w 12"/>
                <a:gd name="T15" fmla="*/ 2 h 14"/>
                <a:gd name="T16" fmla="*/ 12 w 12"/>
                <a:gd name="T17" fmla="*/ 5 h 14"/>
                <a:gd name="T18" fmla="*/ 10 w 12"/>
                <a:gd name="T19" fmla="*/ 6 h 14"/>
                <a:gd name="T20" fmla="*/ 8 w 12"/>
                <a:gd name="T21" fmla="*/ 4 h 14"/>
                <a:gd name="T22" fmla="*/ 6 w 12"/>
                <a:gd name="T23" fmla="*/ 4 h 14"/>
                <a:gd name="T24" fmla="*/ 7 w 12"/>
                <a:gd name="T25" fmla="*/ 11 h 14"/>
                <a:gd name="T26" fmla="*/ 3 w 12"/>
                <a:gd name="T27" fmla="*/ 12 h 14"/>
                <a:gd name="T28" fmla="*/ 2 w 12"/>
                <a:gd name="T29" fmla="*/ 14 h 14"/>
                <a:gd name="T30" fmla="*/ 1 w 12"/>
                <a:gd name="T31" fmla="*/ 13 h 14"/>
                <a:gd name="T32" fmla="*/ 2 w 12"/>
                <a:gd name="T33" fmla="*/ 11 h 14"/>
                <a:gd name="T34" fmla="*/ 0 w 12"/>
                <a:gd name="T35" fmla="*/ 8 h 14"/>
                <a:gd name="T36" fmla="*/ 2 w 12"/>
                <a:gd name="T37" fmla="*/ 8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" h="14">
                  <a:moveTo>
                    <a:pt x="2" y="8"/>
                  </a:moveTo>
                  <a:cubicBezTo>
                    <a:pt x="2" y="9"/>
                    <a:pt x="3" y="9"/>
                    <a:pt x="3" y="10"/>
                  </a:cubicBezTo>
                  <a:cubicBezTo>
                    <a:pt x="4" y="10"/>
                    <a:pt x="5" y="10"/>
                    <a:pt x="5" y="10"/>
                  </a:cubicBezTo>
                  <a:cubicBezTo>
                    <a:pt x="6" y="8"/>
                    <a:pt x="2" y="6"/>
                    <a:pt x="4" y="3"/>
                  </a:cubicBezTo>
                  <a:cubicBezTo>
                    <a:pt x="5" y="1"/>
                    <a:pt x="7" y="1"/>
                    <a:pt x="8" y="1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1" y="3"/>
                    <a:pt x="12" y="4"/>
                    <a:pt x="12" y="5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9" y="5"/>
                    <a:pt x="9" y="4"/>
                    <a:pt x="8" y="4"/>
                  </a:cubicBezTo>
                  <a:cubicBezTo>
                    <a:pt x="7" y="3"/>
                    <a:pt x="7" y="3"/>
                    <a:pt x="6" y="4"/>
                  </a:cubicBezTo>
                  <a:cubicBezTo>
                    <a:pt x="5" y="6"/>
                    <a:pt x="9" y="8"/>
                    <a:pt x="7" y="11"/>
                  </a:cubicBezTo>
                  <a:cubicBezTo>
                    <a:pt x="6" y="13"/>
                    <a:pt x="5" y="13"/>
                    <a:pt x="3" y="12"/>
                  </a:cubicBezTo>
                  <a:cubicBezTo>
                    <a:pt x="2" y="14"/>
                    <a:pt x="2" y="14"/>
                    <a:pt x="2" y="14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1" y="10"/>
                    <a:pt x="0" y="10"/>
                    <a:pt x="0" y="8"/>
                  </a:cubicBezTo>
                  <a:lnTo>
                    <a:pt x="2" y="8"/>
                  </a:lnTo>
                  <a:close/>
                </a:path>
              </a:pathLst>
            </a:custGeom>
            <a:solidFill>
              <a:srgbClr val="6B6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92" name="Freeform 166"/>
            <p:cNvSpPr/>
            <p:nvPr userDrawn="1"/>
          </p:nvSpPr>
          <p:spPr bwMode="auto">
            <a:xfrm>
              <a:off x="7306468" y="3192463"/>
              <a:ext cx="90488" cy="90488"/>
            </a:xfrm>
            <a:custGeom>
              <a:avLst/>
              <a:gdLst>
                <a:gd name="T0" fmla="*/ 31 w 33"/>
                <a:gd name="T1" fmla="*/ 14 h 33"/>
                <a:gd name="T2" fmla="*/ 19 w 33"/>
                <a:gd name="T3" fmla="*/ 32 h 33"/>
                <a:gd name="T4" fmla="*/ 1 w 33"/>
                <a:gd name="T5" fmla="*/ 19 h 33"/>
                <a:gd name="T6" fmla="*/ 14 w 33"/>
                <a:gd name="T7" fmla="*/ 2 h 33"/>
                <a:gd name="T8" fmla="*/ 31 w 33"/>
                <a:gd name="T9" fmla="*/ 14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33">
                  <a:moveTo>
                    <a:pt x="31" y="14"/>
                  </a:moveTo>
                  <a:cubicBezTo>
                    <a:pt x="33" y="22"/>
                    <a:pt x="27" y="30"/>
                    <a:pt x="19" y="32"/>
                  </a:cubicBezTo>
                  <a:cubicBezTo>
                    <a:pt x="10" y="33"/>
                    <a:pt x="3" y="27"/>
                    <a:pt x="1" y="19"/>
                  </a:cubicBezTo>
                  <a:cubicBezTo>
                    <a:pt x="0" y="11"/>
                    <a:pt x="5" y="3"/>
                    <a:pt x="14" y="2"/>
                  </a:cubicBezTo>
                  <a:cubicBezTo>
                    <a:pt x="22" y="0"/>
                    <a:pt x="30" y="6"/>
                    <a:pt x="31" y="14"/>
                  </a:cubicBezTo>
                  <a:close/>
                </a:path>
              </a:pathLst>
            </a:custGeom>
            <a:solidFill>
              <a:srgbClr val="9171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93" name="Freeform 167"/>
            <p:cNvSpPr/>
            <p:nvPr userDrawn="1"/>
          </p:nvSpPr>
          <p:spPr bwMode="auto">
            <a:xfrm>
              <a:off x="7312818" y="3201988"/>
              <a:ext cx="76200" cy="73025"/>
            </a:xfrm>
            <a:custGeom>
              <a:avLst/>
              <a:gdLst>
                <a:gd name="T0" fmla="*/ 27 w 28"/>
                <a:gd name="T1" fmla="*/ 11 h 27"/>
                <a:gd name="T2" fmla="*/ 16 w 28"/>
                <a:gd name="T3" fmla="*/ 26 h 27"/>
                <a:gd name="T4" fmla="*/ 2 w 28"/>
                <a:gd name="T5" fmla="*/ 16 h 27"/>
                <a:gd name="T6" fmla="*/ 12 w 28"/>
                <a:gd name="T7" fmla="*/ 1 h 27"/>
                <a:gd name="T8" fmla="*/ 27 w 28"/>
                <a:gd name="T9" fmla="*/ 11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27">
                  <a:moveTo>
                    <a:pt x="27" y="11"/>
                  </a:moveTo>
                  <a:cubicBezTo>
                    <a:pt x="28" y="18"/>
                    <a:pt x="23" y="25"/>
                    <a:pt x="16" y="26"/>
                  </a:cubicBezTo>
                  <a:cubicBezTo>
                    <a:pt x="9" y="27"/>
                    <a:pt x="3" y="23"/>
                    <a:pt x="2" y="16"/>
                  </a:cubicBezTo>
                  <a:cubicBezTo>
                    <a:pt x="0" y="9"/>
                    <a:pt x="5" y="2"/>
                    <a:pt x="12" y="1"/>
                  </a:cubicBezTo>
                  <a:cubicBezTo>
                    <a:pt x="19" y="0"/>
                    <a:pt x="25" y="4"/>
                    <a:pt x="27" y="11"/>
                  </a:cubicBezTo>
                  <a:close/>
                </a:path>
              </a:pathLst>
            </a:custGeom>
            <a:solidFill>
              <a:srgbClr val="F3B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94" name="Freeform 168"/>
            <p:cNvSpPr/>
            <p:nvPr userDrawn="1"/>
          </p:nvSpPr>
          <p:spPr bwMode="auto">
            <a:xfrm>
              <a:off x="7336631" y="3211513"/>
              <a:ext cx="26988" cy="52388"/>
            </a:xfrm>
            <a:custGeom>
              <a:avLst/>
              <a:gdLst>
                <a:gd name="T0" fmla="*/ 7 w 10"/>
                <a:gd name="T1" fmla="*/ 6 h 19"/>
                <a:gd name="T2" fmla="*/ 4 w 10"/>
                <a:gd name="T3" fmla="*/ 5 h 19"/>
                <a:gd name="T4" fmla="*/ 3 w 10"/>
                <a:gd name="T5" fmla="*/ 7 h 19"/>
                <a:gd name="T6" fmla="*/ 10 w 10"/>
                <a:gd name="T7" fmla="*/ 12 h 19"/>
                <a:gd name="T8" fmla="*/ 7 w 10"/>
                <a:gd name="T9" fmla="*/ 16 h 19"/>
                <a:gd name="T10" fmla="*/ 8 w 10"/>
                <a:gd name="T11" fmla="*/ 19 h 19"/>
                <a:gd name="T12" fmla="*/ 6 w 10"/>
                <a:gd name="T13" fmla="*/ 19 h 19"/>
                <a:gd name="T14" fmla="*/ 5 w 10"/>
                <a:gd name="T15" fmla="*/ 17 h 19"/>
                <a:gd name="T16" fmla="*/ 1 w 10"/>
                <a:gd name="T17" fmla="*/ 16 h 19"/>
                <a:gd name="T18" fmla="*/ 2 w 10"/>
                <a:gd name="T19" fmla="*/ 14 h 19"/>
                <a:gd name="T20" fmla="*/ 5 w 10"/>
                <a:gd name="T21" fmla="*/ 14 h 19"/>
                <a:gd name="T22" fmla="*/ 7 w 10"/>
                <a:gd name="T23" fmla="*/ 12 h 19"/>
                <a:gd name="T24" fmla="*/ 0 w 10"/>
                <a:gd name="T25" fmla="*/ 7 h 19"/>
                <a:gd name="T26" fmla="*/ 3 w 10"/>
                <a:gd name="T27" fmla="*/ 3 h 19"/>
                <a:gd name="T28" fmla="*/ 2 w 10"/>
                <a:gd name="T29" fmla="*/ 0 h 19"/>
                <a:gd name="T30" fmla="*/ 4 w 10"/>
                <a:gd name="T31" fmla="*/ 0 h 19"/>
                <a:gd name="T32" fmla="*/ 5 w 10"/>
                <a:gd name="T33" fmla="*/ 2 h 19"/>
                <a:gd name="T34" fmla="*/ 8 w 10"/>
                <a:gd name="T35" fmla="*/ 4 h 19"/>
                <a:gd name="T36" fmla="*/ 7 w 10"/>
                <a:gd name="T37" fmla="*/ 6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" h="19">
                  <a:moveTo>
                    <a:pt x="7" y="6"/>
                  </a:moveTo>
                  <a:cubicBezTo>
                    <a:pt x="6" y="5"/>
                    <a:pt x="5" y="5"/>
                    <a:pt x="4" y="5"/>
                  </a:cubicBezTo>
                  <a:cubicBezTo>
                    <a:pt x="3" y="5"/>
                    <a:pt x="3" y="6"/>
                    <a:pt x="3" y="7"/>
                  </a:cubicBezTo>
                  <a:cubicBezTo>
                    <a:pt x="3" y="9"/>
                    <a:pt x="9" y="8"/>
                    <a:pt x="10" y="12"/>
                  </a:cubicBezTo>
                  <a:cubicBezTo>
                    <a:pt x="10" y="14"/>
                    <a:pt x="9" y="16"/>
                    <a:pt x="7" y="16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4" y="17"/>
                    <a:pt x="2" y="17"/>
                    <a:pt x="1" y="16"/>
                  </a:cubicBezTo>
                  <a:cubicBezTo>
                    <a:pt x="2" y="14"/>
                    <a:pt x="2" y="14"/>
                    <a:pt x="2" y="14"/>
                  </a:cubicBezTo>
                  <a:cubicBezTo>
                    <a:pt x="3" y="14"/>
                    <a:pt x="4" y="14"/>
                    <a:pt x="5" y="14"/>
                  </a:cubicBezTo>
                  <a:cubicBezTo>
                    <a:pt x="7" y="14"/>
                    <a:pt x="7" y="13"/>
                    <a:pt x="7" y="12"/>
                  </a:cubicBezTo>
                  <a:cubicBezTo>
                    <a:pt x="7" y="10"/>
                    <a:pt x="1" y="11"/>
                    <a:pt x="0" y="7"/>
                  </a:cubicBezTo>
                  <a:cubicBezTo>
                    <a:pt x="0" y="5"/>
                    <a:pt x="1" y="3"/>
                    <a:pt x="3" y="3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6" y="2"/>
                    <a:pt x="7" y="3"/>
                    <a:pt x="8" y="4"/>
                  </a:cubicBezTo>
                  <a:lnTo>
                    <a:pt x="7" y="6"/>
                  </a:lnTo>
                  <a:close/>
                </a:path>
              </a:pathLst>
            </a:custGeom>
            <a:solidFill>
              <a:srgbClr val="9171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95" name="Freeform 169"/>
            <p:cNvSpPr/>
            <p:nvPr userDrawn="1"/>
          </p:nvSpPr>
          <p:spPr bwMode="auto">
            <a:xfrm>
              <a:off x="7103268" y="2649538"/>
              <a:ext cx="88900" cy="144463"/>
            </a:xfrm>
            <a:custGeom>
              <a:avLst/>
              <a:gdLst>
                <a:gd name="T0" fmla="*/ 43 w 56"/>
                <a:gd name="T1" fmla="*/ 91 h 91"/>
                <a:gd name="T2" fmla="*/ 0 w 56"/>
                <a:gd name="T3" fmla="*/ 84 h 91"/>
                <a:gd name="T4" fmla="*/ 12 w 56"/>
                <a:gd name="T5" fmla="*/ 0 h 91"/>
                <a:gd name="T6" fmla="*/ 56 w 56"/>
                <a:gd name="T7" fmla="*/ 7 h 91"/>
                <a:gd name="T8" fmla="*/ 43 w 56"/>
                <a:gd name="T9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" h="91">
                  <a:moveTo>
                    <a:pt x="43" y="91"/>
                  </a:moveTo>
                  <a:lnTo>
                    <a:pt x="0" y="84"/>
                  </a:lnTo>
                  <a:lnTo>
                    <a:pt x="12" y="0"/>
                  </a:lnTo>
                  <a:lnTo>
                    <a:pt x="56" y="7"/>
                  </a:lnTo>
                  <a:lnTo>
                    <a:pt x="43" y="91"/>
                  </a:lnTo>
                  <a:close/>
                </a:path>
              </a:pathLst>
            </a:custGeom>
            <a:solidFill>
              <a:srgbClr val="BD87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96" name="Freeform 170"/>
            <p:cNvSpPr/>
            <p:nvPr userDrawn="1"/>
          </p:nvSpPr>
          <p:spPr bwMode="auto">
            <a:xfrm>
              <a:off x="6931818" y="2722563"/>
              <a:ext cx="381000" cy="223838"/>
            </a:xfrm>
            <a:custGeom>
              <a:avLst/>
              <a:gdLst>
                <a:gd name="T0" fmla="*/ 139 w 140"/>
                <a:gd name="T1" fmla="*/ 34 h 82"/>
                <a:gd name="T2" fmla="*/ 93 w 140"/>
                <a:gd name="T3" fmla="*/ 6 h 82"/>
                <a:gd name="T4" fmla="*/ 76 w 140"/>
                <a:gd name="T5" fmla="*/ 23 h 82"/>
                <a:gd name="T6" fmla="*/ 64 w 140"/>
                <a:gd name="T7" fmla="*/ 1 h 82"/>
                <a:gd name="T8" fmla="*/ 11 w 140"/>
                <a:gd name="T9" fmla="*/ 13 h 82"/>
                <a:gd name="T10" fmla="*/ 0 w 140"/>
                <a:gd name="T11" fmla="*/ 59 h 82"/>
                <a:gd name="T12" fmla="*/ 136 w 140"/>
                <a:gd name="T13" fmla="*/ 82 h 82"/>
                <a:gd name="T14" fmla="*/ 139 w 140"/>
                <a:gd name="T15" fmla="*/ 34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0" h="82">
                  <a:moveTo>
                    <a:pt x="139" y="34"/>
                  </a:moveTo>
                  <a:cubicBezTo>
                    <a:pt x="140" y="23"/>
                    <a:pt x="94" y="5"/>
                    <a:pt x="93" y="6"/>
                  </a:cubicBezTo>
                  <a:cubicBezTo>
                    <a:pt x="76" y="23"/>
                    <a:pt x="76" y="23"/>
                    <a:pt x="76" y="23"/>
                  </a:cubicBezTo>
                  <a:cubicBezTo>
                    <a:pt x="64" y="1"/>
                    <a:pt x="64" y="1"/>
                    <a:pt x="64" y="1"/>
                  </a:cubicBezTo>
                  <a:cubicBezTo>
                    <a:pt x="64" y="0"/>
                    <a:pt x="14" y="2"/>
                    <a:pt x="11" y="13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136" y="82"/>
                    <a:pt x="136" y="82"/>
                    <a:pt x="136" y="82"/>
                  </a:cubicBezTo>
                  <a:lnTo>
                    <a:pt x="139" y="34"/>
                  </a:lnTo>
                  <a:close/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97" name="Freeform 171"/>
            <p:cNvSpPr/>
            <p:nvPr userDrawn="1"/>
          </p:nvSpPr>
          <p:spPr bwMode="auto">
            <a:xfrm>
              <a:off x="7061993" y="2703513"/>
              <a:ext cx="76200" cy="80963"/>
            </a:xfrm>
            <a:custGeom>
              <a:avLst/>
              <a:gdLst>
                <a:gd name="T0" fmla="*/ 31 w 48"/>
                <a:gd name="T1" fmla="*/ 17 h 51"/>
                <a:gd name="T2" fmla="*/ 48 w 48"/>
                <a:gd name="T3" fmla="*/ 51 h 51"/>
                <a:gd name="T4" fmla="*/ 0 w 48"/>
                <a:gd name="T5" fmla="*/ 7 h 51"/>
                <a:gd name="T6" fmla="*/ 33 w 48"/>
                <a:gd name="T7" fmla="*/ 0 h 51"/>
                <a:gd name="T8" fmla="*/ 31 w 48"/>
                <a:gd name="T9" fmla="*/ 17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51">
                  <a:moveTo>
                    <a:pt x="31" y="17"/>
                  </a:moveTo>
                  <a:lnTo>
                    <a:pt x="48" y="51"/>
                  </a:lnTo>
                  <a:lnTo>
                    <a:pt x="0" y="7"/>
                  </a:lnTo>
                  <a:lnTo>
                    <a:pt x="33" y="0"/>
                  </a:lnTo>
                  <a:lnTo>
                    <a:pt x="31" y="17"/>
                  </a:lnTo>
                  <a:close/>
                </a:path>
              </a:pathLst>
            </a:custGeom>
            <a:solidFill>
              <a:srgbClr val="2424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98" name="Freeform 172"/>
            <p:cNvSpPr/>
            <p:nvPr userDrawn="1"/>
          </p:nvSpPr>
          <p:spPr bwMode="auto">
            <a:xfrm>
              <a:off x="7138193" y="2714626"/>
              <a:ext cx="92075" cy="69850"/>
            </a:xfrm>
            <a:custGeom>
              <a:avLst/>
              <a:gdLst>
                <a:gd name="T0" fmla="*/ 26 w 58"/>
                <a:gd name="T1" fmla="*/ 19 h 44"/>
                <a:gd name="T2" fmla="*/ 0 w 58"/>
                <a:gd name="T3" fmla="*/ 44 h 44"/>
                <a:gd name="T4" fmla="*/ 58 w 58"/>
                <a:gd name="T5" fmla="*/ 17 h 44"/>
                <a:gd name="T6" fmla="*/ 29 w 58"/>
                <a:gd name="T7" fmla="*/ 0 h 44"/>
                <a:gd name="T8" fmla="*/ 26 w 58"/>
                <a:gd name="T9" fmla="*/ 19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44">
                  <a:moveTo>
                    <a:pt x="26" y="19"/>
                  </a:moveTo>
                  <a:lnTo>
                    <a:pt x="0" y="44"/>
                  </a:lnTo>
                  <a:lnTo>
                    <a:pt x="58" y="17"/>
                  </a:lnTo>
                  <a:lnTo>
                    <a:pt x="29" y="0"/>
                  </a:lnTo>
                  <a:lnTo>
                    <a:pt x="26" y="19"/>
                  </a:lnTo>
                  <a:close/>
                </a:path>
              </a:pathLst>
            </a:custGeom>
            <a:solidFill>
              <a:srgbClr val="2424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99" name="Freeform 173"/>
            <p:cNvSpPr/>
            <p:nvPr userDrawn="1"/>
          </p:nvSpPr>
          <p:spPr bwMode="auto">
            <a:xfrm>
              <a:off x="7058818" y="2508251"/>
              <a:ext cx="231775" cy="176213"/>
            </a:xfrm>
            <a:custGeom>
              <a:avLst/>
              <a:gdLst>
                <a:gd name="T0" fmla="*/ 7 w 85"/>
                <a:gd name="T1" fmla="*/ 8 h 65"/>
                <a:gd name="T2" fmla="*/ 15 w 85"/>
                <a:gd name="T3" fmla="*/ 57 h 65"/>
                <a:gd name="T4" fmla="*/ 55 w 85"/>
                <a:gd name="T5" fmla="*/ 64 h 65"/>
                <a:gd name="T6" fmla="*/ 79 w 85"/>
                <a:gd name="T7" fmla="*/ 20 h 65"/>
                <a:gd name="T8" fmla="*/ 48 w 85"/>
                <a:gd name="T9" fmla="*/ 0 h 65"/>
                <a:gd name="T10" fmla="*/ 7 w 85"/>
                <a:gd name="T11" fmla="*/ 8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65">
                  <a:moveTo>
                    <a:pt x="7" y="8"/>
                  </a:moveTo>
                  <a:cubicBezTo>
                    <a:pt x="0" y="18"/>
                    <a:pt x="6" y="56"/>
                    <a:pt x="15" y="57"/>
                  </a:cubicBezTo>
                  <a:cubicBezTo>
                    <a:pt x="23" y="59"/>
                    <a:pt x="47" y="62"/>
                    <a:pt x="55" y="64"/>
                  </a:cubicBezTo>
                  <a:cubicBezTo>
                    <a:pt x="64" y="65"/>
                    <a:pt x="85" y="29"/>
                    <a:pt x="79" y="20"/>
                  </a:cubicBezTo>
                  <a:cubicBezTo>
                    <a:pt x="70" y="12"/>
                    <a:pt x="48" y="0"/>
                    <a:pt x="48" y="0"/>
                  </a:cubicBezTo>
                  <a:cubicBezTo>
                    <a:pt x="48" y="0"/>
                    <a:pt x="15" y="3"/>
                    <a:pt x="7" y="8"/>
                  </a:cubicBezTo>
                  <a:close/>
                </a:path>
              </a:pathLst>
            </a:custGeom>
            <a:solidFill>
              <a:srgbClr val="6650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00" name="Freeform 174"/>
            <p:cNvSpPr/>
            <p:nvPr userDrawn="1"/>
          </p:nvSpPr>
          <p:spPr bwMode="auto">
            <a:xfrm>
              <a:off x="7054056" y="2532063"/>
              <a:ext cx="41275" cy="57150"/>
            </a:xfrm>
            <a:custGeom>
              <a:avLst/>
              <a:gdLst>
                <a:gd name="T0" fmla="*/ 10 w 15"/>
                <a:gd name="T1" fmla="*/ 21 h 21"/>
                <a:gd name="T2" fmla="*/ 0 w 15"/>
                <a:gd name="T3" fmla="*/ 11 h 21"/>
                <a:gd name="T4" fmla="*/ 9 w 15"/>
                <a:gd name="T5" fmla="*/ 1 h 21"/>
                <a:gd name="T6" fmla="*/ 10 w 15"/>
                <a:gd name="T7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21">
                  <a:moveTo>
                    <a:pt x="10" y="21"/>
                  </a:moveTo>
                  <a:cubicBezTo>
                    <a:pt x="5" y="21"/>
                    <a:pt x="1" y="17"/>
                    <a:pt x="0" y="11"/>
                  </a:cubicBezTo>
                  <a:cubicBezTo>
                    <a:pt x="0" y="5"/>
                    <a:pt x="4" y="1"/>
                    <a:pt x="9" y="1"/>
                  </a:cubicBezTo>
                  <a:cubicBezTo>
                    <a:pt x="14" y="0"/>
                    <a:pt x="15" y="21"/>
                    <a:pt x="10" y="21"/>
                  </a:cubicBezTo>
                  <a:close/>
                </a:path>
              </a:pathLst>
            </a:custGeom>
            <a:solidFill>
              <a:srgbClr val="FFB7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01" name="Freeform 175"/>
            <p:cNvSpPr/>
            <p:nvPr userDrawn="1"/>
          </p:nvSpPr>
          <p:spPr bwMode="auto">
            <a:xfrm>
              <a:off x="7236618" y="2559051"/>
              <a:ext cx="50800" cy="63500"/>
            </a:xfrm>
            <a:custGeom>
              <a:avLst/>
              <a:gdLst>
                <a:gd name="T0" fmla="*/ 5 w 19"/>
                <a:gd name="T1" fmla="*/ 21 h 23"/>
                <a:gd name="T2" fmla="*/ 17 w 19"/>
                <a:gd name="T3" fmla="*/ 15 h 23"/>
                <a:gd name="T4" fmla="*/ 12 w 19"/>
                <a:gd name="T5" fmla="*/ 2 h 23"/>
                <a:gd name="T6" fmla="*/ 5 w 19"/>
                <a:gd name="T7" fmla="*/ 2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23">
                  <a:moveTo>
                    <a:pt x="5" y="21"/>
                  </a:moveTo>
                  <a:cubicBezTo>
                    <a:pt x="10" y="23"/>
                    <a:pt x="15" y="20"/>
                    <a:pt x="17" y="15"/>
                  </a:cubicBezTo>
                  <a:cubicBezTo>
                    <a:pt x="19" y="10"/>
                    <a:pt x="17" y="4"/>
                    <a:pt x="12" y="2"/>
                  </a:cubicBezTo>
                  <a:cubicBezTo>
                    <a:pt x="8" y="0"/>
                    <a:pt x="0" y="19"/>
                    <a:pt x="5" y="21"/>
                  </a:cubicBezTo>
                  <a:close/>
                </a:path>
              </a:pathLst>
            </a:custGeom>
            <a:solidFill>
              <a:srgbClr val="FFB7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02" name="Freeform 176"/>
            <p:cNvSpPr/>
            <p:nvPr userDrawn="1"/>
          </p:nvSpPr>
          <p:spPr bwMode="auto">
            <a:xfrm>
              <a:off x="7047706" y="2439988"/>
              <a:ext cx="228600" cy="277813"/>
            </a:xfrm>
            <a:custGeom>
              <a:avLst/>
              <a:gdLst>
                <a:gd name="T0" fmla="*/ 37 w 84"/>
                <a:gd name="T1" fmla="*/ 96 h 102"/>
                <a:gd name="T2" fmla="*/ 82 w 84"/>
                <a:gd name="T3" fmla="*/ 33 h 102"/>
                <a:gd name="T4" fmla="*/ 53 w 84"/>
                <a:gd name="T5" fmla="*/ 5 h 102"/>
                <a:gd name="T6" fmla="*/ 16 w 84"/>
                <a:gd name="T7" fmla="*/ 22 h 102"/>
                <a:gd name="T8" fmla="*/ 37 w 84"/>
                <a:gd name="T9" fmla="*/ 96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4" h="102">
                  <a:moveTo>
                    <a:pt x="37" y="96"/>
                  </a:moveTo>
                  <a:cubicBezTo>
                    <a:pt x="75" y="102"/>
                    <a:pt x="82" y="33"/>
                    <a:pt x="82" y="33"/>
                  </a:cubicBezTo>
                  <a:cubicBezTo>
                    <a:pt x="82" y="33"/>
                    <a:pt x="84" y="10"/>
                    <a:pt x="53" y="5"/>
                  </a:cubicBezTo>
                  <a:cubicBezTo>
                    <a:pt x="26" y="0"/>
                    <a:pt x="16" y="22"/>
                    <a:pt x="16" y="22"/>
                  </a:cubicBezTo>
                  <a:cubicBezTo>
                    <a:pt x="16" y="22"/>
                    <a:pt x="0" y="90"/>
                    <a:pt x="37" y="96"/>
                  </a:cubicBezTo>
                  <a:close/>
                </a:path>
              </a:pathLst>
            </a:custGeom>
            <a:solidFill>
              <a:srgbClr val="FFB7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03" name="Freeform 177"/>
            <p:cNvSpPr/>
            <p:nvPr userDrawn="1"/>
          </p:nvSpPr>
          <p:spPr bwMode="auto">
            <a:xfrm>
              <a:off x="7065168" y="2401888"/>
              <a:ext cx="260350" cy="184150"/>
            </a:xfrm>
            <a:custGeom>
              <a:avLst/>
              <a:gdLst>
                <a:gd name="T0" fmla="*/ 3 w 96"/>
                <a:gd name="T1" fmla="*/ 49 h 68"/>
                <a:gd name="T2" fmla="*/ 9 w 96"/>
                <a:gd name="T3" fmla="*/ 56 h 68"/>
                <a:gd name="T4" fmla="*/ 14 w 96"/>
                <a:gd name="T5" fmla="*/ 32 h 68"/>
                <a:gd name="T6" fmla="*/ 61 w 96"/>
                <a:gd name="T7" fmla="*/ 32 h 68"/>
                <a:gd name="T8" fmla="*/ 72 w 96"/>
                <a:gd name="T9" fmla="*/ 41 h 68"/>
                <a:gd name="T10" fmla="*/ 71 w 96"/>
                <a:gd name="T11" fmla="*/ 67 h 68"/>
                <a:gd name="T12" fmla="*/ 78 w 96"/>
                <a:gd name="T13" fmla="*/ 62 h 68"/>
                <a:gd name="T14" fmla="*/ 48 w 96"/>
                <a:gd name="T15" fmla="*/ 8 h 68"/>
                <a:gd name="T16" fmla="*/ 3 w 96"/>
                <a:gd name="T17" fmla="*/ 49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6" h="68">
                  <a:moveTo>
                    <a:pt x="3" y="49"/>
                  </a:moveTo>
                  <a:cubicBezTo>
                    <a:pt x="6" y="49"/>
                    <a:pt x="9" y="56"/>
                    <a:pt x="9" y="56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52" y="45"/>
                    <a:pt x="61" y="32"/>
                  </a:cubicBezTo>
                  <a:cubicBezTo>
                    <a:pt x="72" y="29"/>
                    <a:pt x="72" y="41"/>
                    <a:pt x="72" y="41"/>
                  </a:cubicBezTo>
                  <a:cubicBezTo>
                    <a:pt x="72" y="41"/>
                    <a:pt x="71" y="68"/>
                    <a:pt x="71" y="67"/>
                  </a:cubicBezTo>
                  <a:cubicBezTo>
                    <a:pt x="74" y="60"/>
                    <a:pt x="78" y="62"/>
                    <a:pt x="78" y="62"/>
                  </a:cubicBezTo>
                  <a:cubicBezTo>
                    <a:pt x="78" y="62"/>
                    <a:pt x="96" y="16"/>
                    <a:pt x="48" y="8"/>
                  </a:cubicBezTo>
                  <a:cubicBezTo>
                    <a:pt x="0" y="0"/>
                    <a:pt x="3" y="48"/>
                    <a:pt x="3" y="49"/>
                  </a:cubicBezTo>
                  <a:close/>
                </a:path>
              </a:pathLst>
            </a:custGeom>
            <a:solidFill>
              <a:srgbClr val="6650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04" name="Freeform 178"/>
            <p:cNvSpPr>
              <a:spLocks noEditPoints="1"/>
            </p:cNvSpPr>
            <p:nvPr userDrawn="1"/>
          </p:nvSpPr>
          <p:spPr bwMode="auto">
            <a:xfrm>
              <a:off x="7081043" y="2532063"/>
              <a:ext cx="182563" cy="82550"/>
            </a:xfrm>
            <a:custGeom>
              <a:avLst/>
              <a:gdLst>
                <a:gd name="T0" fmla="*/ 51 w 67"/>
                <a:gd name="T1" fmla="*/ 7 h 30"/>
                <a:gd name="T2" fmla="*/ 34 w 67"/>
                <a:gd name="T3" fmla="*/ 14 h 30"/>
                <a:gd name="T4" fmla="*/ 19 w 67"/>
                <a:gd name="T5" fmla="*/ 2 h 30"/>
                <a:gd name="T6" fmla="*/ 1 w 67"/>
                <a:gd name="T7" fmla="*/ 10 h 30"/>
                <a:gd name="T8" fmla="*/ 15 w 67"/>
                <a:gd name="T9" fmla="*/ 24 h 30"/>
                <a:gd name="T10" fmla="*/ 33 w 67"/>
                <a:gd name="T11" fmla="*/ 17 h 30"/>
                <a:gd name="T12" fmla="*/ 48 w 67"/>
                <a:gd name="T13" fmla="*/ 29 h 30"/>
                <a:gd name="T14" fmla="*/ 66 w 67"/>
                <a:gd name="T15" fmla="*/ 21 h 30"/>
                <a:gd name="T16" fmla="*/ 51 w 67"/>
                <a:gd name="T17" fmla="*/ 7 h 30"/>
                <a:gd name="T18" fmla="*/ 17 w 67"/>
                <a:gd name="T19" fmla="*/ 16 h 30"/>
                <a:gd name="T20" fmla="*/ 8 w 67"/>
                <a:gd name="T21" fmla="*/ 11 h 30"/>
                <a:gd name="T22" fmla="*/ 18 w 67"/>
                <a:gd name="T23" fmla="*/ 9 h 30"/>
                <a:gd name="T24" fmla="*/ 26 w 67"/>
                <a:gd name="T25" fmla="*/ 14 h 30"/>
                <a:gd name="T26" fmla="*/ 17 w 67"/>
                <a:gd name="T27" fmla="*/ 16 h 30"/>
                <a:gd name="T28" fmla="*/ 49 w 67"/>
                <a:gd name="T29" fmla="*/ 21 h 30"/>
                <a:gd name="T30" fmla="*/ 40 w 67"/>
                <a:gd name="T31" fmla="*/ 16 h 30"/>
                <a:gd name="T32" fmla="*/ 50 w 67"/>
                <a:gd name="T33" fmla="*/ 14 h 30"/>
                <a:gd name="T34" fmla="*/ 59 w 67"/>
                <a:gd name="T35" fmla="*/ 19 h 30"/>
                <a:gd name="T36" fmla="*/ 49 w 67"/>
                <a:gd name="T37" fmla="*/ 21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7" h="30">
                  <a:moveTo>
                    <a:pt x="51" y="7"/>
                  </a:moveTo>
                  <a:cubicBezTo>
                    <a:pt x="43" y="6"/>
                    <a:pt x="36" y="9"/>
                    <a:pt x="34" y="14"/>
                  </a:cubicBezTo>
                  <a:cubicBezTo>
                    <a:pt x="33" y="8"/>
                    <a:pt x="27" y="3"/>
                    <a:pt x="19" y="2"/>
                  </a:cubicBezTo>
                  <a:cubicBezTo>
                    <a:pt x="10" y="0"/>
                    <a:pt x="2" y="4"/>
                    <a:pt x="1" y="10"/>
                  </a:cubicBezTo>
                  <a:cubicBezTo>
                    <a:pt x="0" y="16"/>
                    <a:pt x="6" y="22"/>
                    <a:pt x="15" y="24"/>
                  </a:cubicBezTo>
                  <a:cubicBezTo>
                    <a:pt x="24" y="25"/>
                    <a:pt x="31" y="22"/>
                    <a:pt x="33" y="17"/>
                  </a:cubicBezTo>
                  <a:cubicBezTo>
                    <a:pt x="33" y="22"/>
                    <a:pt x="40" y="28"/>
                    <a:pt x="48" y="29"/>
                  </a:cubicBezTo>
                  <a:cubicBezTo>
                    <a:pt x="57" y="30"/>
                    <a:pt x="65" y="27"/>
                    <a:pt x="66" y="21"/>
                  </a:cubicBezTo>
                  <a:cubicBezTo>
                    <a:pt x="67" y="15"/>
                    <a:pt x="60" y="9"/>
                    <a:pt x="51" y="7"/>
                  </a:cubicBezTo>
                  <a:close/>
                  <a:moveTo>
                    <a:pt x="17" y="16"/>
                  </a:moveTo>
                  <a:cubicBezTo>
                    <a:pt x="12" y="15"/>
                    <a:pt x="8" y="13"/>
                    <a:pt x="8" y="11"/>
                  </a:cubicBezTo>
                  <a:cubicBezTo>
                    <a:pt x="8" y="9"/>
                    <a:pt x="13" y="8"/>
                    <a:pt x="18" y="9"/>
                  </a:cubicBezTo>
                  <a:cubicBezTo>
                    <a:pt x="23" y="10"/>
                    <a:pt x="27" y="12"/>
                    <a:pt x="26" y="14"/>
                  </a:cubicBezTo>
                  <a:cubicBezTo>
                    <a:pt x="26" y="15"/>
                    <a:pt x="22" y="16"/>
                    <a:pt x="17" y="16"/>
                  </a:cubicBezTo>
                  <a:close/>
                  <a:moveTo>
                    <a:pt x="49" y="21"/>
                  </a:moveTo>
                  <a:cubicBezTo>
                    <a:pt x="44" y="20"/>
                    <a:pt x="40" y="18"/>
                    <a:pt x="40" y="16"/>
                  </a:cubicBezTo>
                  <a:cubicBezTo>
                    <a:pt x="41" y="14"/>
                    <a:pt x="45" y="13"/>
                    <a:pt x="50" y="14"/>
                  </a:cubicBezTo>
                  <a:cubicBezTo>
                    <a:pt x="55" y="15"/>
                    <a:pt x="59" y="17"/>
                    <a:pt x="59" y="19"/>
                  </a:cubicBezTo>
                  <a:cubicBezTo>
                    <a:pt x="58" y="21"/>
                    <a:pt x="54" y="22"/>
                    <a:pt x="49" y="21"/>
                  </a:cubicBezTo>
                  <a:close/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05" name="Freeform 179"/>
            <p:cNvSpPr/>
            <p:nvPr userDrawn="1"/>
          </p:nvSpPr>
          <p:spPr bwMode="auto">
            <a:xfrm>
              <a:off x="7084218" y="2393951"/>
              <a:ext cx="214313" cy="114300"/>
            </a:xfrm>
            <a:custGeom>
              <a:avLst/>
              <a:gdLst>
                <a:gd name="T0" fmla="*/ 77 w 79"/>
                <a:gd name="T1" fmla="*/ 42 h 42"/>
                <a:gd name="T2" fmla="*/ 44 w 79"/>
                <a:gd name="T3" fmla="*/ 4 h 42"/>
                <a:gd name="T4" fmla="*/ 0 w 79"/>
                <a:gd name="T5" fmla="*/ 29 h 42"/>
                <a:gd name="T6" fmla="*/ 77 w 79"/>
                <a:gd name="T7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9" h="42">
                  <a:moveTo>
                    <a:pt x="77" y="42"/>
                  </a:moveTo>
                  <a:cubicBezTo>
                    <a:pt x="79" y="32"/>
                    <a:pt x="65" y="7"/>
                    <a:pt x="44" y="4"/>
                  </a:cubicBezTo>
                  <a:cubicBezTo>
                    <a:pt x="22" y="0"/>
                    <a:pt x="2" y="19"/>
                    <a:pt x="0" y="29"/>
                  </a:cubicBezTo>
                  <a:lnTo>
                    <a:pt x="77" y="42"/>
                  </a:lnTo>
                  <a:close/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06" name="Freeform 180"/>
            <p:cNvSpPr/>
            <p:nvPr userDrawn="1"/>
          </p:nvSpPr>
          <p:spPr bwMode="auto">
            <a:xfrm>
              <a:off x="7084218" y="2463801"/>
              <a:ext cx="209550" cy="44450"/>
            </a:xfrm>
            <a:custGeom>
              <a:avLst/>
              <a:gdLst>
                <a:gd name="T0" fmla="*/ 77 w 77"/>
                <a:gd name="T1" fmla="*/ 16 h 16"/>
                <a:gd name="T2" fmla="*/ 77 w 77"/>
                <a:gd name="T3" fmla="*/ 13 h 16"/>
                <a:gd name="T4" fmla="*/ 1 w 77"/>
                <a:gd name="T5" fmla="*/ 0 h 16"/>
                <a:gd name="T6" fmla="*/ 0 w 77"/>
                <a:gd name="T7" fmla="*/ 3 h 16"/>
                <a:gd name="T8" fmla="*/ 77 w 77"/>
                <a:gd name="T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" h="16">
                  <a:moveTo>
                    <a:pt x="77" y="16"/>
                  </a:moveTo>
                  <a:cubicBezTo>
                    <a:pt x="77" y="15"/>
                    <a:pt x="77" y="14"/>
                    <a:pt x="77" y="13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2"/>
                    <a:pt x="0" y="3"/>
                  </a:cubicBezTo>
                  <a:lnTo>
                    <a:pt x="77" y="16"/>
                  </a:lnTo>
                  <a:close/>
                </a:path>
              </a:pathLst>
            </a:custGeom>
            <a:solidFill>
              <a:srgbClr val="2424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07" name="Freeform 181"/>
            <p:cNvSpPr/>
            <p:nvPr userDrawn="1"/>
          </p:nvSpPr>
          <p:spPr bwMode="auto">
            <a:xfrm>
              <a:off x="7058818" y="2470151"/>
              <a:ext cx="246063" cy="69850"/>
            </a:xfrm>
            <a:custGeom>
              <a:avLst/>
              <a:gdLst>
                <a:gd name="T0" fmla="*/ 84 w 90"/>
                <a:gd name="T1" fmla="*/ 26 h 26"/>
                <a:gd name="T2" fmla="*/ 4 w 90"/>
                <a:gd name="T3" fmla="*/ 13 h 26"/>
                <a:gd name="T4" fmla="*/ 0 w 90"/>
                <a:gd name="T5" fmla="*/ 10 h 26"/>
                <a:gd name="T6" fmla="*/ 2 w 90"/>
                <a:gd name="T7" fmla="*/ 2 h 26"/>
                <a:gd name="T8" fmla="*/ 6 w 90"/>
                <a:gd name="T9" fmla="*/ 1 h 26"/>
                <a:gd name="T10" fmla="*/ 86 w 90"/>
                <a:gd name="T11" fmla="*/ 14 h 26"/>
                <a:gd name="T12" fmla="*/ 90 w 90"/>
                <a:gd name="T13" fmla="*/ 16 h 26"/>
                <a:gd name="T14" fmla="*/ 88 w 90"/>
                <a:gd name="T15" fmla="*/ 25 h 26"/>
                <a:gd name="T16" fmla="*/ 84 w 90"/>
                <a:gd name="T17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0" h="26">
                  <a:moveTo>
                    <a:pt x="84" y="26"/>
                  </a:moveTo>
                  <a:cubicBezTo>
                    <a:pt x="4" y="13"/>
                    <a:pt x="4" y="13"/>
                    <a:pt x="4" y="13"/>
                  </a:cubicBezTo>
                  <a:cubicBezTo>
                    <a:pt x="2" y="13"/>
                    <a:pt x="0" y="12"/>
                    <a:pt x="0" y="10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1"/>
                    <a:pt x="4" y="0"/>
                    <a:pt x="6" y="1"/>
                  </a:cubicBezTo>
                  <a:cubicBezTo>
                    <a:pt x="86" y="14"/>
                    <a:pt x="86" y="14"/>
                    <a:pt x="86" y="14"/>
                  </a:cubicBezTo>
                  <a:cubicBezTo>
                    <a:pt x="88" y="14"/>
                    <a:pt x="90" y="15"/>
                    <a:pt x="90" y="16"/>
                  </a:cubicBezTo>
                  <a:cubicBezTo>
                    <a:pt x="88" y="25"/>
                    <a:pt x="88" y="25"/>
                    <a:pt x="88" y="25"/>
                  </a:cubicBezTo>
                  <a:cubicBezTo>
                    <a:pt x="88" y="26"/>
                    <a:pt x="86" y="26"/>
                    <a:pt x="84" y="26"/>
                  </a:cubicBezTo>
                  <a:close/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08" name="Freeform 182"/>
            <p:cNvSpPr/>
            <p:nvPr userDrawn="1"/>
          </p:nvSpPr>
          <p:spPr bwMode="auto">
            <a:xfrm>
              <a:off x="5357018" y="1890713"/>
              <a:ext cx="160338" cy="290513"/>
            </a:xfrm>
            <a:custGeom>
              <a:avLst/>
              <a:gdLst>
                <a:gd name="T0" fmla="*/ 49 w 59"/>
                <a:gd name="T1" fmla="*/ 0 h 107"/>
                <a:gd name="T2" fmla="*/ 49 w 59"/>
                <a:gd name="T3" fmla="*/ 77 h 107"/>
                <a:gd name="T4" fmla="*/ 29 w 59"/>
                <a:gd name="T5" fmla="*/ 96 h 107"/>
                <a:gd name="T6" fmla="*/ 10 w 59"/>
                <a:gd name="T7" fmla="*/ 77 h 107"/>
                <a:gd name="T8" fmla="*/ 5 w 59"/>
                <a:gd name="T9" fmla="*/ 72 h 107"/>
                <a:gd name="T10" fmla="*/ 0 w 59"/>
                <a:gd name="T11" fmla="*/ 77 h 107"/>
                <a:gd name="T12" fmla="*/ 29 w 59"/>
                <a:gd name="T13" fmla="*/ 107 h 107"/>
                <a:gd name="T14" fmla="*/ 59 w 59"/>
                <a:gd name="T15" fmla="*/ 77 h 107"/>
                <a:gd name="T16" fmla="*/ 59 w 59"/>
                <a:gd name="T17" fmla="*/ 0 h 107"/>
                <a:gd name="T18" fmla="*/ 49 w 59"/>
                <a:gd name="T19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9" h="107">
                  <a:moveTo>
                    <a:pt x="49" y="0"/>
                  </a:moveTo>
                  <a:cubicBezTo>
                    <a:pt x="49" y="77"/>
                    <a:pt x="49" y="77"/>
                    <a:pt x="49" y="77"/>
                  </a:cubicBezTo>
                  <a:cubicBezTo>
                    <a:pt x="49" y="88"/>
                    <a:pt x="40" y="96"/>
                    <a:pt x="29" y="96"/>
                  </a:cubicBezTo>
                  <a:cubicBezTo>
                    <a:pt x="19" y="96"/>
                    <a:pt x="10" y="88"/>
                    <a:pt x="10" y="77"/>
                  </a:cubicBezTo>
                  <a:cubicBezTo>
                    <a:pt x="10" y="74"/>
                    <a:pt x="8" y="72"/>
                    <a:pt x="5" y="72"/>
                  </a:cubicBezTo>
                  <a:cubicBezTo>
                    <a:pt x="2" y="72"/>
                    <a:pt x="0" y="74"/>
                    <a:pt x="0" y="77"/>
                  </a:cubicBezTo>
                  <a:cubicBezTo>
                    <a:pt x="0" y="93"/>
                    <a:pt x="13" y="107"/>
                    <a:pt x="29" y="107"/>
                  </a:cubicBezTo>
                  <a:cubicBezTo>
                    <a:pt x="46" y="107"/>
                    <a:pt x="59" y="93"/>
                    <a:pt x="59" y="77"/>
                  </a:cubicBezTo>
                  <a:cubicBezTo>
                    <a:pt x="59" y="0"/>
                    <a:pt x="59" y="0"/>
                    <a:pt x="59" y="0"/>
                  </a:cubicBezTo>
                  <a:lnTo>
                    <a:pt x="49" y="0"/>
                  </a:lnTo>
                  <a:close/>
                </a:path>
              </a:pathLst>
            </a:custGeom>
            <a:solidFill>
              <a:srgbClr val="6969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09" name="Freeform 183"/>
            <p:cNvSpPr/>
            <p:nvPr userDrawn="1"/>
          </p:nvSpPr>
          <p:spPr bwMode="auto">
            <a:xfrm>
              <a:off x="5345906" y="1658938"/>
              <a:ext cx="307975" cy="231775"/>
            </a:xfrm>
            <a:custGeom>
              <a:avLst/>
              <a:gdLst>
                <a:gd name="T0" fmla="*/ 58 w 113"/>
                <a:gd name="T1" fmla="*/ 0 h 85"/>
                <a:gd name="T2" fmla="*/ 58 w 113"/>
                <a:gd name="T3" fmla="*/ 0 h 85"/>
                <a:gd name="T4" fmla="*/ 0 w 113"/>
                <a:gd name="T5" fmla="*/ 85 h 85"/>
                <a:gd name="T6" fmla="*/ 113 w 113"/>
                <a:gd name="T7" fmla="*/ 85 h 85"/>
                <a:gd name="T8" fmla="*/ 58 w 113"/>
                <a:gd name="T9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3" h="85">
                  <a:moveTo>
                    <a:pt x="58" y="0"/>
                  </a:moveTo>
                  <a:cubicBezTo>
                    <a:pt x="58" y="0"/>
                    <a:pt x="58" y="0"/>
                    <a:pt x="58" y="0"/>
                  </a:cubicBezTo>
                  <a:cubicBezTo>
                    <a:pt x="58" y="0"/>
                    <a:pt x="0" y="22"/>
                    <a:pt x="0" y="85"/>
                  </a:cubicBezTo>
                  <a:cubicBezTo>
                    <a:pt x="113" y="85"/>
                    <a:pt x="113" y="85"/>
                    <a:pt x="113" y="85"/>
                  </a:cubicBezTo>
                  <a:cubicBezTo>
                    <a:pt x="113" y="22"/>
                    <a:pt x="58" y="0"/>
                    <a:pt x="58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10" name="Freeform 184"/>
            <p:cNvSpPr/>
            <p:nvPr userDrawn="1"/>
          </p:nvSpPr>
          <p:spPr bwMode="auto">
            <a:xfrm>
              <a:off x="5447506" y="1658938"/>
              <a:ext cx="111125" cy="231775"/>
            </a:xfrm>
            <a:custGeom>
              <a:avLst/>
              <a:gdLst>
                <a:gd name="T0" fmla="*/ 21 w 41"/>
                <a:gd name="T1" fmla="*/ 0 h 85"/>
                <a:gd name="T2" fmla="*/ 21 w 41"/>
                <a:gd name="T3" fmla="*/ 0 h 85"/>
                <a:gd name="T4" fmla="*/ 0 w 41"/>
                <a:gd name="T5" fmla="*/ 85 h 85"/>
                <a:gd name="T6" fmla="*/ 41 w 41"/>
                <a:gd name="T7" fmla="*/ 85 h 85"/>
                <a:gd name="T8" fmla="*/ 21 w 41"/>
                <a:gd name="T9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85"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0" y="22"/>
                    <a:pt x="0" y="85"/>
                  </a:cubicBezTo>
                  <a:cubicBezTo>
                    <a:pt x="41" y="85"/>
                    <a:pt x="41" y="85"/>
                    <a:pt x="41" y="85"/>
                  </a:cubicBezTo>
                  <a:cubicBezTo>
                    <a:pt x="41" y="22"/>
                    <a:pt x="21" y="0"/>
                    <a:pt x="21" y="0"/>
                  </a:cubicBezTo>
                  <a:close/>
                </a:path>
              </a:pathLst>
            </a:custGeom>
            <a:solidFill>
              <a:schemeClr val="accent5">
                <a:lumMod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11" name="Freeform 185"/>
            <p:cNvSpPr/>
            <p:nvPr userDrawn="1"/>
          </p:nvSpPr>
          <p:spPr bwMode="auto">
            <a:xfrm>
              <a:off x="5269706" y="1658938"/>
              <a:ext cx="233363" cy="231775"/>
            </a:xfrm>
            <a:custGeom>
              <a:avLst/>
              <a:gdLst>
                <a:gd name="T0" fmla="*/ 86 w 86"/>
                <a:gd name="T1" fmla="*/ 0 h 85"/>
                <a:gd name="T2" fmla="*/ 0 w 86"/>
                <a:gd name="T3" fmla="*/ 85 h 85"/>
                <a:gd name="T4" fmla="*/ 1 w 86"/>
                <a:gd name="T5" fmla="*/ 85 h 85"/>
                <a:gd name="T6" fmla="*/ 28 w 86"/>
                <a:gd name="T7" fmla="*/ 85 h 85"/>
                <a:gd name="T8" fmla="*/ 86 w 86"/>
                <a:gd name="T9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6" h="85">
                  <a:moveTo>
                    <a:pt x="86" y="0"/>
                  </a:moveTo>
                  <a:cubicBezTo>
                    <a:pt x="39" y="0"/>
                    <a:pt x="0" y="38"/>
                    <a:pt x="0" y="85"/>
                  </a:cubicBezTo>
                  <a:cubicBezTo>
                    <a:pt x="1" y="85"/>
                    <a:pt x="1" y="85"/>
                    <a:pt x="1" y="85"/>
                  </a:cubicBezTo>
                  <a:cubicBezTo>
                    <a:pt x="28" y="85"/>
                    <a:pt x="28" y="85"/>
                    <a:pt x="28" y="85"/>
                  </a:cubicBezTo>
                  <a:cubicBezTo>
                    <a:pt x="28" y="22"/>
                    <a:pt x="86" y="0"/>
                    <a:pt x="86" y="0"/>
                  </a:cubicBezTo>
                  <a:close/>
                </a:path>
              </a:pathLst>
            </a:custGeom>
            <a:solidFill>
              <a:schemeClr val="accent5">
                <a:lumMod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12" name="Freeform 186"/>
            <p:cNvSpPr/>
            <p:nvPr userDrawn="1"/>
          </p:nvSpPr>
          <p:spPr bwMode="auto">
            <a:xfrm>
              <a:off x="5503068" y="1658938"/>
              <a:ext cx="234950" cy="231775"/>
            </a:xfrm>
            <a:custGeom>
              <a:avLst/>
              <a:gdLst>
                <a:gd name="T0" fmla="*/ 0 w 86"/>
                <a:gd name="T1" fmla="*/ 0 h 85"/>
                <a:gd name="T2" fmla="*/ 0 w 86"/>
                <a:gd name="T3" fmla="*/ 0 h 85"/>
                <a:gd name="T4" fmla="*/ 55 w 86"/>
                <a:gd name="T5" fmla="*/ 85 h 85"/>
                <a:gd name="T6" fmla="*/ 85 w 86"/>
                <a:gd name="T7" fmla="*/ 85 h 85"/>
                <a:gd name="T8" fmla="*/ 86 w 86"/>
                <a:gd name="T9" fmla="*/ 85 h 85"/>
                <a:gd name="T10" fmla="*/ 0 w 86"/>
                <a:gd name="T11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85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55" y="22"/>
                    <a:pt x="55" y="85"/>
                  </a:cubicBezTo>
                  <a:cubicBezTo>
                    <a:pt x="85" y="85"/>
                    <a:pt x="85" y="85"/>
                    <a:pt x="85" y="85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6" y="38"/>
                    <a:pt x="47" y="0"/>
                    <a:pt x="0" y="0"/>
                  </a:cubicBezTo>
                  <a:close/>
                </a:path>
              </a:pathLst>
            </a:custGeom>
            <a:solidFill>
              <a:schemeClr val="accent5">
                <a:lumMod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13" name="Freeform 187"/>
            <p:cNvSpPr/>
            <p:nvPr userDrawn="1"/>
          </p:nvSpPr>
          <p:spPr bwMode="auto">
            <a:xfrm>
              <a:off x="5276056" y="1600201"/>
              <a:ext cx="123825" cy="130175"/>
            </a:xfrm>
            <a:custGeom>
              <a:avLst/>
              <a:gdLst>
                <a:gd name="T0" fmla="*/ 23 w 46"/>
                <a:gd name="T1" fmla="*/ 35 h 48"/>
                <a:gd name="T2" fmla="*/ 2 w 46"/>
                <a:gd name="T3" fmla="*/ 0 h 48"/>
                <a:gd name="T4" fmla="*/ 23 w 46"/>
                <a:gd name="T5" fmla="*/ 35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6" h="48">
                  <a:moveTo>
                    <a:pt x="23" y="35"/>
                  </a:moveTo>
                  <a:cubicBezTo>
                    <a:pt x="0" y="48"/>
                    <a:pt x="2" y="0"/>
                    <a:pt x="2" y="0"/>
                  </a:cubicBezTo>
                  <a:cubicBezTo>
                    <a:pt x="2" y="0"/>
                    <a:pt x="46" y="22"/>
                    <a:pt x="23" y="35"/>
                  </a:cubicBezTo>
                  <a:close/>
                </a:path>
              </a:pathLst>
            </a:custGeom>
            <a:solidFill>
              <a:srgbClr val="6A90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14" name="Freeform 188"/>
            <p:cNvSpPr/>
            <p:nvPr userDrawn="1"/>
          </p:nvSpPr>
          <p:spPr bwMode="auto">
            <a:xfrm>
              <a:off x="5314156" y="1509713"/>
              <a:ext cx="76200" cy="79375"/>
            </a:xfrm>
            <a:custGeom>
              <a:avLst/>
              <a:gdLst>
                <a:gd name="T0" fmla="*/ 14 w 28"/>
                <a:gd name="T1" fmla="*/ 21 h 29"/>
                <a:gd name="T2" fmla="*/ 2 w 28"/>
                <a:gd name="T3" fmla="*/ 0 h 29"/>
                <a:gd name="T4" fmla="*/ 14 w 28"/>
                <a:gd name="T5" fmla="*/ 21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8" h="29">
                  <a:moveTo>
                    <a:pt x="14" y="21"/>
                  </a:moveTo>
                  <a:cubicBezTo>
                    <a:pt x="0" y="29"/>
                    <a:pt x="2" y="0"/>
                    <a:pt x="2" y="0"/>
                  </a:cubicBezTo>
                  <a:cubicBezTo>
                    <a:pt x="2" y="0"/>
                    <a:pt x="28" y="14"/>
                    <a:pt x="14" y="21"/>
                  </a:cubicBezTo>
                  <a:close/>
                </a:path>
              </a:pathLst>
            </a:custGeom>
            <a:solidFill>
              <a:srgbClr val="6A90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15" name="Freeform 189"/>
            <p:cNvSpPr/>
            <p:nvPr userDrawn="1"/>
          </p:nvSpPr>
          <p:spPr bwMode="auto">
            <a:xfrm>
              <a:off x="5418931" y="1536701"/>
              <a:ext cx="98425" cy="103188"/>
            </a:xfrm>
            <a:custGeom>
              <a:avLst/>
              <a:gdLst>
                <a:gd name="T0" fmla="*/ 18 w 36"/>
                <a:gd name="T1" fmla="*/ 28 h 38"/>
                <a:gd name="T2" fmla="*/ 2 w 36"/>
                <a:gd name="T3" fmla="*/ 0 h 38"/>
                <a:gd name="T4" fmla="*/ 18 w 36"/>
                <a:gd name="T5" fmla="*/ 2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6" h="38">
                  <a:moveTo>
                    <a:pt x="18" y="28"/>
                  </a:moveTo>
                  <a:cubicBezTo>
                    <a:pt x="0" y="38"/>
                    <a:pt x="2" y="0"/>
                    <a:pt x="2" y="0"/>
                  </a:cubicBezTo>
                  <a:cubicBezTo>
                    <a:pt x="2" y="0"/>
                    <a:pt x="36" y="18"/>
                    <a:pt x="18" y="28"/>
                  </a:cubicBezTo>
                  <a:close/>
                </a:path>
              </a:pathLst>
            </a:custGeom>
            <a:solidFill>
              <a:srgbClr val="6A90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16" name="Freeform 190"/>
            <p:cNvSpPr/>
            <p:nvPr userDrawn="1"/>
          </p:nvSpPr>
          <p:spPr bwMode="auto">
            <a:xfrm>
              <a:off x="5585618" y="1493838"/>
              <a:ext cx="117475" cy="271463"/>
            </a:xfrm>
            <a:custGeom>
              <a:avLst/>
              <a:gdLst>
                <a:gd name="T0" fmla="*/ 22 w 74"/>
                <a:gd name="T1" fmla="*/ 3 h 171"/>
                <a:gd name="T2" fmla="*/ 0 w 74"/>
                <a:gd name="T3" fmla="*/ 79 h 171"/>
                <a:gd name="T4" fmla="*/ 38 w 74"/>
                <a:gd name="T5" fmla="*/ 74 h 171"/>
                <a:gd name="T6" fmla="*/ 0 w 74"/>
                <a:gd name="T7" fmla="*/ 171 h 171"/>
                <a:gd name="T8" fmla="*/ 74 w 74"/>
                <a:gd name="T9" fmla="*/ 58 h 171"/>
                <a:gd name="T10" fmla="*/ 27 w 74"/>
                <a:gd name="T11" fmla="*/ 60 h 171"/>
                <a:gd name="T12" fmla="*/ 55 w 74"/>
                <a:gd name="T13" fmla="*/ 0 h 171"/>
                <a:gd name="T14" fmla="*/ 22 w 74"/>
                <a:gd name="T15" fmla="*/ 3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4" h="171">
                  <a:moveTo>
                    <a:pt x="22" y="3"/>
                  </a:moveTo>
                  <a:lnTo>
                    <a:pt x="0" y="79"/>
                  </a:lnTo>
                  <a:lnTo>
                    <a:pt x="38" y="74"/>
                  </a:lnTo>
                  <a:lnTo>
                    <a:pt x="0" y="171"/>
                  </a:lnTo>
                  <a:lnTo>
                    <a:pt x="74" y="58"/>
                  </a:lnTo>
                  <a:lnTo>
                    <a:pt x="27" y="60"/>
                  </a:lnTo>
                  <a:lnTo>
                    <a:pt x="55" y="0"/>
                  </a:lnTo>
                  <a:lnTo>
                    <a:pt x="22" y="3"/>
                  </a:ln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17" name="Freeform 191"/>
            <p:cNvSpPr/>
            <p:nvPr userDrawn="1"/>
          </p:nvSpPr>
          <p:spPr bwMode="auto">
            <a:xfrm>
              <a:off x="4887118" y="3040063"/>
              <a:ext cx="458788" cy="563563"/>
            </a:xfrm>
            <a:custGeom>
              <a:avLst/>
              <a:gdLst>
                <a:gd name="T0" fmla="*/ 289 w 289"/>
                <a:gd name="T1" fmla="*/ 317 h 355"/>
                <a:gd name="T2" fmla="*/ 42 w 289"/>
                <a:gd name="T3" fmla="*/ 355 h 355"/>
                <a:gd name="T4" fmla="*/ 0 w 289"/>
                <a:gd name="T5" fmla="*/ 72 h 355"/>
                <a:gd name="T6" fmla="*/ 25 w 289"/>
                <a:gd name="T7" fmla="*/ 35 h 355"/>
                <a:gd name="T8" fmla="*/ 239 w 289"/>
                <a:gd name="T9" fmla="*/ 0 h 355"/>
                <a:gd name="T10" fmla="*/ 289 w 289"/>
                <a:gd name="T11" fmla="*/ 317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9" h="355">
                  <a:moveTo>
                    <a:pt x="289" y="317"/>
                  </a:moveTo>
                  <a:lnTo>
                    <a:pt x="42" y="355"/>
                  </a:lnTo>
                  <a:lnTo>
                    <a:pt x="0" y="72"/>
                  </a:lnTo>
                  <a:lnTo>
                    <a:pt x="25" y="35"/>
                  </a:lnTo>
                  <a:lnTo>
                    <a:pt x="239" y="0"/>
                  </a:lnTo>
                  <a:lnTo>
                    <a:pt x="289" y="317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18" name="Freeform 192"/>
            <p:cNvSpPr/>
            <p:nvPr userDrawn="1"/>
          </p:nvSpPr>
          <p:spPr bwMode="auto">
            <a:xfrm>
              <a:off x="4887118" y="3095626"/>
              <a:ext cx="47625" cy="58738"/>
            </a:xfrm>
            <a:custGeom>
              <a:avLst/>
              <a:gdLst>
                <a:gd name="T0" fmla="*/ 25 w 30"/>
                <a:gd name="T1" fmla="*/ 0 h 37"/>
                <a:gd name="T2" fmla="*/ 0 w 30"/>
                <a:gd name="T3" fmla="*/ 37 h 37"/>
                <a:gd name="T4" fmla="*/ 30 w 30"/>
                <a:gd name="T5" fmla="*/ 32 h 37"/>
                <a:gd name="T6" fmla="*/ 25 w 30"/>
                <a:gd name="T7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" h="37">
                  <a:moveTo>
                    <a:pt x="25" y="0"/>
                  </a:moveTo>
                  <a:lnTo>
                    <a:pt x="0" y="37"/>
                  </a:lnTo>
                  <a:lnTo>
                    <a:pt x="30" y="32"/>
                  </a:lnTo>
                  <a:lnTo>
                    <a:pt x="25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19" name="Freeform 193"/>
            <p:cNvSpPr/>
            <p:nvPr userDrawn="1"/>
          </p:nvSpPr>
          <p:spPr bwMode="auto">
            <a:xfrm>
              <a:off x="5006181" y="3554413"/>
              <a:ext cx="87313" cy="111125"/>
            </a:xfrm>
            <a:custGeom>
              <a:avLst/>
              <a:gdLst>
                <a:gd name="T0" fmla="*/ 55 w 55"/>
                <a:gd name="T1" fmla="*/ 64 h 70"/>
                <a:gd name="T2" fmla="*/ 31 w 55"/>
                <a:gd name="T3" fmla="*/ 55 h 70"/>
                <a:gd name="T4" fmla="*/ 9 w 55"/>
                <a:gd name="T5" fmla="*/ 70 h 70"/>
                <a:gd name="T6" fmla="*/ 0 w 55"/>
                <a:gd name="T7" fmla="*/ 7 h 70"/>
                <a:gd name="T8" fmla="*/ 45 w 55"/>
                <a:gd name="T9" fmla="*/ 0 h 70"/>
                <a:gd name="T10" fmla="*/ 55 w 55"/>
                <a:gd name="T11" fmla="*/ 64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5" h="70">
                  <a:moveTo>
                    <a:pt x="55" y="64"/>
                  </a:moveTo>
                  <a:lnTo>
                    <a:pt x="31" y="55"/>
                  </a:lnTo>
                  <a:lnTo>
                    <a:pt x="9" y="70"/>
                  </a:lnTo>
                  <a:lnTo>
                    <a:pt x="0" y="7"/>
                  </a:lnTo>
                  <a:lnTo>
                    <a:pt x="45" y="0"/>
                  </a:lnTo>
                  <a:lnTo>
                    <a:pt x="55" y="64"/>
                  </a:lnTo>
                  <a:close/>
                </a:path>
              </a:pathLst>
            </a:custGeom>
            <a:solidFill>
              <a:srgbClr val="943E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20" name="Freeform 194"/>
            <p:cNvSpPr/>
            <p:nvPr userDrawn="1"/>
          </p:nvSpPr>
          <p:spPr bwMode="auto">
            <a:xfrm>
              <a:off x="4976018" y="3462338"/>
              <a:ext cx="117475" cy="117475"/>
            </a:xfrm>
            <a:custGeom>
              <a:avLst/>
              <a:gdLst>
                <a:gd name="T0" fmla="*/ 41 w 43"/>
                <a:gd name="T1" fmla="*/ 19 h 43"/>
                <a:gd name="T2" fmla="*/ 25 w 43"/>
                <a:gd name="T3" fmla="*/ 42 h 43"/>
                <a:gd name="T4" fmla="*/ 2 w 43"/>
                <a:gd name="T5" fmla="*/ 25 h 43"/>
                <a:gd name="T6" fmla="*/ 18 w 43"/>
                <a:gd name="T7" fmla="*/ 2 h 43"/>
                <a:gd name="T8" fmla="*/ 41 w 43"/>
                <a:gd name="T9" fmla="*/ 19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43">
                  <a:moveTo>
                    <a:pt x="41" y="19"/>
                  </a:moveTo>
                  <a:cubicBezTo>
                    <a:pt x="43" y="30"/>
                    <a:pt x="36" y="40"/>
                    <a:pt x="25" y="42"/>
                  </a:cubicBezTo>
                  <a:cubicBezTo>
                    <a:pt x="14" y="43"/>
                    <a:pt x="3" y="36"/>
                    <a:pt x="2" y="25"/>
                  </a:cubicBezTo>
                  <a:cubicBezTo>
                    <a:pt x="0" y="14"/>
                    <a:pt x="7" y="4"/>
                    <a:pt x="18" y="2"/>
                  </a:cubicBezTo>
                  <a:cubicBezTo>
                    <a:pt x="29" y="0"/>
                    <a:pt x="40" y="8"/>
                    <a:pt x="41" y="19"/>
                  </a:cubicBezTo>
                  <a:close/>
                </a:path>
              </a:pathLst>
            </a:custGeom>
            <a:solidFill>
              <a:srgbClr val="BD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21" name="Freeform 195"/>
            <p:cNvSpPr/>
            <p:nvPr userDrawn="1"/>
          </p:nvSpPr>
          <p:spPr bwMode="auto">
            <a:xfrm>
              <a:off x="4987131" y="3476626"/>
              <a:ext cx="95250" cy="92075"/>
            </a:xfrm>
            <a:custGeom>
              <a:avLst/>
              <a:gdLst>
                <a:gd name="T0" fmla="*/ 33 w 35"/>
                <a:gd name="T1" fmla="*/ 14 h 34"/>
                <a:gd name="T2" fmla="*/ 20 w 35"/>
                <a:gd name="T3" fmla="*/ 33 h 34"/>
                <a:gd name="T4" fmla="*/ 2 w 35"/>
                <a:gd name="T5" fmla="*/ 19 h 34"/>
                <a:gd name="T6" fmla="*/ 15 w 35"/>
                <a:gd name="T7" fmla="*/ 1 h 34"/>
                <a:gd name="T8" fmla="*/ 33 w 35"/>
                <a:gd name="T9" fmla="*/ 1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34">
                  <a:moveTo>
                    <a:pt x="33" y="14"/>
                  </a:moveTo>
                  <a:cubicBezTo>
                    <a:pt x="35" y="23"/>
                    <a:pt x="29" y="31"/>
                    <a:pt x="20" y="33"/>
                  </a:cubicBezTo>
                  <a:cubicBezTo>
                    <a:pt x="11" y="34"/>
                    <a:pt x="3" y="28"/>
                    <a:pt x="2" y="19"/>
                  </a:cubicBezTo>
                  <a:cubicBezTo>
                    <a:pt x="0" y="11"/>
                    <a:pt x="6" y="2"/>
                    <a:pt x="15" y="1"/>
                  </a:cubicBezTo>
                  <a:cubicBezTo>
                    <a:pt x="24" y="0"/>
                    <a:pt x="32" y="6"/>
                    <a:pt x="33" y="14"/>
                  </a:cubicBezTo>
                  <a:close/>
                </a:path>
              </a:pathLst>
            </a:custGeom>
            <a:solidFill>
              <a:srgbClr val="8247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22" name="Freeform 196"/>
            <p:cNvSpPr/>
            <p:nvPr userDrawn="1"/>
          </p:nvSpPr>
          <p:spPr bwMode="auto">
            <a:xfrm>
              <a:off x="4926806" y="3130551"/>
              <a:ext cx="311150" cy="80963"/>
            </a:xfrm>
            <a:custGeom>
              <a:avLst/>
              <a:gdLst>
                <a:gd name="T0" fmla="*/ 196 w 196"/>
                <a:gd name="T1" fmla="*/ 21 h 51"/>
                <a:gd name="T2" fmla="*/ 2 w 196"/>
                <a:gd name="T3" fmla="*/ 51 h 51"/>
                <a:gd name="T4" fmla="*/ 0 w 196"/>
                <a:gd name="T5" fmla="*/ 31 h 51"/>
                <a:gd name="T6" fmla="*/ 192 w 196"/>
                <a:gd name="T7" fmla="*/ 0 h 51"/>
                <a:gd name="T8" fmla="*/ 196 w 196"/>
                <a:gd name="T9" fmla="*/ 2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6" h="51">
                  <a:moveTo>
                    <a:pt x="196" y="21"/>
                  </a:moveTo>
                  <a:lnTo>
                    <a:pt x="2" y="51"/>
                  </a:lnTo>
                  <a:lnTo>
                    <a:pt x="0" y="31"/>
                  </a:lnTo>
                  <a:lnTo>
                    <a:pt x="192" y="0"/>
                  </a:lnTo>
                  <a:lnTo>
                    <a:pt x="196" y="21"/>
                  </a:lnTo>
                  <a:close/>
                </a:path>
              </a:pathLst>
            </a:custGeom>
            <a:solidFill>
              <a:srgbClr val="5E82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23" name="Freeform 197"/>
            <p:cNvSpPr/>
            <p:nvPr userDrawn="1"/>
          </p:nvSpPr>
          <p:spPr bwMode="auto">
            <a:xfrm>
              <a:off x="4934743" y="3192463"/>
              <a:ext cx="312738" cy="82550"/>
            </a:xfrm>
            <a:custGeom>
              <a:avLst/>
              <a:gdLst>
                <a:gd name="T0" fmla="*/ 197 w 197"/>
                <a:gd name="T1" fmla="*/ 21 h 52"/>
                <a:gd name="T2" fmla="*/ 4 w 197"/>
                <a:gd name="T3" fmla="*/ 52 h 52"/>
                <a:gd name="T4" fmla="*/ 0 w 197"/>
                <a:gd name="T5" fmla="*/ 31 h 52"/>
                <a:gd name="T6" fmla="*/ 194 w 197"/>
                <a:gd name="T7" fmla="*/ 0 h 52"/>
                <a:gd name="T8" fmla="*/ 197 w 197"/>
                <a:gd name="T9" fmla="*/ 21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7" h="52">
                  <a:moveTo>
                    <a:pt x="197" y="21"/>
                  </a:moveTo>
                  <a:lnTo>
                    <a:pt x="4" y="52"/>
                  </a:lnTo>
                  <a:lnTo>
                    <a:pt x="0" y="31"/>
                  </a:lnTo>
                  <a:lnTo>
                    <a:pt x="194" y="0"/>
                  </a:lnTo>
                  <a:lnTo>
                    <a:pt x="197" y="21"/>
                  </a:lnTo>
                  <a:close/>
                </a:path>
              </a:pathLst>
            </a:custGeom>
            <a:solidFill>
              <a:srgbClr val="5E82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24" name="Freeform 198"/>
            <p:cNvSpPr/>
            <p:nvPr userDrawn="1"/>
          </p:nvSpPr>
          <p:spPr bwMode="auto">
            <a:xfrm>
              <a:off x="4945856" y="3255963"/>
              <a:ext cx="311150" cy="80963"/>
            </a:xfrm>
            <a:custGeom>
              <a:avLst/>
              <a:gdLst>
                <a:gd name="T0" fmla="*/ 196 w 196"/>
                <a:gd name="T1" fmla="*/ 20 h 51"/>
                <a:gd name="T2" fmla="*/ 4 w 196"/>
                <a:gd name="T3" fmla="*/ 51 h 51"/>
                <a:gd name="T4" fmla="*/ 0 w 196"/>
                <a:gd name="T5" fmla="*/ 31 h 51"/>
                <a:gd name="T6" fmla="*/ 192 w 196"/>
                <a:gd name="T7" fmla="*/ 0 h 51"/>
                <a:gd name="T8" fmla="*/ 196 w 196"/>
                <a:gd name="T9" fmla="*/ 2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6" h="51">
                  <a:moveTo>
                    <a:pt x="196" y="20"/>
                  </a:moveTo>
                  <a:lnTo>
                    <a:pt x="4" y="51"/>
                  </a:lnTo>
                  <a:lnTo>
                    <a:pt x="0" y="31"/>
                  </a:lnTo>
                  <a:lnTo>
                    <a:pt x="192" y="0"/>
                  </a:lnTo>
                  <a:lnTo>
                    <a:pt x="196" y="20"/>
                  </a:lnTo>
                  <a:close/>
                </a:path>
              </a:pathLst>
            </a:custGeom>
            <a:solidFill>
              <a:srgbClr val="5E82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25" name="Freeform 199"/>
            <p:cNvSpPr/>
            <p:nvPr userDrawn="1"/>
          </p:nvSpPr>
          <p:spPr bwMode="auto">
            <a:xfrm>
              <a:off x="4953793" y="3333751"/>
              <a:ext cx="201613" cy="63500"/>
            </a:xfrm>
            <a:custGeom>
              <a:avLst/>
              <a:gdLst>
                <a:gd name="T0" fmla="*/ 127 w 127"/>
                <a:gd name="T1" fmla="*/ 21 h 40"/>
                <a:gd name="T2" fmla="*/ 4 w 127"/>
                <a:gd name="T3" fmla="*/ 40 h 40"/>
                <a:gd name="T4" fmla="*/ 0 w 127"/>
                <a:gd name="T5" fmla="*/ 21 h 40"/>
                <a:gd name="T6" fmla="*/ 124 w 127"/>
                <a:gd name="T7" fmla="*/ 0 h 40"/>
                <a:gd name="T8" fmla="*/ 127 w 127"/>
                <a:gd name="T9" fmla="*/ 21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40">
                  <a:moveTo>
                    <a:pt x="127" y="21"/>
                  </a:moveTo>
                  <a:lnTo>
                    <a:pt x="4" y="40"/>
                  </a:lnTo>
                  <a:lnTo>
                    <a:pt x="0" y="21"/>
                  </a:lnTo>
                  <a:lnTo>
                    <a:pt x="124" y="0"/>
                  </a:lnTo>
                  <a:lnTo>
                    <a:pt x="127" y="21"/>
                  </a:lnTo>
                  <a:close/>
                </a:path>
              </a:pathLst>
            </a:custGeom>
            <a:solidFill>
              <a:srgbClr val="5E82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26" name="Freeform 200"/>
            <p:cNvSpPr/>
            <p:nvPr userDrawn="1"/>
          </p:nvSpPr>
          <p:spPr bwMode="auto">
            <a:xfrm>
              <a:off x="5150643" y="3459163"/>
              <a:ext cx="138113" cy="53975"/>
            </a:xfrm>
            <a:custGeom>
              <a:avLst/>
              <a:gdLst>
                <a:gd name="T0" fmla="*/ 87 w 87"/>
                <a:gd name="T1" fmla="*/ 21 h 34"/>
                <a:gd name="T2" fmla="*/ 3 w 87"/>
                <a:gd name="T3" fmla="*/ 34 h 34"/>
                <a:gd name="T4" fmla="*/ 0 w 87"/>
                <a:gd name="T5" fmla="*/ 14 h 34"/>
                <a:gd name="T6" fmla="*/ 84 w 87"/>
                <a:gd name="T7" fmla="*/ 0 h 34"/>
                <a:gd name="T8" fmla="*/ 87 w 87"/>
                <a:gd name="T9" fmla="*/ 2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34">
                  <a:moveTo>
                    <a:pt x="87" y="21"/>
                  </a:moveTo>
                  <a:lnTo>
                    <a:pt x="3" y="34"/>
                  </a:lnTo>
                  <a:lnTo>
                    <a:pt x="0" y="14"/>
                  </a:lnTo>
                  <a:lnTo>
                    <a:pt x="84" y="0"/>
                  </a:lnTo>
                  <a:lnTo>
                    <a:pt x="87" y="21"/>
                  </a:lnTo>
                  <a:close/>
                </a:path>
              </a:pathLst>
            </a:custGeom>
            <a:solidFill>
              <a:srgbClr val="4058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27" name="Freeform 201"/>
            <p:cNvSpPr/>
            <p:nvPr userDrawn="1"/>
          </p:nvSpPr>
          <p:spPr bwMode="auto">
            <a:xfrm>
              <a:off x="4307681" y="3073401"/>
              <a:ext cx="485775" cy="514350"/>
            </a:xfrm>
            <a:custGeom>
              <a:avLst/>
              <a:gdLst>
                <a:gd name="T0" fmla="*/ 98 w 179"/>
                <a:gd name="T1" fmla="*/ 189 h 189"/>
                <a:gd name="T2" fmla="*/ 0 w 179"/>
                <a:gd name="T3" fmla="*/ 29 h 189"/>
                <a:gd name="T4" fmla="*/ 146 w 179"/>
                <a:gd name="T5" fmla="*/ 0 h 189"/>
                <a:gd name="T6" fmla="*/ 98 w 179"/>
                <a:gd name="T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9" h="189">
                  <a:moveTo>
                    <a:pt x="98" y="189"/>
                  </a:moveTo>
                  <a:cubicBezTo>
                    <a:pt x="98" y="189"/>
                    <a:pt x="99" y="104"/>
                    <a:pt x="0" y="29"/>
                  </a:cubicBezTo>
                  <a:cubicBezTo>
                    <a:pt x="146" y="0"/>
                    <a:pt x="146" y="0"/>
                    <a:pt x="146" y="0"/>
                  </a:cubicBezTo>
                  <a:cubicBezTo>
                    <a:pt x="179" y="93"/>
                    <a:pt x="98" y="189"/>
                    <a:pt x="98" y="18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28" name="Freeform 202"/>
            <p:cNvSpPr/>
            <p:nvPr userDrawn="1"/>
          </p:nvSpPr>
          <p:spPr bwMode="auto">
            <a:xfrm>
              <a:off x="4293393" y="3027363"/>
              <a:ext cx="415925" cy="160338"/>
            </a:xfrm>
            <a:custGeom>
              <a:avLst/>
              <a:gdLst>
                <a:gd name="T0" fmla="*/ 151 w 153"/>
                <a:gd name="T1" fmla="*/ 17 h 59"/>
                <a:gd name="T2" fmla="*/ 80 w 153"/>
                <a:gd name="T3" fmla="*/ 52 h 59"/>
                <a:gd name="T4" fmla="*/ 2 w 153"/>
                <a:gd name="T5" fmla="*/ 41 h 59"/>
                <a:gd name="T6" fmla="*/ 73 w 153"/>
                <a:gd name="T7" fmla="*/ 6 h 59"/>
                <a:gd name="T8" fmla="*/ 151 w 153"/>
                <a:gd name="T9" fmla="*/ 17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3" h="59">
                  <a:moveTo>
                    <a:pt x="151" y="17"/>
                  </a:moveTo>
                  <a:cubicBezTo>
                    <a:pt x="153" y="29"/>
                    <a:pt x="121" y="45"/>
                    <a:pt x="80" y="52"/>
                  </a:cubicBezTo>
                  <a:cubicBezTo>
                    <a:pt x="39" y="59"/>
                    <a:pt x="4" y="54"/>
                    <a:pt x="2" y="41"/>
                  </a:cubicBezTo>
                  <a:cubicBezTo>
                    <a:pt x="0" y="29"/>
                    <a:pt x="32" y="13"/>
                    <a:pt x="73" y="6"/>
                  </a:cubicBezTo>
                  <a:cubicBezTo>
                    <a:pt x="114" y="0"/>
                    <a:pt x="149" y="4"/>
                    <a:pt x="151" y="1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29" name="Freeform 203"/>
            <p:cNvSpPr/>
            <p:nvPr userDrawn="1"/>
          </p:nvSpPr>
          <p:spPr bwMode="auto">
            <a:xfrm>
              <a:off x="4337843" y="3040063"/>
              <a:ext cx="333375" cy="131763"/>
            </a:xfrm>
            <a:custGeom>
              <a:avLst/>
              <a:gdLst>
                <a:gd name="T0" fmla="*/ 121 w 123"/>
                <a:gd name="T1" fmla="*/ 14 h 48"/>
                <a:gd name="T2" fmla="*/ 64 w 123"/>
                <a:gd name="T3" fmla="*/ 42 h 48"/>
                <a:gd name="T4" fmla="*/ 1 w 123"/>
                <a:gd name="T5" fmla="*/ 34 h 48"/>
                <a:gd name="T6" fmla="*/ 58 w 123"/>
                <a:gd name="T7" fmla="*/ 6 h 48"/>
                <a:gd name="T8" fmla="*/ 121 w 123"/>
                <a:gd name="T9" fmla="*/ 1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3" h="48">
                  <a:moveTo>
                    <a:pt x="121" y="14"/>
                  </a:moveTo>
                  <a:cubicBezTo>
                    <a:pt x="123" y="24"/>
                    <a:pt x="97" y="37"/>
                    <a:pt x="64" y="42"/>
                  </a:cubicBezTo>
                  <a:cubicBezTo>
                    <a:pt x="31" y="48"/>
                    <a:pt x="3" y="44"/>
                    <a:pt x="1" y="34"/>
                  </a:cubicBezTo>
                  <a:cubicBezTo>
                    <a:pt x="0" y="24"/>
                    <a:pt x="25" y="11"/>
                    <a:pt x="58" y="6"/>
                  </a:cubicBezTo>
                  <a:cubicBezTo>
                    <a:pt x="91" y="0"/>
                    <a:pt x="120" y="4"/>
                    <a:pt x="121" y="1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30" name="Freeform 204"/>
            <p:cNvSpPr/>
            <p:nvPr userDrawn="1"/>
          </p:nvSpPr>
          <p:spPr bwMode="auto">
            <a:xfrm>
              <a:off x="4375943" y="3062288"/>
              <a:ext cx="257175" cy="98425"/>
            </a:xfrm>
            <a:custGeom>
              <a:avLst/>
              <a:gdLst>
                <a:gd name="T0" fmla="*/ 94 w 95"/>
                <a:gd name="T1" fmla="*/ 10 h 36"/>
                <a:gd name="T2" fmla="*/ 50 w 95"/>
                <a:gd name="T3" fmla="*/ 32 h 36"/>
                <a:gd name="T4" fmla="*/ 1 w 95"/>
                <a:gd name="T5" fmla="*/ 26 h 36"/>
                <a:gd name="T6" fmla="*/ 45 w 95"/>
                <a:gd name="T7" fmla="*/ 4 h 36"/>
                <a:gd name="T8" fmla="*/ 94 w 95"/>
                <a:gd name="T9" fmla="*/ 1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5" h="36">
                  <a:moveTo>
                    <a:pt x="94" y="10"/>
                  </a:moveTo>
                  <a:cubicBezTo>
                    <a:pt x="95" y="18"/>
                    <a:pt x="75" y="28"/>
                    <a:pt x="50" y="32"/>
                  </a:cubicBezTo>
                  <a:cubicBezTo>
                    <a:pt x="24" y="36"/>
                    <a:pt x="2" y="34"/>
                    <a:pt x="1" y="26"/>
                  </a:cubicBezTo>
                  <a:cubicBezTo>
                    <a:pt x="0" y="18"/>
                    <a:pt x="19" y="8"/>
                    <a:pt x="45" y="4"/>
                  </a:cubicBezTo>
                  <a:cubicBezTo>
                    <a:pt x="70" y="0"/>
                    <a:pt x="92" y="3"/>
                    <a:pt x="94" y="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31" name="Freeform 206"/>
            <p:cNvSpPr/>
            <p:nvPr userDrawn="1"/>
          </p:nvSpPr>
          <p:spPr bwMode="auto">
            <a:xfrm>
              <a:off x="4410868" y="3078163"/>
              <a:ext cx="190500" cy="74613"/>
            </a:xfrm>
            <a:custGeom>
              <a:avLst/>
              <a:gdLst>
                <a:gd name="T0" fmla="*/ 69 w 70"/>
                <a:gd name="T1" fmla="*/ 8 h 27"/>
                <a:gd name="T2" fmla="*/ 37 w 70"/>
                <a:gd name="T3" fmla="*/ 24 h 27"/>
                <a:gd name="T4" fmla="*/ 1 w 70"/>
                <a:gd name="T5" fmla="*/ 19 h 27"/>
                <a:gd name="T6" fmla="*/ 33 w 70"/>
                <a:gd name="T7" fmla="*/ 3 h 27"/>
                <a:gd name="T8" fmla="*/ 69 w 70"/>
                <a:gd name="T9" fmla="*/ 8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27">
                  <a:moveTo>
                    <a:pt x="69" y="8"/>
                  </a:moveTo>
                  <a:cubicBezTo>
                    <a:pt x="70" y="14"/>
                    <a:pt x="55" y="21"/>
                    <a:pt x="37" y="24"/>
                  </a:cubicBezTo>
                  <a:cubicBezTo>
                    <a:pt x="18" y="27"/>
                    <a:pt x="2" y="25"/>
                    <a:pt x="1" y="19"/>
                  </a:cubicBezTo>
                  <a:cubicBezTo>
                    <a:pt x="0" y="14"/>
                    <a:pt x="14" y="6"/>
                    <a:pt x="33" y="3"/>
                  </a:cubicBezTo>
                  <a:cubicBezTo>
                    <a:pt x="52" y="0"/>
                    <a:pt x="68" y="2"/>
                    <a:pt x="69" y="8"/>
                  </a:cubicBezTo>
                  <a:close/>
                </a:path>
              </a:pathLst>
            </a:custGeom>
            <a:solidFill>
              <a:srgbClr val="6E6E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32" name="Freeform 207"/>
            <p:cNvSpPr/>
            <p:nvPr userDrawn="1"/>
          </p:nvSpPr>
          <p:spPr bwMode="auto">
            <a:xfrm>
              <a:off x="4421981" y="3228975"/>
              <a:ext cx="225425" cy="57150"/>
            </a:xfrm>
            <a:custGeom>
              <a:avLst/>
              <a:gdLst>
                <a:gd name="T0" fmla="*/ 9 w 83"/>
                <a:gd name="T1" fmla="*/ 21 h 21"/>
                <a:gd name="T2" fmla="*/ 0 w 83"/>
                <a:gd name="T3" fmla="*/ 10 h 21"/>
                <a:gd name="T4" fmla="*/ 83 w 83"/>
                <a:gd name="T5" fmla="*/ 0 h 21"/>
                <a:gd name="T6" fmla="*/ 9 w 83"/>
                <a:gd name="T7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3" h="21">
                  <a:moveTo>
                    <a:pt x="9" y="21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29" y="15"/>
                    <a:pt x="83" y="0"/>
                  </a:cubicBezTo>
                  <a:cubicBezTo>
                    <a:pt x="47" y="20"/>
                    <a:pt x="9" y="21"/>
                    <a:pt x="9" y="21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33" name="Freeform 208"/>
            <p:cNvSpPr/>
            <p:nvPr userDrawn="1"/>
          </p:nvSpPr>
          <p:spPr bwMode="auto">
            <a:xfrm>
              <a:off x="4556918" y="3352800"/>
              <a:ext cx="144463" cy="49213"/>
            </a:xfrm>
            <a:custGeom>
              <a:avLst/>
              <a:gdLst>
                <a:gd name="T0" fmla="*/ 49 w 53"/>
                <a:gd name="T1" fmla="*/ 10 h 18"/>
                <a:gd name="T2" fmla="*/ 0 w 53"/>
                <a:gd name="T3" fmla="*/ 13 h 18"/>
                <a:gd name="T4" fmla="*/ 53 w 53"/>
                <a:gd name="T5" fmla="*/ 0 h 18"/>
                <a:gd name="T6" fmla="*/ 49 w 53"/>
                <a:gd name="T7" fmla="*/ 1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3" h="18">
                  <a:moveTo>
                    <a:pt x="49" y="10"/>
                  </a:moveTo>
                  <a:cubicBezTo>
                    <a:pt x="49" y="10"/>
                    <a:pt x="25" y="18"/>
                    <a:pt x="0" y="13"/>
                  </a:cubicBezTo>
                  <a:cubicBezTo>
                    <a:pt x="30" y="12"/>
                    <a:pt x="53" y="0"/>
                    <a:pt x="53" y="0"/>
                  </a:cubicBezTo>
                  <a:lnTo>
                    <a:pt x="49" y="1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34" name="Freeform 209"/>
            <p:cNvSpPr/>
            <p:nvPr userDrawn="1"/>
          </p:nvSpPr>
          <p:spPr bwMode="auto">
            <a:xfrm>
              <a:off x="4263231" y="3413125"/>
              <a:ext cx="236538" cy="63500"/>
            </a:xfrm>
            <a:custGeom>
              <a:avLst/>
              <a:gdLst>
                <a:gd name="T0" fmla="*/ 84 w 87"/>
                <a:gd name="T1" fmla="*/ 8 h 23"/>
                <a:gd name="T2" fmla="*/ 5 w 87"/>
                <a:gd name="T3" fmla="*/ 23 h 23"/>
                <a:gd name="T4" fmla="*/ 0 w 87"/>
                <a:gd name="T5" fmla="*/ 20 h 23"/>
                <a:gd name="T6" fmla="*/ 3 w 87"/>
                <a:gd name="T7" fmla="*/ 15 h 23"/>
                <a:gd name="T8" fmla="*/ 82 w 87"/>
                <a:gd name="T9" fmla="*/ 1 h 23"/>
                <a:gd name="T10" fmla="*/ 87 w 87"/>
                <a:gd name="T11" fmla="*/ 4 h 23"/>
                <a:gd name="T12" fmla="*/ 84 w 87"/>
                <a:gd name="T13" fmla="*/ 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23">
                  <a:moveTo>
                    <a:pt x="84" y="8"/>
                  </a:moveTo>
                  <a:cubicBezTo>
                    <a:pt x="5" y="23"/>
                    <a:pt x="5" y="23"/>
                    <a:pt x="5" y="23"/>
                  </a:cubicBezTo>
                  <a:cubicBezTo>
                    <a:pt x="3" y="23"/>
                    <a:pt x="1" y="22"/>
                    <a:pt x="0" y="20"/>
                  </a:cubicBezTo>
                  <a:cubicBezTo>
                    <a:pt x="0" y="18"/>
                    <a:pt x="1" y="16"/>
                    <a:pt x="3" y="15"/>
                  </a:cubicBezTo>
                  <a:cubicBezTo>
                    <a:pt x="82" y="1"/>
                    <a:pt x="82" y="1"/>
                    <a:pt x="82" y="1"/>
                  </a:cubicBezTo>
                  <a:cubicBezTo>
                    <a:pt x="84" y="0"/>
                    <a:pt x="86" y="2"/>
                    <a:pt x="87" y="4"/>
                  </a:cubicBezTo>
                  <a:cubicBezTo>
                    <a:pt x="87" y="6"/>
                    <a:pt x="86" y="8"/>
                    <a:pt x="84" y="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35" name="Freeform 210"/>
            <p:cNvSpPr/>
            <p:nvPr userDrawn="1"/>
          </p:nvSpPr>
          <p:spPr bwMode="auto">
            <a:xfrm>
              <a:off x="4252118" y="3362325"/>
              <a:ext cx="201613" cy="53975"/>
            </a:xfrm>
            <a:custGeom>
              <a:avLst/>
              <a:gdLst>
                <a:gd name="T0" fmla="*/ 70 w 74"/>
                <a:gd name="T1" fmla="*/ 8 h 20"/>
                <a:gd name="T2" fmla="*/ 5 w 74"/>
                <a:gd name="T3" fmla="*/ 20 h 20"/>
                <a:gd name="T4" fmla="*/ 0 w 74"/>
                <a:gd name="T5" fmla="*/ 17 h 20"/>
                <a:gd name="T6" fmla="*/ 3 w 74"/>
                <a:gd name="T7" fmla="*/ 12 h 20"/>
                <a:gd name="T8" fmla="*/ 69 w 74"/>
                <a:gd name="T9" fmla="*/ 0 h 20"/>
                <a:gd name="T10" fmla="*/ 74 w 74"/>
                <a:gd name="T11" fmla="*/ 3 h 20"/>
                <a:gd name="T12" fmla="*/ 70 w 74"/>
                <a:gd name="T13" fmla="*/ 8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4" h="20">
                  <a:moveTo>
                    <a:pt x="70" y="8"/>
                  </a:moveTo>
                  <a:cubicBezTo>
                    <a:pt x="5" y="20"/>
                    <a:pt x="5" y="20"/>
                    <a:pt x="5" y="20"/>
                  </a:cubicBezTo>
                  <a:cubicBezTo>
                    <a:pt x="3" y="20"/>
                    <a:pt x="0" y="19"/>
                    <a:pt x="0" y="17"/>
                  </a:cubicBezTo>
                  <a:cubicBezTo>
                    <a:pt x="0" y="15"/>
                    <a:pt x="1" y="13"/>
                    <a:pt x="3" y="12"/>
                  </a:cubicBezTo>
                  <a:cubicBezTo>
                    <a:pt x="69" y="0"/>
                    <a:pt x="69" y="0"/>
                    <a:pt x="69" y="0"/>
                  </a:cubicBezTo>
                  <a:cubicBezTo>
                    <a:pt x="71" y="0"/>
                    <a:pt x="73" y="1"/>
                    <a:pt x="74" y="3"/>
                  </a:cubicBezTo>
                  <a:cubicBezTo>
                    <a:pt x="74" y="5"/>
                    <a:pt x="73" y="7"/>
                    <a:pt x="70" y="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36" name="Freeform 211"/>
            <p:cNvSpPr/>
            <p:nvPr userDrawn="1"/>
          </p:nvSpPr>
          <p:spPr bwMode="auto">
            <a:xfrm>
              <a:off x="4250531" y="3306763"/>
              <a:ext cx="163513" cy="49213"/>
            </a:xfrm>
            <a:custGeom>
              <a:avLst/>
              <a:gdLst>
                <a:gd name="T0" fmla="*/ 57 w 60"/>
                <a:gd name="T1" fmla="*/ 8 h 18"/>
                <a:gd name="T2" fmla="*/ 4 w 60"/>
                <a:gd name="T3" fmla="*/ 17 h 18"/>
                <a:gd name="T4" fmla="*/ 0 w 60"/>
                <a:gd name="T5" fmla="*/ 14 h 18"/>
                <a:gd name="T6" fmla="*/ 3 w 60"/>
                <a:gd name="T7" fmla="*/ 10 h 18"/>
                <a:gd name="T8" fmla="*/ 56 w 60"/>
                <a:gd name="T9" fmla="*/ 0 h 18"/>
                <a:gd name="T10" fmla="*/ 60 w 60"/>
                <a:gd name="T11" fmla="*/ 3 h 18"/>
                <a:gd name="T12" fmla="*/ 57 w 60"/>
                <a:gd name="T13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18">
                  <a:moveTo>
                    <a:pt x="57" y="8"/>
                  </a:moveTo>
                  <a:cubicBezTo>
                    <a:pt x="4" y="17"/>
                    <a:pt x="4" y="17"/>
                    <a:pt x="4" y="17"/>
                  </a:cubicBezTo>
                  <a:cubicBezTo>
                    <a:pt x="2" y="18"/>
                    <a:pt x="0" y="16"/>
                    <a:pt x="0" y="14"/>
                  </a:cubicBezTo>
                  <a:cubicBezTo>
                    <a:pt x="0" y="12"/>
                    <a:pt x="1" y="10"/>
                    <a:pt x="3" y="1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8" y="0"/>
                    <a:pt x="60" y="1"/>
                    <a:pt x="60" y="3"/>
                  </a:cubicBezTo>
                  <a:cubicBezTo>
                    <a:pt x="60" y="5"/>
                    <a:pt x="59" y="7"/>
                    <a:pt x="57" y="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37" name="Freeform 212"/>
            <p:cNvSpPr/>
            <p:nvPr userDrawn="1"/>
          </p:nvSpPr>
          <p:spPr bwMode="auto">
            <a:xfrm>
              <a:off x="7439818" y="2671763"/>
              <a:ext cx="433388" cy="387350"/>
            </a:xfrm>
            <a:custGeom>
              <a:avLst/>
              <a:gdLst>
                <a:gd name="T0" fmla="*/ 273 w 273"/>
                <a:gd name="T1" fmla="*/ 107 h 244"/>
                <a:gd name="T2" fmla="*/ 82 w 273"/>
                <a:gd name="T3" fmla="*/ 244 h 244"/>
                <a:gd name="T4" fmla="*/ 0 w 273"/>
                <a:gd name="T5" fmla="*/ 193 h 244"/>
                <a:gd name="T6" fmla="*/ 267 w 273"/>
                <a:gd name="T7" fmla="*/ 0 h 244"/>
                <a:gd name="T8" fmla="*/ 273 w 273"/>
                <a:gd name="T9" fmla="*/ 107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3" h="244">
                  <a:moveTo>
                    <a:pt x="273" y="107"/>
                  </a:moveTo>
                  <a:lnTo>
                    <a:pt x="82" y="244"/>
                  </a:lnTo>
                  <a:lnTo>
                    <a:pt x="0" y="193"/>
                  </a:lnTo>
                  <a:lnTo>
                    <a:pt x="267" y="0"/>
                  </a:lnTo>
                  <a:lnTo>
                    <a:pt x="273" y="107"/>
                  </a:lnTo>
                  <a:close/>
                </a:path>
              </a:pathLst>
            </a:custGeom>
            <a:solidFill>
              <a:srgbClr val="3B4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38" name="Freeform 213"/>
            <p:cNvSpPr/>
            <p:nvPr userDrawn="1"/>
          </p:nvSpPr>
          <p:spPr bwMode="auto">
            <a:xfrm>
              <a:off x="7504906" y="2692400"/>
              <a:ext cx="215900" cy="193675"/>
            </a:xfrm>
            <a:custGeom>
              <a:avLst/>
              <a:gdLst>
                <a:gd name="T0" fmla="*/ 96 w 136"/>
                <a:gd name="T1" fmla="*/ 0 h 122"/>
                <a:gd name="T2" fmla="*/ 0 w 136"/>
                <a:gd name="T3" fmla="*/ 69 h 122"/>
                <a:gd name="T4" fmla="*/ 40 w 136"/>
                <a:gd name="T5" fmla="*/ 122 h 122"/>
                <a:gd name="T6" fmla="*/ 136 w 136"/>
                <a:gd name="T7" fmla="*/ 53 h 122"/>
                <a:gd name="T8" fmla="*/ 96 w 136"/>
                <a:gd name="T9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6" h="122">
                  <a:moveTo>
                    <a:pt x="96" y="0"/>
                  </a:moveTo>
                  <a:lnTo>
                    <a:pt x="0" y="69"/>
                  </a:lnTo>
                  <a:lnTo>
                    <a:pt x="40" y="122"/>
                  </a:lnTo>
                  <a:lnTo>
                    <a:pt x="136" y="53"/>
                  </a:lnTo>
                  <a:lnTo>
                    <a:pt x="96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39" name="Freeform 214"/>
            <p:cNvSpPr/>
            <p:nvPr userDrawn="1"/>
          </p:nvSpPr>
          <p:spPr bwMode="auto">
            <a:xfrm>
              <a:off x="7614443" y="2730500"/>
              <a:ext cx="61913" cy="65088"/>
            </a:xfrm>
            <a:custGeom>
              <a:avLst/>
              <a:gdLst>
                <a:gd name="T0" fmla="*/ 20 w 23"/>
                <a:gd name="T1" fmla="*/ 6 h 24"/>
                <a:gd name="T2" fmla="*/ 18 w 23"/>
                <a:gd name="T3" fmla="*/ 21 h 24"/>
                <a:gd name="T4" fmla="*/ 3 w 23"/>
                <a:gd name="T5" fmla="*/ 18 h 24"/>
                <a:gd name="T6" fmla="*/ 5 w 23"/>
                <a:gd name="T7" fmla="*/ 3 h 24"/>
                <a:gd name="T8" fmla="*/ 20 w 23"/>
                <a:gd name="T9" fmla="*/ 6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4">
                  <a:moveTo>
                    <a:pt x="20" y="6"/>
                  </a:moveTo>
                  <a:cubicBezTo>
                    <a:pt x="23" y="11"/>
                    <a:pt x="22" y="17"/>
                    <a:pt x="18" y="21"/>
                  </a:cubicBezTo>
                  <a:cubicBezTo>
                    <a:pt x="13" y="24"/>
                    <a:pt x="6" y="23"/>
                    <a:pt x="3" y="18"/>
                  </a:cubicBezTo>
                  <a:cubicBezTo>
                    <a:pt x="0" y="13"/>
                    <a:pt x="0" y="6"/>
                    <a:pt x="5" y="3"/>
                  </a:cubicBezTo>
                  <a:cubicBezTo>
                    <a:pt x="10" y="0"/>
                    <a:pt x="16" y="1"/>
                    <a:pt x="20" y="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40" name="Freeform 215"/>
            <p:cNvSpPr/>
            <p:nvPr userDrawn="1"/>
          </p:nvSpPr>
          <p:spPr bwMode="auto">
            <a:xfrm>
              <a:off x="7619206" y="2736850"/>
              <a:ext cx="52388" cy="53975"/>
            </a:xfrm>
            <a:custGeom>
              <a:avLst/>
              <a:gdLst>
                <a:gd name="T0" fmla="*/ 16 w 19"/>
                <a:gd name="T1" fmla="*/ 5 h 20"/>
                <a:gd name="T2" fmla="*/ 15 w 19"/>
                <a:gd name="T3" fmla="*/ 17 h 20"/>
                <a:gd name="T4" fmla="*/ 2 w 19"/>
                <a:gd name="T5" fmla="*/ 15 h 20"/>
                <a:gd name="T6" fmla="*/ 4 w 19"/>
                <a:gd name="T7" fmla="*/ 3 h 20"/>
                <a:gd name="T8" fmla="*/ 16 w 19"/>
                <a:gd name="T9" fmla="*/ 5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20">
                  <a:moveTo>
                    <a:pt x="16" y="5"/>
                  </a:moveTo>
                  <a:cubicBezTo>
                    <a:pt x="19" y="9"/>
                    <a:pt x="18" y="14"/>
                    <a:pt x="15" y="17"/>
                  </a:cubicBezTo>
                  <a:cubicBezTo>
                    <a:pt x="11" y="20"/>
                    <a:pt x="5" y="19"/>
                    <a:pt x="2" y="15"/>
                  </a:cubicBezTo>
                  <a:cubicBezTo>
                    <a:pt x="0" y="11"/>
                    <a:pt x="0" y="5"/>
                    <a:pt x="4" y="3"/>
                  </a:cubicBezTo>
                  <a:cubicBezTo>
                    <a:pt x="8" y="0"/>
                    <a:pt x="14" y="1"/>
                    <a:pt x="16" y="5"/>
                  </a:cubicBezTo>
                  <a:close/>
                </a:path>
              </a:pathLst>
            </a:custGeom>
            <a:solidFill>
              <a:srgbClr val="77A7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41" name="Freeform 216"/>
            <p:cNvSpPr/>
            <p:nvPr userDrawn="1"/>
          </p:nvSpPr>
          <p:spPr bwMode="auto">
            <a:xfrm>
              <a:off x="7469981" y="2727325"/>
              <a:ext cx="49213" cy="68263"/>
            </a:xfrm>
            <a:custGeom>
              <a:avLst/>
              <a:gdLst>
                <a:gd name="T0" fmla="*/ 3 w 31"/>
                <a:gd name="T1" fmla="*/ 0 h 43"/>
                <a:gd name="T2" fmla="*/ 0 w 31"/>
                <a:gd name="T3" fmla="*/ 4 h 43"/>
                <a:gd name="T4" fmla="*/ 27 w 31"/>
                <a:gd name="T5" fmla="*/ 43 h 43"/>
                <a:gd name="T6" fmla="*/ 31 w 31"/>
                <a:gd name="T7" fmla="*/ 40 h 43"/>
                <a:gd name="T8" fmla="*/ 3 w 31"/>
                <a:gd name="T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43">
                  <a:moveTo>
                    <a:pt x="3" y="0"/>
                  </a:moveTo>
                  <a:lnTo>
                    <a:pt x="0" y="4"/>
                  </a:lnTo>
                  <a:lnTo>
                    <a:pt x="27" y="43"/>
                  </a:lnTo>
                  <a:lnTo>
                    <a:pt x="31" y="4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42" name="Freeform 217"/>
            <p:cNvSpPr/>
            <p:nvPr userDrawn="1"/>
          </p:nvSpPr>
          <p:spPr bwMode="auto">
            <a:xfrm>
              <a:off x="7398543" y="2733675"/>
              <a:ext cx="95250" cy="84138"/>
            </a:xfrm>
            <a:custGeom>
              <a:avLst/>
              <a:gdLst>
                <a:gd name="T0" fmla="*/ 16 w 60"/>
                <a:gd name="T1" fmla="*/ 53 h 53"/>
                <a:gd name="T2" fmla="*/ 60 w 60"/>
                <a:gd name="T3" fmla="*/ 20 h 53"/>
                <a:gd name="T4" fmla="*/ 45 w 60"/>
                <a:gd name="T5" fmla="*/ 0 h 53"/>
                <a:gd name="T6" fmla="*/ 0 w 60"/>
                <a:gd name="T7" fmla="*/ 32 h 53"/>
                <a:gd name="T8" fmla="*/ 21 w 60"/>
                <a:gd name="T9" fmla="*/ 34 h 53"/>
                <a:gd name="T10" fmla="*/ 16 w 60"/>
                <a:gd name="T11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0" h="53">
                  <a:moveTo>
                    <a:pt x="16" y="53"/>
                  </a:moveTo>
                  <a:lnTo>
                    <a:pt x="60" y="20"/>
                  </a:lnTo>
                  <a:lnTo>
                    <a:pt x="45" y="0"/>
                  </a:lnTo>
                  <a:lnTo>
                    <a:pt x="0" y="32"/>
                  </a:lnTo>
                  <a:lnTo>
                    <a:pt x="21" y="34"/>
                  </a:lnTo>
                  <a:lnTo>
                    <a:pt x="16" y="53"/>
                  </a:ln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43" name="Freeform 218"/>
            <p:cNvSpPr/>
            <p:nvPr userDrawn="1"/>
          </p:nvSpPr>
          <p:spPr bwMode="auto">
            <a:xfrm>
              <a:off x="7466806" y="2708275"/>
              <a:ext cx="403225" cy="304800"/>
            </a:xfrm>
            <a:custGeom>
              <a:avLst/>
              <a:gdLst>
                <a:gd name="T0" fmla="*/ 254 w 254"/>
                <a:gd name="T1" fmla="*/ 23 h 192"/>
                <a:gd name="T2" fmla="*/ 17 w 254"/>
                <a:gd name="T3" fmla="*/ 192 h 192"/>
                <a:gd name="T4" fmla="*/ 0 w 254"/>
                <a:gd name="T5" fmla="*/ 180 h 192"/>
                <a:gd name="T6" fmla="*/ 252 w 254"/>
                <a:gd name="T7" fmla="*/ 0 h 192"/>
                <a:gd name="T8" fmla="*/ 254 w 254"/>
                <a:gd name="T9" fmla="*/ 23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4" h="192">
                  <a:moveTo>
                    <a:pt x="254" y="23"/>
                  </a:moveTo>
                  <a:lnTo>
                    <a:pt x="17" y="192"/>
                  </a:lnTo>
                  <a:lnTo>
                    <a:pt x="0" y="180"/>
                  </a:lnTo>
                  <a:lnTo>
                    <a:pt x="252" y="0"/>
                  </a:lnTo>
                  <a:lnTo>
                    <a:pt x="254" y="23"/>
                  </a:lnTo>
                  <a:close/>
                </a:path>
              </a:pathLst>
            </a:custGeom>
            <a:solidFill>
              <a:srgbClr val="A35C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44" name="Freeform 219"/>
            <p:cNvSpPr/>
            <p:nvPr userDrawn="1"/>
          </p:nvSpPr>
          <p:spPr bwMode="auto">
            <a:xfrm>
              <a:off x="7417593" y="2909888"/>
              <a:ext cx="490538" cy="136525"/>
            </a:xfrm>
            <a:custGeom>
              <a:avLst/>
              <a:gdLst>
                <a:gd name="T0" fmla="*/ 171 w 180"/>
                <a:gd name="T1" fmla="*/ 49 h 50"/>
                <a:gd name="T2" fmla="*/ 168 w 180"/>
                <a:gd name="T3" fmla="*/ 47 h 50"/>
                <a:gd name="T4" fmla="*/ 136 w 180"/>
                <a:gd name="T5" fmla="*/ 32 h 50"/>
                <a:gd name="T6" fmla="*/ 116 w 180"/>
                <a:gd name="T7" fmla="*/ 34 h 50"/>
                <a:gd name="T8" fmla="*/ 91 w 180"/>
                <a:gd name="T9" fmla="*/ 36 h 50"/>
                <a:gd name="T10" fmla="*/ 65 w 180"/>
                <a:gd name="T11" fmla="*/ 26 h 50"/>
                <a:gd name="T12" fmla="*/ 47 w 180"/>
                <a:gd name="T13" fmla="*/ 18 h 50"/>
                <a:gd name="T14" fmla="*/ 11 w 180"/>
                <a:gd name="T15" fmla="*/ 22 h 50"/>
                <a:gd name="T16" fmla="*/ 2 w 180"/>
                <a:gd name="T17" fmla="*/ 19 h 50"/>
                <a:gd name="T18" fmla="*/ 4 w 180"/>
                <a:gd name="T19" fmla="*/ 10 h 50"/>
                <a:gd name="T20" fmla="*/ 49 w 180"/>
                <a:gd name="T21" fmla="*/ 5 h 50"/>
                <a:gd name="T22" fmla="*/ 73 w 180"/>
                <a:gd name="T23" fmla="*/ 15 h 50"/>
                <a:gd name="T24" fmla="*/ 93 w 180"/>
                <a:gd name="T25" fmla="*/ 23 h 50"/>
                <a:gd name="T26" fmla="*/ 113 w 180"/>
                <a:gd name="T27" fmla="*/ 21 h 50"/>
                <a:gd name="T28" fmla="*/ 138 w 180"/>
                <a:gd name="T29" fmla="*/ 19 h 50"/>
                <a:gd name="T30" fmla="*/ 177 w 180"/>
                <a:gd name="T31" fmla="*/ 38 h 50"/>
                <a:gd name="T32" fmla="*/ 177 w 180"/>
                <a:gd name="T33" fmla="*/ 47 h 50"/>
                <a:gd name="T34" fmla="*/ 171 w 180"/>
                <a:gd name="T35" fmla="*/ 49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0" h="50">
                  <a:moveTo>
                    <a:pt x="171" y="49"/>
                  </a:moveTo>
                  <a:cubicBezTo>
                    <a:pt x="170" y="49"/>
                    <a:pt x="169" y="48"/>
                    <a:pt x="168" y="47"/>
                  </a:cubicBezTo>
                  <a:cubicBezTo>
                    <a:pt x="168" y="47"/>
                    <a:pt x="155" y="35"/>
                    <a:pt x="136" y="32"/>
                  </a:cubicBezTo>
                  <a:cubicBezTo>
                    <a:pt x="130" y="31"/>
                    <a:pt x="123" y="33"/>
                    <a:pt x="116" y="34"/>
                  </a:cubicBezTo>
                  <a:cubicBezTo>
                    <a:pt x="107" y="36"/>
                    <a:pt x="99" y="37"/>
                    <a:pt x="91" y="36"/>
                  </a:cubicBezTo>
                  <a:cubicBezTo>
                    <a:pt x="76" y="34"/>
                    <a:pt x="70" y="29"/>
                    <a:pt x="65" y="26"/>
                  </a:cubicBezTo>
                  <a:cubicBezTo>
                    <a:pt x="61" y="22"/>
                    <a:pt x="58" y="20"/>
                    <a:pt x="47" y="18"/>
                  </a:cubicBezTo>
                  <a:cubicBezTo>
                    <a:pt x="24" y="14"/>
                    <a:pt x="11" y="22"/>
                    <a:pt x="11" y="22"/>
                  </a:cubicBezTo>
                  <a:cubicBezTo>
                    <a:pt x="8" y="23"/>
                    <a:pt x="3" y="22"/>
                    <a:pt x="2" y="19"/>
                  </a:cubicBezTo>
                  <a:cubicBezTo>
                    <a:pt x="0" y="16"/>
                    <a:pt x="1" y="12"/>
                    <a:pt x="4" y="10"/>
                  </a:cubicBezTo>
                  <a:cubicBezTo>
                    <a:pt x="4" y="10"/>
                    <a:pt x="21" y="0"/>
                    <a:pt x="49" y="5"/>
                  </a:cubicBezTo>
                  <a:cubicBezTo>
                    <a:pt x="63" y="7"/>
                    <a:pt x="69" y="11"/>
                    <a:pt x="73" y="15"/>
                  </a:cubicBezTo>
                  <a:cubicBezTo>
                    <a:pt x="78" y="18"/>
                    <a:pt x="81" y="21"/>
                    <a:pt x="93" y="23"/>
                  </a:cubicBezTo>
                  <a:cubicBezTo>
                    <a:pt x="99" y="24"/>
                    <a:pt x="106" y="22"/>
                    <a:pt x="113" y="21"/>
                  </a:cubicBezTo>
                  <a:cubicBezTo>
                    <a:pt x="122" y="19"/>
                    <a:pt x="130" y="18"/>
                    <a:pt x="138" y="19"/>
                  </a:cubicBezTo>
                  <a:cubicBezTo>
                    <a:pt x="161" y="23"/>
                    <a:pt x="177" y="37"/>
                    <a:pt x="177" y="38"/>
                  </a:cubicBezTo>
                  <a:cubicBezTo>
                    <a:pt x="180" y="40"/>
                    <a:pt x="180" y="45"/>
                    <a:pt x="177" y="47"/>
                  </a:cubicBezTo>
                  <a:cubicBezTo>
                    <a:pt x="176" y="49"/>
                    <a:pt x="173" y="50"/>
                    <a:pt x="171" y="49"/>
                  </a:cubicBezTo>
                  <a:close/>
                </a:path>
              </a:pathLst>
            </a:custGeom>
            <a:solidFill>
              <a:srgbClr val="445F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45" name="Freeform 220"/>
            <p:cNvSpPr/>
            <p:nvPr userDrawn="1"/>
          </p:nvSpPr>
          <p:spPr bwMode="auto">
            <a:xfrm>
              <a:off x="7412831" y="2943225"/>
              <a:ext cx="488950" cy="134938"/>
            </a:xfrm>
            <a:custGeom>
              <a:avLst/>
              <a:gdLst>
                <a:gd name="T0" fmla="*/ 171 w 180"/>
                <a:gd name="T1" fmla="*/ 49 h 50"/>
                <a:gd name="T2" fmla="*/ 168 w 180"/>
                <a:gd name="T3" fmla="*/ 48 h 50"/>
                <a:gd name="T4" fmla="*/ 136 w 180"/>
                <a:gd name="T5" fmla="*/ 32 h 50"/>
                <a:gd name="T6" fmla="*/ 116 w 180"/>
                <a:gd name="T7" fmla="*/ 34 h 50"/>
                <a:gd name="T8" fmla="*/ 91 w 180"/>
                <a:gd name="T9" fmla="*/ 36 h 50"/>
                <a:gd name="T10" fmla="*/ 65 w 180"/>
                <a:gd name="T11" fmla="*/ 26 h 50"/>
                <a:gd name="T12" fmla="*/ 47 w 180"/>
                <a:gd name="T13" fmla="*/ 18 h 50"/>
                <a:gd name="T14" fmla="*/ 11 w 180"/>
                <a:gd name="T15" fmla="*/ 22 h 50"/>
                <a:gd name="T16" fmla="*/ 2 w 180"/>
                <a:gd name="T17" fmla="*/ 19 h 50"/>
                <a:gd name="T18" fmla="*/ 4 w 180"/>
                <a:gd name="T19" fmla="*/ 10 h 50"/>
                <a:gd name="T20" fmla="*/ 49 w 180"/>
                <a:gd name="T21" fmla="*/ 5 h 50"/>
                <a:gd name="T22" fmla="*/ 73 w 180"/>
                <a:gd name="T23" fmla="*/ 15 h 50"/>
                <a:gd name="T24" fmla="*/ 93 w 180"/>
                <a:gd name="T25" fmla="*/ 23 h 50"/>
                <a:gd name="T26" fmla="*/ 113 w 180"/>
                <a:gd name="T27" fmla="*/ 21 h 50"/>
                <a:gd name="T28" fmla="*/ 138 w 180"/>
                <a:gd name="T29" fmla="*/ 19 h 50"/>
                <a:gd name="T30" fmla="*/ 177 w 180"/>
                <a:gd name="T31" fmla="*/ 38 h 50"/>
                <a:gd name="T32" fmla="*/ 177 w 180"/>
                <a:gd name="T33" fmla="*/ 47 h 50"/>
                <a:gd name="T34" fmla="*/ 171 w 180"/>
                <a:gd name="T35" fmla="*/ 49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0" h="50">
                  <a:moveTo>
                    <a:pt x="171" y="49"/>
                  </a:moveTo>
                  <a:cubicBezTo>
                    <a:pt x="170" y="49"/>
                    <a:pt x="169" y="49"/>
                    <a:pt x="168" y="48"/>
                  </a:cubicBezTo>
                  <a:cubicBezTo>
                    <a:pt x="168" y="47"/>
                    <a:pt x="155" y="35"/>
                    <a:pt x="136" y="32"/>
                  </a:cubicBezTo>
                  <a:cubicBezTo>
                    <a:pt x="130" y="31"/>
                    <a:pt x="123" y="33"/>
                    <a:pt x="116" y="34"/>
                  </a:cubicBezTo>
                  <a:cubicBezTo>
                    <a:pt x="108" y="36"/>
                    <a:pt x="99" y="38"/>
                    <a:pt x="91" y="36"/>
                  </a:cubicBezTo>
                  <a:cubicBezTo>
                    <a:pt x="76" y="34"/>
                    <a:pt x="70" y="29"/>
                    <a:pt x="65" y="26"/>
                  </a:cubicBezTo>
                  <a:cubicBezTo>
                    <a:pt x="61" y="22"/>
                    <a:pt x="58" y="20"/>
                    <a:pt x="47" y="18"/>
                  </a:cubicBezTo>
                  <a:cubicBezTo>
                    <a:pt x="24" y="14"/>
                    <a:pt x="11" y="22"/>
                    <a:pt x="11" y="22"/>
                  </a:cubicBezTo>
                  <a:cubicBezTo>
                    <a:pt x="8" y="24"/>
                    <a:pt x="3" y="22"/>
                    <a:pt x="2" y="19"/>
                  </a:cubicBezTo>
                  <a:cubicBezTo>
                    <a:pt x="0" y="16"/>
                    <a:pt x="1" y="12"/>
                    <a:pt x="4" y="10"/>
                  </a:cubicBezTo>
                  <a:cubicBezTo>
                    <a:pt x="4" y="10"/>
                    <a:pt x="21" y="0"/>
                    <a:pt x="49" y="5"/>
                  </a:cubicBezTo>
                  <a:cubicBezTo>
                    <a:pt x="63" y="7"/>
                    <a:pt x="69" y="11"/>
                    <a:pt x="73" y="15"/>
                  </a:cubicBezTo>
                  <a:cubicBezTo>
                    <a:pt x="78" y="18"/>
                    <a:pt x="81" y="21"/>
                    <a:pt x="93" y="23"/>
                  </a:cubicBezTo>
                  <a:cubicBezTo>
                    <a:pt x="99" y="24"/>
                    <a:pt x="106" y="22"/>
                    <a:pt x="113" y="21"/>
                  </a:cubicBezTo>
                  <a:cubicBezTo>
                    <a:pt x="122" y="19"/>
                    <a:pt x="130" y="18"/>
                    <a:pt x="138" y="19"/>
                  </a:cubicBezTo>
                  <a:cubicBezTo>
                    <a:pt x="161" y="23"/>
                    <a:pt x="177" y="37"/>
                    <a:pt x="177" y="38"/>
                  </a:cubicBezTo>
                  <a:cubicBezTo>
                    <a:pt x="180" y="40"/>
                    <a:pt x="180" y="45"/>
                    <a:pt x="177" y="47"/>
                  </a:cubicBezTo>
                  <a:cubicBezTo>
                    <a:pt x="176" y="49"/>
                    <a:pt x="174" y="50"/>
                    <a:pt x="171" y="49"/>
                  </a:cubicBezTo>
                  <a:close/>
                </a:path>
              </a:pathLst>
            </a:custGeom>
            <a:solidFill>
              <a:srgbClr val="77A7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46" name="Freeform 221"/>
            <p:cNvSpPr/>
            <p:nvPr userDrawn="1"/>
          </p:nvSpPr>
          <p:spPr bwMode="auto">
            <a:xfrm>
              <a:off x="7408068" y="2974975"/>
              <a:ext cx="488950" cy="136525"/>
            </a:xfrm>
            <a:custGeom>
              <a:avLst/>
              <a:gdLst>
                <a:gd name="T0" fmla="*/ 171 w 180"/>
                <a:gd name="T1" fmla="*/ 49 h 50"/>
                <a:gd name="T2" fmla="*/ 168 w 180"/>
                <a:gd name="T3" fmla="*/ 48 h 50"/>
                <a:gd name="T4" fmla="*/ 136 w 180"/>
                <a:gd name="T5" fmla="*/ 32 h 50"/>
                <a:gd name="T6" fmla="*/ 116 w 180"/>
                <a:gd name="T7" fmla="*/ 34 h 50"/>
                <a:gd name="T8" fmla="*/ 91 w 180"/>
                <a:gd name="T9" fmla="*/ 36 h 50"/>
                <a:gd name="T10" fmla="*/ 65 w 180"/>
                <a:gd name="T11" fmla="*/ 26 h 50"/>
                <a:gd name="T12" fmla="*/ 47 w 180"/>
                <a:gd name="T13" fmla="*/ 18 h 50"/>
                <a:gd name="T14" fmla="*/ 11 w 180"/>
                <a:gd name="T15" fmla="*/ 22 h 50"/>
                <a:gd name="T16" fmla="*/ 2 w 180"/>
                <a:gd name="T17" fmla="*/ 19 h 50"/>
                <a:gd name="T18" fmla="*/ 4 w 180"/>
                <a:gd name="T19" fmla="*/ 10 h 50"/>
                <a:gd name="T20" fmla="*/ 49 w 180"/>
                <a:gd name="T21" fmla="*/ 5 h 50"/>
                <a:gd name="T22" fmla="*/ 74 w 180"/>
                <a:gd name="T23" fmla="*/ 15 h 50"/>
                <a:gd name="T24" fmla="*/ 93 w 180"/>
                <a:gd name="T25" fmla="*/ 23 h 50"/>
                <a:gd name="T26" fmla="*/ 113 w 180"/>
                <a:gd name="T27" fmla="*/ 21 h 50"/>
                <a:gd name="T28" fmla="*/ 138 w 180"/>
                <a:gd name="T29" fmla="*/ 19 h 50"/>
                <a:gd name="T30" fmla="*/ 177 w 180"/>
                <a:gd name="T31" fmla="*/ 38 h 50"/>
                <a:gd name="T32" fmla="*/ 177 w 180"/>
                <a:gd name="T33" fmla="*/ 47 h 50"/>
                <a:gd name="T34" fmla="*/ 171 w 180"/>
                <a:gd name="T35" fmla="*/ 49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0" h="50">
                  <a:moveTo>
                    <a:pt x="171" y="49"/>
                  </a:moveTo>
                  <a:cubicBezTo>
                    <a:pt x="170" y="49"/>
                    <a:pt x="169" y="49"/>
                    <a:pt x="168" y="48"/>
                  </a:cubicBezTo>
                  <a:cubicBezTo>
                    <a:pt x="168" y="48"/>
                    <a:pt x="155" y="36"/>
                    <a:pt x="136" y="32"/>
                  </a:cubicBezTo>
                  <a:cubicBezTo>
                    <a:pt x="130" y="32"/>
                    <a:pt x="123" y="33"/>
                    <a:pt x="116" y="34"/>
                  </a:cubicBezTo>
                  <a:cubicBezTo>
                    <a:pt x="108" y="36"/>
                    <a:pt x="99" y="38"/>
                    <a:pt x="91" y="36"/>
                  </a:cubicBezTo>
                  <a:cubicBezTo>
                    <a:pt x="76" y="34"/>
                    <a:pt x="70" y="30"/>
                    <a:pt x="65" y="26"/>
                  </a:cubicBezTo>
                  <a:cubicBezTo>
                    <a:pt x="61" y="22"/>
                    <a:pt x="58" y="20"/>
                    <a:pt x="47" y="18"/>
                  </a:cubicBezTo>
                  <a:cubicBezTo>
                    <a:pt x="24" y="14"/>
                    <a:pt x="11" y="22"/>
                    <a:pt x="11" y="22"/>
                  </a:cubicBezTo>
                  <a:cubicBezTo>
                    <a:pt x="8" y="24"/>
                    <a:pt x="4" y="23"/>
                    <a:pt x="2" y="19"/>
                  </a:cubicBezTo>
                  <a:cubicBezTo>
                    <a:pt x="0" y="16"/>
                    <a:pt x="1" y="12"/>
                    <a:pt x="4" y="10"/>
                  </a:cubicBezTo>
                  <a:cubicBezTo>
                    <a:pt x="5" y="10"/>
                    <a:pt x="21" y="0"/>
                    <a:pt x="49" y="5"/>
                  </a:cubicBezTo>
                  <a:cubicBezTo>
                    <a:pt x="63" y="7"/>
                    <a:pt x="69" y="11"/>
                    <a:pt x="74" y="15"/>
                  </a:cubicBezTo>
                  <a:cubicBezTo>
                    <a:pt x="78" y="18"/>
                    <a:pt x="81" y="21"/>
                    <a:pt x="93" y="23"/>
                  </a:cubicBezTo>
                  <a:cubicBezTo>
                    <a:pt x="99" y="24"/>
                    <a:pt x="106" y="23"/>
                    <a:pt x="113" y="21"/>
                  </a:cubicBezTo>
                  <a:cubicBezTo>
                    <a:pt x="122" y="20"/>
                    <a:pt x="130" y="18"/>
                    <a:pt x="138" y="19"/>
                  </a:cubicBezTo>
                  <a:cubicBezTo>
                    <a:pt x="162" y="23"/>
                    <a:pt x="177" y="37"/>
                    <a:pt x="177" y="38"/>
                  </a:cubicBezTo>
                  <a:cubicBezTo>
                    <a:pt x="180" y="41"/>
                    <a:pt x="180" y="45"/>
                    <a:pt x="177" y="47"/>
                  </a:cubicBezTo>
                  <a:cubicBezTo>
                    <a:pt x="176" y="49"/>
                    <a:pt x="174" y="50"/>
                    <a:pt x="171" y="49"/>
                  </a:cubicBezTo>
                  <a:close/>
                </a:path>
              </a:pathLst>
            </a:custGeom>
            <a:solidFill>
              <a:srgbClr val="445F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47" name="Freeform 222"/>
            <p:cNvSpPr/>
            <p:nvPr userDrawn="1"/>
          </p:nvSpPr>
          <p:spPr bwMode="auto">
            <a:xfrm>
              <a:off x="7401718" y="3008313"/>
              <a:ext cx="490538" cy="136525"/>
            </a:xfrm>
            <a:custGeom>
              <a:avLst/>
              <a:gdLst>
                <a:gd name="T0" fmla="*/ 171 w 180"/>
                <a:gd name="T1" fmla="*/ 50 h 50"/>
                <a:gd name="T2" fmla="*/ 168 w 180"/>
                <a:gd name="T3" fmla="*/ 48 h 50"/>
                <a:gd name="T4" fmla="*/ 136 w 180"/>
                <a:gd name="T5" fmla="*/ 33 h 50"/>
                <a:gd name="T6" fmla="*/ 116 w 180"/>
                <a:gd name="T7" fmla="*/ 35 h 50"/>
                <a:gd name="T8" fmla="*/ 91 w 180"/>
                <a:gd name="T9" fmla="*/ 37 h 50"/>
                <a:gd name="T10" fmla="*/ 65 w 180"/>
                <a:gd name="T11" fmla="*/ 26 h 50"/>
                <a:gd name="T12" fmla="*/ 47 w 180"/>
                <a:gd name="T13" fmla="*/ 18 h 50"/>
                <a:gd name="T14" fmla="*/ 11 w 180"/>
                <a:gd name="T15" fmla="*/ 22 h 50"/>
                <a:gd name="T16" fmla="*/ 2 w 180"/>
                <a:gd name="T17" fmla="*/ 20 h 50"/>
                <a:gd name="T18" fmla="*/ 4 w 180"/>
                <a:gd name="T19" fmla="*/ 11 h 50"/>
                <a:gd name="T20" fmla="*/ 49 w 180"/>
                <a:gd name="T21" fmla="*/ 5 h 50"/>
                <a:gd name="T22" fmla="*/ 74 w 180"/>
                <a:gd name="T23" fmla="*/ 15 h 50"/>
                <a:gd name="T24" fmla="*/ 93 w 180"/>
                <a:gd name="T25" fmla="*/ 23 h 50"/>
                <a:gd name="T26" fmla="*/ 113 w 180"/>
                <a:gd name="T27" fmla="*/ 21 h 50"/>
                <a:gd name="T28" fmla="*/ 138 w 180"/>
                <a:gd name="T29" fmla="*/ 19 h 50"/>
                <a:gd name="T30" fmla="*/ 177 w 180"/>
                <a:gd name="T31" fmla="*/ 38 h 50"/>
                <a:gd name="T32" fmla="*/ 177 w 180"/>
                <a:gd name="T33" fmla="*/ 48 h 50"/>
                <a:gd name="T34" fmla="*/ 171 w 180"/>
                <a:gd name="T35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0" h="50">
                  <a:moveTo>
                    <a:pt x="171" y="50"/>
                  </a:moveTo>
                  <a:cubicBezTo>
                    <a:pt x="170" y="49"/>
                    <a:pt x="169" y="49"/>
                    <a:pt x="168" y="48"/>
                  </a:cubicBezTo>
                  <a:cubicBezTo>
                    <a:pt x="168" y="48"/>
                    <a:pt x="155" y="36"/>
                    <a:pt x="136" y="33"/>
                  </a:cubicBezTo>
                  <a:cubicBezTo>
                    <a:pt x="130" y="32"/>
                    <a:pt x="123" y="33"/>
                    <a:pt x="116" y="35"/>
                  </a:cubicBezTo>
                  <a:cubicBezTo>
                    <a:pt x="108" y="36"/>
                    <a:pt x="99" y="38"/>
                    <a:pt x="91" y="37"/>
                  </a:cubicBezTo>
                  <a:cubicBezTo>
                    <a:pt x="76" y="34"/>
                    <a:pt x="70" y="30"/>
                    <a:pt x="65" y="26"/>
                  </a:cubicBezTo>
                  <a:cubicBezTo>
                    <a:pt x="61" y="23"/>
                    <a:pt x="58" y="20"/>
                    <a:pt x="47" y="18"/>
                  </a:cubicBezTo>
                  <a:cubicBezTo>
                    <a:pt x="24" y="15"/>
                    <a:pt x="11" y="22"/>
                    <a:pt x="11" y="22"/>
                  </a:cubicBezTo>
                  <a:cubicBezTo>
                    <a:pt x="8" y="24"/>
                    <a:pt x="4" y="23"/>
                    <a:pt x="2" y="20"/>
                  </a:cubicBezTo>
                  <a:cubicBezTo>
                    <a:pt x="0" y="17"/>
                    <a:pt x="1" y="12"/>
                    <a:pt x="4" y="11"/>
                  </a:cubicBezTo>
                  <a:cubicBezTo>
                    <a:pt x="5" y="10"/>
                    <a:pt x="21" y="0"/>
                    <a:pt x="49" y="5"/>
                  </a:cubicBezTo>
                  <a:cubicBezTo>
                    <a:pt x="63" y="7"/>
                    <a:pt x="69" y="12"/>
                    <a:pt x="74" y="15"/>
                  </a:cubicBezTo>
                  <a:cubicBezTo>
                    <a:pt x="78" y="19"/>
                    <a:pt x="81" y="21"/>
                    <a:pt x="93" y="23"/>
                  </a:cubicBezTo>
                  <a:cubicBezTo>
                    <a:pt x="99" y="24"/>
                    <a:pt x="106" y="23"/>
                    <a:pt x="113" y="21"/>
                  </a:cubicBezTo>
                  <a:cubicBezTo>
                    <a:pt x="122" y="20"/>
                    <a:pt x="130" y="18"/>
                    <a:pt x="138" y="19"/>
                  </a:cubicBezTo>
                  <a:cubicBezTo>
                    <a:pt x="162" y="23"/>
                    <a:pt x="177" y="38"/>
                    <a:pt x="177" y="38"/>
                  </a:cubicBezTo>
                  <a:cubicBezTo>
                    <a:pt x="180" y="41"/>
                    <a:pt x="180" y="45"/>
                    <a:pt x="177" y="48"/>
                  </a:cubicBezTo>
                  <a:cubicBezTo>
                    <a:pt x="176" y="49"/>
                    <a:pt x="174" y="50"/>
                    <a:pt x="171" y="50"/>
                  </a:cubicBezTo>
                  <a:close/>
                </a:path>
              </a:pathLst>
            </a:custGeom>
            <a:solidFill>
              <a:srgbClr val="77A7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48" name="Freeform 223"/>
            <p:cNvSpPr/>
            <p:nvPr userDrawn="1"/>
          </p:nvSpPr>
          <p:spPr bwMode="auto">
            <a:xfrm>
              <a:off x="7844631" y="2878138"/>
              <a:ext cx="63500" cy="122238"/>
            </a:xfrm>
            <a:custGeom>
              <a:avLst/>
              <a:gdLst>
                <a:gd name="T0" fmla="*/ 7 w 23"/>
                <a:gd name="T1" fmla="*/ 22 h 45"/>
                <a:gd name="T2" fmla="*/ 0 w 23"/>
                <a:gd name="T3" fmla="*/ 33 h 45"/>
                <a:gd name="T4" fmla="*/ 8 w 23"/>
                <a:gd name="T5" fmla="*/ 45 h 45"/>
                <a:gd name="T6" fmla="*/ 21 w 23"/>
                <a:gd name="T7" fmla="*/ 24 h 45"/>
                <a:gd name="T8" fmla="*/ 16 w 23"/>
                <a:gd name="T9" fmla="*/ 0 h 45"/>
                <a:gd name="T10" fmla="*/ 4 w 23"/>
                <a:gd name="T11" fmla="*/ 8 h 45"/>
                <a:gd name="T12" fmla="*/ 7 w 23"/>
                <a:gd name="T13" fmla="*/ 22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" h="45">
                  <a:moveTo>
                    <a:pt x="7" y="22"/>
                  </a:moveTo>
                  <a:cubicBezTo>
                    <a:pt x="6" y="27"/>
                    <a:pt x="3" y="31"/>
                    <a:pt x="0" y="33"/>
                  </a:cubicBezTo>
                  <a:cubicBezTo>
                    <a:pt x="8" y="45"/>
                    <a:pt x="8" y="45"/>
                    <a:pt x="8" y="45"/>
                  </a:cubicBezTo>
                  <a:cubicBezTo>
                    <a:pt x="15" y="40"/>
                    <a:pt x="20" y="33"/>
                    <a:pt x="21" y="24"/>
                  </a:cubicBezTo>
                  <a:cubicBezTo>
                    <a:pt x="23" y="15"/>
                    <a:pt x="20" y="6"/>
                    <a:pt x="16" y="0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6" y="12"/>
                    <a:pt x="8" y="17"/>
                    <a:pt x="7" y="22"/>
                  </a:cubicBezTo>
                  <a:close/>
                </a:path>
              </a:pathLst>
            </a:custGeom>
            <a:solidFill>
              <a:srgbClr val="FF90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49" name="Freeform 224"/>
            <p:cNvSpPr/>
            <p:nvPr userDrawn="1"/>
          </p:nvSpPr>
          <p:spPr bwMode="auto">
            <a:xfrm>
              <a:off x="7722393" y="2859088"/>
              <a:ext cx="60325" cy="119063"/>
            </a:xfrm>
            <a:custGeom>
              <a:avLst/>
              <a:gdLst>
                <a:gd name="T0" fmla="*/ 16 w 22"/>
                <a:gd name="T1" fmla="*/ 23 h 44"/>
                <a:gd name="T2" fmla="*/ 22 w 22"/>
                <a:gd name="T3" fmla="*/ 12 h 44"/>
                <a:gd name="T4" fmla="*/ 13 w 22"/>
                <a:gd name="T5" fmla="*/ 0 h 44"/>
                <a:gd name="T6" fmla="*/ 1 w 22"/>
                <a:gd name="T7" fmla="*/ 20 h 44"/>
                <a:gd name="T8" fmla="*/ 6 w 22"/>
                <a:gd name="T9" fmla="*/ 44 h 44"/>
                <a:gd name="T10" fmla="*/ 18 w 22"/>
                <a:gd name="T11" fmla="*/ 35 h 44"/>
                <a:gd name="T12" fmla="*/ 16 w 22"/>
                <a:gd name="T13" fmla="*/ 23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44">
                  <a:moveTo>
                    <a:pt x="16" y="23"/>
                  </a:moveTo>
                  <a:cubicBezTo>
                    <a:pt x="16" y="18"/>
                    <a:pt x="19" y="14"/>
                    <a:pt x="22" y="12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7" y="5"/>
                    <a:pt x="3" y="12"/>
                    <a:pt x="1" y="20"/>
                  </a:cubicBezTo>
                  <a:cubicBezTo>
                    <a:pt x="0" y="29"/>
                    <a:pt x="2" y="37"/>
                    <a:pt x="6" y="44"/>
                  </a:cubicBezTo>
                  <a:cubicBezTo>
                    <a:pt x="18" y="35"/>
                    <a:pt x="18" y="35"/>
                    <a:pt x="18" y="35"/>
                  </a:cubicBezTo>
                  <a:cubicBezTo>
                    <a:pt x="16" y="31"/>
                    <a:pt x="15" y="27"/>
                    <a:pt x="16" y="23"/>
                  </a:cubicBezTo>
                  <a:close/>
                </a:path>
              </a:pathLst>
            </a:custGeom>
            <a:solidFill>
              <a:srgbClr val="FF90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50" name="Freeform 225"/>
            <p:cNvSpPr/>
            <p:nvPr userDrawn="1"/>
          </p:nvSpPr>
          <p:spPr bwMode="auto">
            <a:xfrm>
              <a:off x="7758906" y="2836863"/>
              <a:ext cx="130175" cy="61913"/>
            </a:xfrm>
            <a:custGeom>
              <a:avLst/>
              <a:gdLst>
                <a:gd name="T0" fmla="*/ 47 w 48"/>
                <a:gd name="T1" fmla="*/ 13 h 23"/>
                <a:gd name="T2" fmla="*/ 26 w 48"/>
                <a:gd name="T3" fmla="*/ 1 h 23"/>
                <a:gd name="T4" fmla="*/ 2 w 48"/>
                <a:gd name="T5" fmla="*/ 7 h 23"/>
                <a:gd name="T6" fmla="*/ 0 w 48"/>
                <a:gd name="T7" fmla="*/ 8 h 23"/>
                <a:gd name="T8" fmla="*/ 9 w 48"/>
                <a:gd name="T9" fmla="*/ 20 h 23"/>
                <a:gd name="T10" fmla="*/ 10 w 48"/>
                <a:gd name="T11" fmla="*/ 19 h 23"/>
                <a:gd name="T12" fmla="*/ 24 w 48"/>
                <a:gd name="T13" fmla="*/ 15 h 23"/>
                <a:gd name="T14" fmla="*/ 35 w 48"/>
                <a:gd name="T15" fmla="*/ 22 h 23"/>
                <a:gd name="T16" fmla="*/ 36 w 48"/>
                <a:gd name="T17" fmla="*/ 23 h 23"/>
                <a:gd name="T18" fmla="*/ 48 w 48"/>
                <a:gd name="T19" fmla="*/ 15 h 23"/>
                <a:gd name="T20" fmla="*/ 47 w 48"/>
                <a:gd name="T21" fmla="*/ 1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8" h="23">
                  <a:moveTo>
                    <a:pt x="47" y="13"/>
                  </a:moveTo>
                  <a:cubicBezTo>
                    <a:pt x="42" y="7"/>
                    <a:pt x="34" y="2"/>
                    <a:pt x="26" y="1"/>
                  </a:cubicBezTo>
                  <a:cubicBezTo>
                    <a:pt x="17" y="0"/>
                    <a:pt x="8" y="2"/>
                    <a:pt x="2" y="7"/>
                  </a:cubicBezTo>
                  <a:cubicBezTo>
                    <a:pt x="1" y="7"/>
                    <a:pt x="1" y="8"/>
                    <a:pt x="0" y="8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9" y="19"/>
                    <a:pt x="10" y="19"/>
                    <a:pt x="10" y="19"/>
                  </a:cubicBezTo>
                  <a:cubicBezTo>
                    <a:pt x="14" y="16"/>
                    <a:pt x="19" y="15"/>
                    <a:pt x="24" y="15"/>
                  </a:cubicBezTo>
                  <a:cubicBezTo>
                    <a:pt x="28" y="16"/>
                    <a:pt x="32" y="19"/>
                    <a:pt x="35" y="22"/>
                  </a:cubicBezTo>
                  <a:cubicBezTo>
                    <a:pt x="35" y="22"/>
                    <a:pt x="35" y="23"/>
                    <a:pt x="36" y="23"/>
                  </a:cubicBezTo>
                  <a:cubicBezTo>
                    <a:pt x="48" y="15"/>
                    <a:pt x="48" y="15"/>
                    <a:pt x="48" y="15"/>
                  </a:cubicBezTo>
                  <a:cubicBezTo>
                    <a:pt x="47" y="14"/>
                    <a:pt x="47" y="14"/>
                    <a:pt x="47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51" name="Freeform 226"/>
            <p:cNvSpPr/>
            <p:nvPr userDrawn="1"/>
          </p:nvSpPr>
          <p:spPr bwMode="auto">
            <a:xfrm>
              <a:off x="7739856" y="2954338"/>
              <a:ext cx="127000" cy="65088"/>
            </a:xfrm>
            <a:custGeom>
              <a:avLst/>
              <a:gdLst>
                <a:gd name="T0" fmla="*/ 39 w 47"/>
                <a:gd name="T1" fmla="*/ 5 h 24"/>
                <a:gd name="T2" fmla="*/ 37 w 47"/>
                <a:gd name="T3" fmla="*/ 6 h 24"/>
                <a:gd name="T4" fmla="*/ 25 w 47"/>
                <a:gd name="T5" fmla="*/ 9 h 24"/>
                <a:gd name="T6" fmla="*/ 13 w 47"/>
                <a:gd name="T7" fmla="*/ 2 h 24"/>
                <a:gd name="T8" fmla="*/ 12 w 47"/>
                <a:gd name="T9" fmla="*/ 0 h 24"/>
                <a:gd name="T10" fmla="*/ 0 w 47"/>
                <a:gd name="T11" fmla="*/ 9 h 24"/>
                <a:gd name="T12" fmla="*/ 1 w 47"/>
                <a:gd name="T13" fmla="*/ 10 h 24"/>
                <a:gd name="T14" fmla="*/ 22 w 47"/>
                <a:gd name="T15" fmla="*/ 23 h 24"/>
                <a:gd name="T16" fmla="*/ 46 w 47"/>
                <a:gd name="T17" fmla="*/ 18 h 24"/>
                <a:gd name="T18" fmla="*/ 47 w 47"/>
                <a:gd name="T19" fmla="*/ 17 h 24"/>
                <a:gd name="T20" fmla="*/ 39 w 47"/>
                <a:gd name="T21" fmla="*/ 5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7" h="24">
                  <a:moveTo>
                    <a:pt x="39" y="5"/>
                  </a:moveTo>
                  <a:cubicBezTo>
                    <a:pt x="38" y="6"/>
                    <a:pt x="38" y="6"/>
                    <a:pt x="37" y="6"/>
                  </a:cubicBezTo>
                  <a:cubicBezTo>
                    <a:pt x="34" y="8"/>
                    <a:pt x="29" y="9"/>
                    <a:pt x="25" y="9"/>
                  </a:cubicBezTo>
                  <a:cubicBezTo>
                    <a:pt x="20" y="8"/>
                    <a:pt x="16" y="5"/>
                    <a:pt x="13" y="2"/>
                  </a:cubicBezTo>
                  <a:cubicBezTo>
                    <a:pt x="13" y="1"/>
                    <a:pt x="12" y="1"/>
                    <a:pt x="12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1" y="9"/>
                    <a:pt x="1" y="10"/>
                    <a:pt x="1" y="10"/>
                  </a:cubicBezTo>
                  <a:cubicBezTo>
                    <a:pt x="6" y="17"/>
                    <a:pt x="14" y="22"/>
                    <a:pt x="22" y="23"/>
                  </a:cubicBezTo>
                  <a:cubicBezTo>
                    <a:pt x="31" y="24"/>
                    <a:pt x="39" y="22"/>
                    <a:pt x="46" y="18"/>
                  </a:cubicBezTo>
                  <a:cubicBezTo>
                    <a:pt x="46" y="18"/>
                    <a:pt x="47" y="18"/>
                    <a:pt x="47" y="17"/>
                  </a:cubicBezTo>
                  <a:lnTo>
                    <a:pt x="39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52" name="Freeform 227"/>
            <p:cNvSpPr/>
            <p:nvPr userDrawn="1"/>
          </p:nvSpPr>
          <p:spPr bwMode="auto">
            <a:xfrm>
              <a:off x="6515893" y="1727200"/>
              <a:ext cx="495300" cy="450850"/>
            </a:xfrm>
            <a:custGeom>
              <a:avLst/>
              <a:gdLst>
                <a:gd name="T0" fmla="*/ 164 w 182"/>
                <a:gd name="T1" fmla="*/ 19 h 166"/>
                <a:gd name="T2" fmla="*/ 91 w 182"/>
                <a:gd name="T3" fmla="*/ 0 h 166"/>
                <a:gd name="T4" fmla="*/ 18 w 182"/>
                <a:gd name="T5" fmla="*/ 19 h 166"/>
                <a:gd name="T6" fmla="*/ 91 w 182"/>
                <a:gd name="T7" fmla="*/ 166 h 166"/>
                <a:gd name="T8" fmla="*/ 164 w 182"/>
                <a:gd name="T9" fmla="*/ 19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2" h="166">
                  <a:moveTo>
                    <a:pt x="164" y="19"/>
                  </a:moveTo>
                  <a:cubicBezTo>
                    <a:pt x="164" y="19"/>
                    <a:pt x="127" y="30"/>
                    <a:pt x="91" y="0"/>
                  </a:cubicBezTo>
                  <a:cubicBezTo>
                    <a:pt x="55" y="30"/>
                    <a:pt x="18" y="19"/>
                    <a:pt x="18" y="19"/>
                  </a:cubicBezTo>
                  <a:cubicBezTo>
                    <a:pt x="18" y="19"/>
                    <a:pt x="0" y="122"/>
                    <a:pt x="91" y="166"/>
                  </a:cubicBezTo>
                  <a:cubicBezTo>
                    <a:pt x="182" y="122"/>
                    <a:pt x="164" y="19"/>
                    <a:pt x="164" y="19"/>
                  </a:cubicBezTo>
                  <a:close/>
                </a:path>
              </a:pathLst>
            </a:custGeom>
            <a:solidFill>
              <a:schemeClr val="accent5">
                <a:lumMod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53" name="Freeform 228"/>
            <p:cNvSpPr/>
            <p:nvPr userDrawn="1"/>
          </p:nvSpPr>
          <p:spPr bwMode="auto">
            <a:xfrm>
              <a:off x="6547643" y="1765300"/>
              <a:ext cx="430213" cy="385763"/>
            </a:xfrm>
            <a:custGeom>
              <a:avLst/>
              <a:gdLst>
                <a:gd name="T0" fmla="*/ 142 w 158"/>
                <a:gd name="T1" fmla="*/ 17 h 142"/>
                <a:gd name="T2" fmla="*/ 79 w 158"/>
                <a:gd name="T3" fmla="*/ 0 h 142"/>
                <a:gd name="T4" fmla="*/ 16 w 158"/>
                <a:gd name="T5" fmla="*/ 17 h 142"/>
                <a:gd name="T6" fmla="*/ 79 w 158"/>
                <a:gd name="T7" fmla="*/ 142 h 142"/>
                <a:gd name="T8" fmla="*/ 142 w 158"/>
                <a:gd name="T9" fmla="*/ 17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8" h="142">
                  <a:moveTo>
                    <a:pt x="142" y="17"/>
                  </a:moveTo>
                  <a:cubicBezTo>
                    <a:pt x="142" y="17"/>
                    <a:pt x="110" y="26"/>
                    <a:pt x="79" y="0"/>
                  </a:cubicBezTo>
                  <a:cubicBezTo>
                    <a:pt x="48" y="26"/>
                    <a:pt x="16" y="17"/>
                    <a:pt x="16" y="17"/>
                  </a:cubicBezTo>
                  <a:cubicBezTo>
                    <a:pt x="16" y="17"/>
                    <a:pt x="0" y="104"/>
                    <a:pt x="79" y="142"/>
                  </a:cubicBezTo>
                  <a:cubicBezTo>
                    <a:pt x="158" y="104"/>
                    <a:pt x="142" y="17"/>
                    <a:pt x="142" y="1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54" name="Freeform 229"/>
            <p:cNvSpPr/>
            <p:nvPr userDrawn="1"/>
          </p:nvSpPr>
          <p:spPr bwMode="auto">
            <a:xfrm>
              <a:off x="6569868" y="1784350"/>
              <a:ext cx="384175" cy="350838"/>
            </a:xfrm>
            <a:custGeom>
              <a:avLst/>
              <a:gdLst>
                <a:gd name="T0" fmla="*/ 129 w 141"/>
                <a:gd name="T1" fmla="*/ 16 h 129"/>
                <a:gd name="T2" fmla="*/ 71 w 141"/>
                <a:gd name="T3" fmla="*/ 0 h 129"/>
                <a:gd name="T4" fmla="*/ 13 w 141"/>
                <a:gd name="T5" fmla="*/ 16 h 129"/>
                <a:gd name="T6" fmla="*/ 71 w 141"/>
                <a:gd name="T7" fmla="*/ 129 h 129"/>
                <a:gd name="T8" fmla="*/ 129 w 141"/>
                <a:gd name="T9" fmla="*/ 16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1" h="129">
                  <a:moveTo>
                    <a:pt x="129" y="16"/>
                  </a:moveTo>
                  <a:cubicBezTo>
                    <a:pt x="129" y="16"/>
                    <a:pt x="99" y="24"/>
                    <a:pt x="71" y="0"/>
                  </a:cubicBezTo>
                  <a:cubicBezTo>
                    <a:pt x="43" y="24"/>
                    <a:pt x="13" y="16"/>
                    <a:pt x="13" y="16"/>
                  </a:cubicBezTo>
                  <a:cubicBezTo>
                    <a:pt x="13" y="16"/>
                    <a:pt x="0" y="95"/>
                    <a:pt x="71" y="129"/>
                  </a:cubicBezTo>
                  <a:cubicBezTo>
                    <a:pt x="141" y="95"/>
                    <a:pt x="129" y="16"/>
                    <a:pt x="129" y="16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55" name="Freeform 230"/>
            <p:cNvSpPr/>
            <p:nvPr userDrawn="1"/>
          </p:nvSpPr>
          <p:spPr bwMode="auto">
            <a:xfrm>
              <a:off x="6673056" y="1857375"/>
              <a:ext cx="179388" cy="179388"/>
            </a:xfrm>
            <a:custGeom>
              <a:avLst/>
              <a:gdLst>
                <a:gd name="T0" fmla="*/ 70 w 113"/>
                <a:gd name="T1" fmla="*/ 43 h 113"/>
                <a:gd name="T2" fmla="*/ 70 w 113"/>
                <a:gd name="T3" fmla="*/ 0 h 113"/>
                <a:gd name="T4" fmla="*/ 43 w 113"/>
                <a:gd name="T5" fmla="*/ 0 h 113"/>
                <a:gd name="T6" fmla="*/ 43 w 113"/>
                <a:gd name="T7" fmla="*/ 43 h 113"/>
                <a:gd name="T8" fmla="*/ 0 w 113"/>
                <a:gd name="T9" fmla="*/ 43 h 113"/>
                <a:gd name="T10" fmla="*/ 0 w 113"/>
                <a:gd name="T11" fmla="*/ 69 h 113"/>
                <a:gd name="T12" fmla="*/ 43 w 113"/>
                <a:gd name="T13" fmla="*/ 69 h 113"/>
                <a:gd name="T14" fmla="*/ 43 w 113"/>
                <a:gd name="T15" fmla="*/ 113 h 113"/>
                <a:gd name="T16" fmla="*/ 70 w 113"/>
                <a:gd name="T17" fmla="*/ 113 h 113"/>
                <a:gd name="T18" fmla="*/ 70 w 113"/>
                <a:gd name="T19" fmla="*/ 69 h 113"/>
                <a:gd name="T20" fmla="*/ 113 w 113"/>
                <a:gd name="T21" fmla="*/ 69 h 113"/>
                <a:gd name="T22" fmla="*/ 113 w 113"/>
                <a:gd name="T23" fmla="*/ 43 h 113"/>
                <a:gd name="T24" fmla="*/ 70 w 113"/>
                <a:gd name="T25" fmla="*/ 4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3" h="113">
                  <a:moveTo>
                    <a:pt x="70" y="43"/>
                  </a:moveTo>
                  <a:lnTo>
                    <a:pt x="70" y="0"/>
                  </a:lnTo>
                  <a:lnTo>
                    <a:pt x="43" y="0"/>
                  </a:lnTo>
                  <a:lnTo>
                    <a:pt x="43" y="43"/>
                  </a:lnTo>
                  <a:lnTo>
                    <a:pt x="0" y="43"/>
                  </a:lnTo>
                  <a:lnTo>
                    <a:pt x="0" y="69"/>
                  </a:lnTo>
                  <a:lnTo>
                    <a:pt x="43" y="69"/>
                  </a:lnTo>
                  <a:lnTo>
                    <a:pt x="43" y="113"/>
                  </a:lnTo>
                  <a:lnTo>
                    <a:pt x="70" y="113"/>
                  </a:lnTo>
                  <a:lnTo>
                    <a:pt x="70" y="69"/>
                  </a:lnTo>
                  <a:lnTo>
                    <a:pt x="113" y="69"/>
                  </a:lnTo>
                  <a:lnTo>
                    <a:pt x="113" y="43"/>
                  </a:lnTo>
                  <a:lnTo>
                    <a:pt x="70" y="4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56" name="Freeform 231"/>
            <p:cNvSpPr/>
            <p:nvPr userDrawn="1"/>
          </p:nvSpPr>
          <p:spPr bwMode="auto">
            <a:xfrm>
              <a:off x="5795168" y="1357312"/>
              <a:ext cx="725488" cy="500063"/>
            </a:xfrm>
            <a:custGeom>
              <a:avLst/>
              <a:gdLst>
                <a:gd name="T0" fmla="*/ 134 w 267"/>
                <a:gd name="T1" fmla="*/ 64 h 184"/>
                <a:gd name="T2" fmla="*/ 220 w 267"/>
                <a:gd name="T3" fmla="*/ 51 h 184"/>
                <a:gd name="T4" fmla="*/ 134 w 267"/>
                <a:gd name="T5" fmla="*/ 184 h 184"/>
                <a:gd name="T6" fmla="*/ 47 w 267"/>
                <a:gd name="T7" fmla="*/ 51 h 184"/>
                <a:gd name="T8" fmla="*/ 134 w 267"/>
                <a:gd name="T9" fmla="*/ 64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7" h="184">
                  <a:moveTo>
                    <a:pt x="134" y="64"/>
                  </a:moveTo>
                  <a:cubicBezTo>
                    <a:pt x="134" y="64"/>
                    <a:pt x="183" y="0"/>
                    <a:pt x="220" y="51"/>
                  </a:cubicBezTo>
                  <a:cubicBezTo>
                    <a:pt x="267" y="117"/>
                    <a:pt x="134" y="184"/>
                    <a:pt x="134" y="184"/>
                  </a:cubicBezTo>
                  <a:cubicBezTo>
                    <a:pt x="134" y="184"/>
                    <a:pt x="0" y="117"/>
                    <a:pt x="47" y="51"/>
                  </a:cubicBezTo>
                  <a:cubicBezTo>
                    <a:pt x="84" y="0"/>
                    <a:pt x="134" y="64"/>
                    <a:pt x="134" y="64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57" name="Freeform 232"/>
            <p:cNvSpPr/>
            <p:nvPr userDrawn="1"/>
          </p:nvSpPr>
          <p:spPr bwMode="auto">
            <a:xfrm>
              <a:off x="5998368" y="1608138"/>
              <a:ext cx="311150" cy="138113"/>
            </a:xfrm>
            <a:custGeom>
              <a:avLst/>
              <a:gdLst>
                <a:gd name="T0" fmla="*/ 71 w 114"/>
                <a:gd name="T1" fmla="*/ 51 h 51"/>
                <a:gd name="T2" fmla="*/ 68 w 114"/>
                <a:gd name="T3" fmla="*/ 49 h 51"/>
                <a:gd name="T4" fmla="*/ 47 w 114"/>
                <a:gd name="T5" fmla="*/ 12 h 51"/>
                <a:gd name="T6" fmla="*/ 38 w 114"/>
                <a:gd name="T7" fmla="*/ 28 h 51"/>
                <a:gd name="T8" fmla="*/ 34 w 114"/>
                <a:gd name="T9" fmla="*/ 30 h 51"/>
                <a:gd name="T10" fmla="*/ 4 w 114"/>
                <a:gd name="T11" fmla="*/ 30 h 51"/>
                <a:gd name="T12" fmla="*/ 0 w 114"/>
                <a:gd name="T13" fmla="*/ 26 h 51"/>
                <a:gd name="T14" fmla="*/ 4 w 114"/>
                <a:gd name="T15" fmla="*/ 22 h 51"/>
                <a:gd name="T16" fmla="*/ 32 w 114"/>
                <a:gd name="T17" fmla="*/ 22 h 51"/>
                <a:gd name="T18" fmla="*/ 43 w 114"/>
                <a:gd name="T19" fmla="*/ 2 h 51"/>
                <a:gd name="T20" fmla="*/ 47 w 114"/>
                <a:gd name="T21" fmla="*/ 0 h 51"/>
                <a:gd name="T22" fmla="*/ 50 w 114"/>
                <a:gd name="T23" fmla="*/ 2 h 51"/>
                <a:gd name="T24" fmla="*/ 71 w 114"/>
                <a:gd name="T25" fmla="*/ 38 h 51"/>
                <a:gd name="T26" fmla="*/ 77 w 114"/>
                <a:gd name="T27" fmla="*/ 24 h 51"/>
                <a:gd name="T28" fmla="*/ 80 w 114"/>
                <a:gd name="T29" fmla="*/ 21 h 51"/>
                <a:gd name="T30" fmla="*/ 110 w 114"/>
                <a:gd name="T31" fmla="*/ 21 h 51"/>
                <a:gd name="T32" fmla="*/ 114 w 114"/>
                <a:gd name="T33" fmla="*/ 25 h 51"/>
                <a:gd name="T34" fmla="*/ 110 w 114"/>
                <a:gd name="T35" fmla="*/ 29 h 51"/>
                <a:gd name="T36" fmla="*/ 83 w 114"/>
                <a:gd name="T37" fmla="*/ 29 h 51"/>
                <a:gd name="T38" fmla="*/ 75 w 114"/>
                <a:gd name="T39" fmla="*/ 49 h 51"/>
                <a:gd name="T40" fmla="*/ 72 w 114"/>
                <a:gd name="T41" fmla="*/ 51 h 51"/>
                <a:gd name="T42" fmla="*/ 71 w 114"/>
                <a:gd name="T43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14" h="51">
                  <a:moveTo>
                    <a:pt x="71" y="51"/>
                  </a:moveTo>
                  <a:cubicBezTo>
                    <a:pt x="70" y="51"/>
                    <a:pt x="69" y="50"/>
                    <a:pt x="68" y="49"/>
                  </a:cubicBezTo>
                  <a:cubicBezTo>
                    <a:pt x="47" y="12"/>
                    <a:pt x="47" y="12"/>
                    <a:pt x="47" y="12"/>
                  </a:cubicBezTo>
                  <a:cubicBezTo>
                    <a:pt x="38" y="28"/>
                    <a:pt x="38" y="28"/>
                    <a:pt x="38" y="28"/>
                  </a:cubicBezTo>
                  <a:cubicBezTo>
                    <a:pt x="37" y="29"/>
                    <a:pt x="36" y="30"/>
                    <a:pt x="34" y="30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2" y="30"/>
                    <a:pt x="0" y="28"/>
                    <a:pt x="0" y="26"/>
                  </a:cubicBezTo>
                  <a:cubicBezTo>
                    <a:pt x="0" y="23"/>
                    <a:pt x="2" y="22"/>
                    <a:pt x="4" y="22"/>
                  </a:cubicBezTo>
                  <a:cubicBezTo>
                    <a:pt x="32" y="22"/>
                    <a:pt x="32" y="22"/>
                    <a:pt x="32" y="22"/>
                  </a:cubicBezTo>
                  <a:cubicBezTo>
                    <a:pt x="43" y="2"/>
                    <a:pt x="43" y="2"/>
                    <a:pt x="43" y="2"/>
                  </a:cubicBezTo>
                  <a:cubicBezTo>
                    <a:pt x="44" y="0"/>
                    <a:pt x="45" y="0"/>
                    <a:pt x="47" y="0"/>
                  </a:cubicBezTo>
                  <a:cubicBezTo>
                    <a:pt x="48" y="0"/>
                    <a:pt x="50" y="0"/>
                    <a:pt x="50" y="2"/>
                  </a:cubicBezTo>
                  <a:cubicBezTo>
                    <a:pt x="71" y="38"/>
                    <a:pt x="71" y="38"/>
                    <a:pt x="71" y="38"/>
                  </a:cubicBezTo>
                  <a:cubicBezTo>
                    <a:pt x="77" y="24"/>
                    <a:pt x="77" y="24"/>
                    <a:pt x="77" y="24"/>
                  </a:cubicBezTo>
                  <a:cubicBezTo>
                    <a:pt x="77" y="22"/>
                    <a:pt x="79" y="21"/>
                    <a:pt x="80" y="21"/>
                  </a:cubicBezTo>
                  <a:cubicBezTo>
                    <a:pt x="110" y="21"/>
                    <a:pt x="110" y="21"/>
                    <a:pt x="110" y="21"/>
                  </a:cubicBezTo>
                  <a:cubicBezTo>
                    <a:pt x="113" y="21"/>
                    <a:pt x="114" y="23"/>
                    <a:pt x="114" y="25"/>
                  </a:cubicBezTo>
                  <a:cubicBezTo>
                    <a:pt x="114" y="28"/>
                    <a:pt x="113" y="29"/>
                    <a:pt x="110" y="29"/>
                  </a:cubicBezTo>
                  <a:cubicBezTo>
                    <a:pt x="83" y="29"/>
                    <a:pt x="83" y="29"/>
                    <a:pt x="83" y="29"/>
                  </a:cubicBezTo>
                  <a:cubicBezTo>
                    <a:pt x="75" y="49"/>
                    <a:pt x="75" y="49"/>
                    <a:pt x="75" y="49"/>
                  </a:cubicBezTo>
                  <a:cubicBezTo>
                    <a:pt x="74" y="50"/>
                    <a:pt x="73" y="51"/>
                    <a:pt x="72" y="51"/>
                  </a:cubicBezTo>
                  <a:lnTo>
                    <a:pt x="71" y="51"/>
                  </a:lnTo>
                  <a:close/>
                </a:path>
              </a:pathLst>
            </a:custGeom>
            <a:solidFill>
              <a:srgbClr val="F3B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58" name="Freeform 233"/>
            <p:cNvSpPr/>
            <p:nvPr userDrawn="1"/>
          </p:nvSpPr>
          <p:spPr bwMode="auto">
            <a:xfrm>
              <a:off x="4952206" y="2089150"/>
              <a:ext cx="80963" cy="107950"/>
            </a:xfrm>
            <a:custGeom>
              <a:avLst/>
              <a:gdLst>
                <a:gd name="T0" fmla="*/ 51 w 51"/>
                <a:gd name="T1" fmla="*/ 62 h 68"/>
                <a:gd name="T2" fmla="*/ 8 w 51"/>
                <a:gd name="T3" fmla="*/ 68 h 68"/>
                <a:gd name="T4" fmla="*/ 0 w 51"/>
                <a:gd name="T5" fmla="*/ 7 h 68"/>
                <a:gd name="T6" fmla="*/ 43 w 51"/>
                <a:gd name="T7" fmla="*/ 0 h 68"/>
                <a:gd name="T8" fmla="*/ 51 w 51"/>
                <a:gd name="T9" fmla="*/ 62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68">
                  <a:moveTo>
                    <a:pt x="51" y="62"/>
                  </a:moveTo>
                  <a:lnTo>
                    <a:pt x="8" y="68"/>
                  </a:lnTo>
                  <a:lnTo>
                    <a:pt x="0" y="7"/>
                  </a:lnTo>
                  <a:lnTo>
                    <a:pt x="43" y="0"/>
                  </a:lnTo>
                  <a:lnTo>
                    <a:pt x="51" y="62"/>
                  </a:lnTo>
                  <a:close/>
                </a:path>
              </a:pathLst>
            </a:custGeom>
            <a:solidFill>
              <a:srgbClr val="BD87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59" name="Freeform 234"/>
            <p:cNvSpPr/>
            <p:nvPr userDrawn="1"/>
          </p:nvSpPr>
          <p:spPr bwMode="auto">
            <a:xfrm>
              <a:off x="4925218" y="2141538"/>
              <a:ext cx="180975" cy="173038"/>
            </a:xfrm>
            <a:custGeom>
              <a:avLst/>
              <a:gdLst>
                <a:gd name="T0" fmla="*/ 38 w 67"/>
                <a:gd name="T1" fmla="*/ 1 h 64"/>
                <a:gd name="T2" fmla="*/ 29 w 67"/>
                <a:gd name="T3" fmla="*/ 16 h 64"/>
                <a:gd name="T4" fmla="*/ 25 w 67"/>
                <a:gd name="T5" fmla="*/ 16 h 64"/>
                <a:gd name="T6" fmla="*/ 13 w 67"/>
                <a:gd name="T7" fmla="*/ 5 h 64"/>
                <a:gd name="T8" fmla="*/ 10 w 67"/>
                <a:gd name="T9" fmla="*/ 5 h 64"/>
                <a:gd name="T10" fmla="*/ 10 w 67"/>
                <a:gd name="T11" fmla="*/ 5 h 64"/>
                <a:gd name="T12" fmla="*/ 9 w 67"/>
                <a:gd name="T13" fmla="*/ 7 h 64"/>
                <a:gd name="T14" fmla="*/ 0 w 67"/>
                <a:gd name="T15" fmla="*/ 53 h 64"/>
                <a:gd name="T16" fmla="*/ 4 w 67"/>
                <a:gd name="T17" fmla="*/ 64 h 64"/>
                <a:gd name="T18" fmla="*/ 65 w 67"/>
                <a:gd name="T19" fmla="*/ 55 h 64"/>
                <a:gd name="T20" fmla="*/ 66 w 67"/>
                <a:gd name="T21" fmla="*/ 43 h 64"/>
                <a:gd name="T22" fmla="*/ 43 w 67"/>
                <a:gd name="T23" fmla="*/ 2 h 64"/>
                <a:gd name="T24" fmla="*/ 41 w 67"/>
                <a:gd name="T25" fmla="*/ 1 h 64"/>
                <a:gd name="T26" fmla="*/ 40 w 67"/>
                <a:gd name="T27" fmla="*/ 1 h 64"/>
                <a:gd name="T28" fmla="*/ 38 w 67"/>
                <a:gd name="T29" fmla="*/ 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7" h="64">
                  <a:moveTo>
                    <a:pt x="38" y="1"/>
                  </a:moveTo>
                  <a:cubicBezTo>
                    <a:pt x="29" y="16"/>
                    <a:pt x="29" y="16"/>
                    <a:pt x="29" y="16"/>
                  </a:cubicBezTo>
                  <a:cubicBezTo>
                    <a:pt x="28" y="17"/>
                    <a:pt x="26" y="17"/>
                    <a:pt x="25" y="16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2" y="4"/>
                    <a:pt x="11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6"/>
                    <a:pt x="9" y="6"/>
                    <a:pt x="9" y="7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55"/>
                    <a:pt x="2" y="64"/>
                    <a:pt x="4" y="64"/>
                  </a:cubicBezTo>
                  <a:cubicBezTo>
                    <a:pt x="65" y="55"/>
                    <a:pt x="65" y="55"/>
                    <a:pt x="65" y="55"/>
                  </a:cubicBezTo>
                  <a:cubicBezTo>
                    <a:pt x="67" y="55"/>
                    <a:pt x="66" y="45"/>
                    <a:pt x="66" y="43"/>
                  </a:cubicBezTo>
                  <a:cubicBezTo>
                    <a:pt x="43" y="2"/>
                    <a:pt x="43" y="2"/>
                    <a:pt x="43" y="2"/>
                  </a:cubicBezTo>
                  <a:cubicBezTo>
                    <a:pt x="43" y="1"/>
                    <a:pt x="42" y="1"/>
                    <a:pt x="41" y="1"/>
                  </a:cubicBezTo>
                  <a:cubicBezTo>
                    <a:pt x="40" y="1"/>
                    <a:pt x="40" y="1"/>
                    <a:pt x="40" y="1"/>
                  </a:cubicBezTo>
                  <a:cubicBezTo>
                    <a:pt x="39" y="1"/>
                    <a:pt x="38" y="0"/>
                    <a:pt x="38" y="1"/>
                  </a:cubicBezTo>
                  <a:close/>
                </a:path>
              </a:pathLst>
            </a:custGeom>
            <a:solidFill>
              <a:srgbClr val="D1FF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60" name="Freeform 235"/>
            <p:cNvSpPr/>
            <p:nvPr userDrawn="1"/>
          </p:nvSpPr>
          <p:spPr bwMode="auto">
            <a:xfrm>
              <a:off x="4869656" y="1947863"/>
              <a:ext cx="209550" cy="171450"/>
            </a:xfrm>
            <a:custGeom>
              <a:avLst/>
              <a:gdLst>
                <a:gd name="T0" fmla="*/ 1 w 77"/>
                <a:gd name="T1" fmla="*/ 20 h 63"/>
                <a:gd name="T2" fmla="*/ 26 w 77"/>
                <a:gd name="T3" fmla="*/ 63 h 63"/>
                <a:gd name="T4" fmla="*/ 60 w 77"/>
                <a:gd name="T5" fmla="*/ 58 h 63"/>
                <a:gd name="T6" fmla="*/ 72 w 77"/>
                <a:gd name="T7" fmla="*/ 9 h 63"/>
                <a:gd name="T8" fmla="*/ 37 w 77"/>
                <a:gd name="T9" fmla="*/ 0 h 63"/>
                <a:gd name="T10" fmla="*/ 1 w 77"/>
                <a:gd name="T11" fmla="*/ 2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7" h="63">
                  <a:moveTo>
                    <a:pt x="1" y="20"/>
                  </a:moveTo>
                  <a:cubicBezTo>
                    <a:pt x="0" y="33"/>
                    <a:pt x="8" y="57"/>
                    <a:pt x="26" y="63"/>
                  </a:cubicBezTo>
                  <a:cubicBezTo>
                    <a:pt x="34" y="61"/>
                    <a:pt x="52" y="59"/>
                    <a:pt x="60" y="58"/>
                  </a:cubicBezTo>
                  <a:cubicBezTo>
                    <a:pt x="77" y="45"/>
                    <a:pt x="76" y="17"/>
                    <a:pt x="72" y="9"/>
                  </a:cubicBezTo>
                  <a:cubicBezTo>
                    <a:pt x="62" y="5"/>
                    <a:pt x="37" y="0"/>
                    <a:pt x="37" y="0"/>
                  </a:cubicBezTo>
                  <a:cubicBezTo>
                    <a:pt x="37" y="0"/>
                    <a:pt x="7" y="13"/>
                    <a:pt x="1" y="20"/>
                  </a:cubicBezTo>
                  <a:close/>
                </a:path>
              </a:pathLst>
            </a:custGeom>
            <a:solidFill>
              <a:srgbClr val="8969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61" name="Freeform 236"/>
            <p:cNvSpPr/>
            <p:nvPr userDrawn="1"/>
          </p:nvSpPr>
          <p:spPr bwMode="auto">
            <a:xfrm>
              <a:off x="4783931" y="2143125"/>
              <a:ext cx="187325" cy="190500"/>
            </a:xfrm>
            <a:custGeom>
              <a:avLst/>
              <a:gdLst>
                <a:gd name="T0" fmla="*/ 69 w 69"/>
                <a:gd name="T1" fmla="*/ 61 h 70"/>
                <a:gd name="T2" fmla="*/ 6 w 69"/>
                <a:gd name="T3" fmla="*/ 70 h 70"/>
                <a:gd name="T4" fmla="*/ 10 w 69"/>
                <a:gd name="T5" fmla="*/ 25 h 70"/>
                <a:gd name="T6" fmla="*/ 60 w 69"/>
                <a:gd name="T7" fmla="*/ 0 h 70"/>
                <a:gd name="T8" fmla="*/ 69 w 69"/>
                <a:gd name="T9" fmla="*/ 61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9" h="70">
                  <a:moveTo>
                    <a:pt x="69" y="61"/>
                  </a:moveTo>
                  <a:cubicBezTo>
                    <a:pt x="6" y="70"/>
                    <a:pt x="6" y="70"/>
                    <a:pt x="6" y="70"/>
                  </a:cubicBezTo>
                  <a:cubicBezTo>
                    <a:pt x="6" y="70"/>
                    <a:pt x="0" y="47"/>
                    <a:pt x="10" y="25"/>
                  </a:cubicBezTo>
                  <a:cubicBezTo>
                    <a:pt x="9" y="16"/>
                    <a:pt x="60" y="0"/>
                    <a:pt x="60" y="0"/>
                  </a:cubicBezTo>
                  <a:lnTo>
                    <a:pt x="69" y="61"/>
                  </a:lnTo>
                  <a:close/>
                </a:path>
              </a:pathLst>
            </a:custGeom>
            <a:solidFill>
              <a:srgbClr val="3857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62" name="Freeform 237"/>
            <p:cNvSpPr/>
            <p:nvPr userDrawn="1"/>
          </p:nvSpPr>
          <p:spPr bwMode="auto">
            <a:xfrm>
              <a:off x="5033168" y="2130425"/>
              <a:ext cx="198438" cy="165100"/>
            </a:xfrm>
            <a:custGeom>
              <a:avLst/>
              <a:gdLst>
                <a:gd name="T0" fmla="*/ 9 w 73"/>
                <a:gd name="T1" fmla="*/ 61 h 61"/>
                <a:gd name="T2" fmla="*/ 73 w 73"/>
                <a:gd name="T3" fmla="*/ 52 h 61"/>
                <a:gd name="T4" fmla="*/ 56 w 73"/>
                <a:gd name="T5" fmla="*/ 10 h 61"/>
                <a:gd name="T6" fmla="*/ 0 w 73"/>
                <a:gd name="T7" fmla="*/ 0 h 61"/>
                <a:gd name="T8" fmla="*/ 9 w 73"/>
                <a:gd name="T9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3" h="61">
                  <a:moveTo>
                    <a:pt x="9" y="61"/>
                  </a:moveTo>
                  <a:cubicBezTo>
                    <a:pt x="73" y="52"/>
                    <a:pt x="73" y="52"/>
                    <a:pt x="73" y="52"/>
                  </a:cubicBezTo>
                  <a:cubicBezTo>
                    <a:pt x="73" y="52"/>
                    <a:pt x="71" y="28"/>
                    <a:pt x="56" y="10"/>
                  </a:cubicBezTo>
                  <a:cubicBezTo>
                    <a:pt x="55" y="0"/>
                    <a:pt x="0" y="0"/>
                    <a:pt x="0" y="0"/>
                  </a:cubicBezTo>
                  <a:lnTo>
                    <a:pt x="9" y="61"/>
                  </a:lnTo>
                  <a:close/>
                </a:path>
              </a:pathLst>
            </a:custGeom>
            <a:solidFill>
              <a:srgbClr val="3857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63" name="Freeform 238"/>
            <p:cNvSpPr/>
            <p:nvPr userDrawn="1"/>
          </p:nvSpPr>
          <p:spPr bwMode="auto">
            <a:xfrm>
              <a:off x="4841081" y="1971675"/>
              <a:ext cx="53975" cy="68263"/>
            </a:xfrm>
            <a:custGeom>
              <a:avLst/>
              <a:gdLst>
                <a:gd name="T0" fmla="*/ 15 w 20"/>
                <a:gd name="T1" fmla="*/ 23 h 25"/>
                <a:gd name="T2" fmla="*/ 3 w 20"/>
                <a:gd name="T3" fmla="*/ 16 h 25"/>
                <a:gd name="T4" fmla="*/ 8 w 20"/>
                <a:gd name="T5" fmla="*/ 2 h 25"/>
                <a:gd name="T6" fmla="*/ 15 w 20"/>
                <a:gd name="T7" fmla="*/ 2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25">
                  <a:moveTo>
                    <a:pt x="15" y="23"/>
                  </a:moveTo>
                  <a:cubicBezTo>
                    <a:pt x="10" y="25"/>
                    <a:pt x="5" y="21"/>
                    <a:pt x="3" y="16"/>
                  </a:cubicBezTo>
                  <a:cubicBezTo>
                    <a:pt x="0" y="10"/>
                    <a:pt x="3" y="4"/>
                    <a:pt x="8" y="2"/>
                  </a:cubicBezTo>
                  <a:cubicBezTo>
                    <a:pt x="13" y="0"/>
                    <a:pt x="20" y="21"/>
                    <a:pt x="15" y="23"/>
                  </a:cubicBezTo>
                  <a:close/>
                </a:path>
              </a:pathLst>
            </a:custGeom>
            <a:solidFill>
              <a:srgbClr val="FFB7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64" name="Freeform 239"/>
            <p:cNvSpPr/>
            <p:nvPr userDrawn="1"/>
          </p:nvSpPr>
          <p:spPr bwMode="auto">
            <a:xfrm>
              <a:off x="5049043" y="1947863"/>
              <a:ext cx="44450" cy="60325"/>
            </a:xfrm>
            <a:custGeom>
              <a:avLst/>
              <a:gdLst>
                <a:gd name="T0" fmla="*/ 5 w 16"/>
                <a:gd name="T1" fmla="*/ 22 h 22"/>
                <a:gd name="T2" fmla="*/ 16 w 16"/>
                <a:gd name="T3" fmla="*/ 12 h 22"/>
                <a:gd name="T4" fmla="*/ 6 w 16"/>
                <a:gd name="T5" fmla="*/ 0 h 22"/>
                <a:gd name="T6" fmla="*/ 5 w 16"/>
                <a:gd name="T7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22">
                  <a:moveTo>
                    <a:pt x="5" y="22"/>
                  </a:moveTo>
                  <a:cubicBezTo>
                    <a:pt x="11" y="22"/>
                    <a:pt x="15" y="18"/>
                    <a:pt x="16" y="12"/>
                  </a:cubicBezTo>
                  <a:cubicBezTo>
                    <a:pt x="16" y="6"/>
                    <a:pt x="12" y="0"/>
                    <a:pt x="6" y="0"/>
                  </a:cubicBezTo>
                  <a:cubicBezTo>
                    <a:pt x="1" y="0"/>
                    <a:pt x="0" y="22"/>
                    <a:pt x="5" y="22"/>
                  </a:cubicBezTo>
                  <a:close/>
                </a:path>
              </a:pathLst>
            </a:custGeom>
            <a:solidFill>
              <a:srgbClr val="FFB7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65" name="Freeform 240"/>
            <p:cNvSpPr/>
            <p:nvPr userDrawn="1"/>
          </p:nvSpPr>
          <p:spPr bwMode="auto">
            <a:xfrm>
              <a:off x="4864893" y="1844675"/>
              <a:ext cx="241300" cy="298450"/>
            </a:xfrm>
            <a:custGeom>
              <a:avLst/>
              <a:gdLst>
                <a:gd name="T0" fmla="*/ 46 w 89"/>
                <a:gd name="T1" fmla="*/ 103 h 110"/>
                <a:gd name="T2" fmla="*/ 71 w 89"/>
                <a:gd name="T3" fmla="*/ 24 h 110"/>
                <a:gd name="T4" fmla="*/ 32 w 89"/>
                <a:gd name="T5" fmla="*/ 5 h 110"/>
                <a:gd name="T6" fmla="*/ 0 w 89"/>
                <a:gd name="T7" fmla="*/ 35 h 110"/>
                <a:gd name="T8" fmla="*/ 46 w 89"/>
                <a:gd name="T9" fmla="*/ 103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110">
                  <a:moveTo>
                    <a:pt x="46" y="103"/>
                  </a:moveTo>
                  <a:cubicBezTo>
                    <a:pt x="89" y="97"/>
                    <a:pt x="71" y="24"/>
                    <a:pt x="71" y="24"/>
                  </a:cubicBezTo>
                  <a:cubicBezTo>
                    <a:pt x="71" y="24"/>
                    <a:pt x="66" y="0"/>
                    <a:pt x="32" y="5"/>
                  </a:cubicBezTo>
                  <a:cubicBezTo>
                    <a:pt x="3" y="9"/>
                    <a:pt x="0" y="35"/>
                    <a:pt x="0" y="35"/>
                  </a:cubicBezTo>
                  <a:cubicBezTo>
                    <a:pt x="0" y="35"/>
                    <a:pt x="2" y="110"/>
                    <a:pt x="46" y="103"/>
                  </a:cubicBezTo>
                  <a:close/>
                </a:path>
              </a:pathLst>
            </a:custGeom>
            <a:solidFill>
              <a:srgbClr val="FFB7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66" name="Freeform 241"/>
            <p:cNvSpPr/>
            <p:nvPr userDrawn="1"/>
          </p:nvSpPr>
          <p:spPr bwMode="auto">
            <a:xfrm>
              <a:off x="4812506" y="1795463"/>
              <a:ext cx="292100" cy="198438"/>
            </a:xfrm>
            <a:custGeom>
              <a:avLst/>
              <a:gdLst>
                <a:gd name="T0" fmla="*/ 16 w 107"/>
                <a:gd name="T1" fmla="*/ 68 h 73"/>
                <a:gd name="T2" fmla="*/ 24 w 107"/>
                <a:gd name="T3" fmla="*/ 73 h 73"/>
                <a:gd name="T4" fmla="*/ 22 w 107"/>
                <a:gd name="T5" fmla="*/ 47 h 73"/>
                <a:gd name="T6" fmla="*/ 79 w 107"/>
                <a:gd name="T7" fmla="*/ 44 h 73"/>
                <a:gd name="T8" fmla="*/ 84 w 107"/>
                <a:gd name="T9" fmla="*/ 38 h 73"/>
                <a:gd name="T10" fmla="*/ 91 w 107"/>
                <a:gd name="T11" fmla="*/ 65 h 73"/>
                <a:gd name="T12" fmla="*/ 97 w 107"/>
                <a:gd name="T13" fmla="*/ 57 h 73"/>
                <a:gd name="T14" fmla="*/ 45 w 107"/>
                <a:gd name="T15" fmla="*/ 9 h 73"/>
                <a:gd name="T16" fmla="*/ 19 w 107"/>
                <a:gd name="T17" fmla="*/ 30 h 73"/>
                <a:gd name="T18" fmla="*/ 16 w 107"/>
                <a:gd name="T19" fmla="*/ 68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7" h="73">
                  <a:moveTo>
                    <a:pt x="16" y="68"/>
                  </a:moveTo>
                  <a:cubicBezTo>
                    <a:pt x="19" y="67"/>
                    <a:pt x="24" y="73"/>
                    <a:pt x="24" y="73"/>
                  </a:cubicBezTo>
                  <a:cubicBezTo>
                    <a:pt x="22" y="47"/>
                    <a:pt x="22" y="47"/>
                    <a:pt x="22" y="47"/>
                  </a:cubicBezTo>
                  <a:cubicBezTo>
                    <a:pt x="22" y="47"/>
                    <a:pt x="39" y="56"/>
                    <a:pt x="79" y="44"/>
                  </a:cubicBezTo>
                  <a:cubicBezTo>
                    <a:pt x="77" y="36"/>
                    <a:pt x="84" y="38"/>
                    <a:pt x="84" y="38"/>
                  </a:cubicBezTo>
                  <a:cubicBezTo>
                    <a:pt x="84" y="38"/>
                    <a:pt x="91" y="66"/>
                    <a:pt x="91" y="65"/>
                  </a:cubicBezTo>
                  <a:cubicBezTo>
                    <a:pt x="92" y="57"/>
                    <a:pt x="97" y="57"/>
                    <a:pt x="97" y="57"/>
                  </a:cubicBezTo>
                  <a:cubicBezTo>
                    <a:pt x="97" y="57"/>
                    <a:pt x="107" y="0"/>
                    <a:pt x="45" y="9"/>
                  </a:cubicBezTo>
                  <a:cubicBezTo>
                    <a:pt x="24" y="12"/>
                    <a:pt x="24" y="20"/>
                    <a:pt x="19" y="30"/>
                  </a:cubicBezTo>
                  <a:cubicBezTo>
                    <a:pt x="0" y="38"/>
                    <a:pt x="16" y="67"/>
                    <a:pt x="16" y="68"/>
                  </a:cubicBezTo>
                  <a:close/>
                </a:path>
              </a:pathLst>
            </a:custGeom>
            <a:solidFill>
              <a:srgbClr val="8969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67" name="Freeform 242"/>
            <p:cNvSpPr/>
            <p:nvPr userDrawn="1"/>
          </p:nvSpPr>
          <p:spPr bwMode="auto">
            <a:xfrm>
              <a:off x="4990306" y="2189163"/>
              <a:ext cx="50800" cy="117475"/>
            </a:xfrm>
            <a:custGeom>
              <a:avLst/>
              <a:gdLst>
                <a:gd name="T0" fmla="*/ 0 w 19"/>
                <a:gd name="T1" fmla="*/ 43 h 43"/>
                <a:gd name="T2" fmla="*/ 19 w 19"/>
                <a:gd name="T3" fmla="*/ 40 h 43"/>
                <a:gd name="T4" fmla="*/ 4 w 19"/>
                <a:gd name="T5" fmla="*/ 0 h 43"/>
                <a:gd name="T6" fmla="*/ 3 w 19"/>
                <a:gd name="T7" fmla="*/ 0 h 43"/>
                <a:gd name="T8" fmla="*/ 0 w 19"/>
                <a:gd name="T9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43">
                  <a:moveTo>
                    <a:pt x="0" y="43"/>
                  </a:moveTo>
                  <a:cubicBezTo>
                    <a:pt x="19" y="40"/>
                    <a:pt x="19" y="40"/>
                    <a:pt x="19" y="4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3" y="0"/>
                    <a:pt x="3" y="0"/>
                  </a:cubicBezTo>
                  <a:lnTo>
                    <a:pt x="0" y="43"/>
                  </a:lnTo>
                  <a:close/>
                </a:path>
              </a:pathLst>
            </a:custGeom>
            <a:solidFill>
              <a:srgbClr val="4242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68" name="Freeform 243"/>
            <p:cNvSpPr/>
            <p:nvPr userDrawn="1"/>
          </p:nvSpPr>
          <p:spPr bwMode="auto">
            <a:xfrm>
              <a:off x="4972843" y="2157413"/>
              <a:ext cx="44450" cy="31750"/>
            </a:xfrm>
            <a:custGeom>
              <a:avLst/>
              <a:gdLst>
                <a:gd name="T0" fmla="*/ 1 w 16"/>
                <a:gd name="T1" fmla="*/ 2 h 12"/>
                <a:gd name="T2" fmla="*/ 15 w 16"/>
                <a:gd name="T3" fmla="*/ 0 h 12"/>
                <a:gd name="T4" fmla="*/ 16 w 16"/>
                <a:gd name="T5" fmla="*/ 5 h 12"/>
                <a:gd name="T6" fmla="*/ 10 w 16"/>
                <a:gd name="T7" fmla="*/ 11 h 12"/>
                <a:gd name="T8" fmla="*/ 9 w 16"/>
                <a:gd name="T9" fmla="*/ 12 h 12"/>
                <a:gd name="T10" fmla="*/ 1 w 16"/>
                <a:gd name="T11" fmla="*/ 7 h 12"/>
                <a:gd name="T12" fmla="*/ 1 w 16"/>
                <a:gd name="T13" fmla="*/ 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12">
                  <a:moveTo>
                    <a:pt x="1" y="2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6" y="5"/>
                    <a:pt x="16" y="5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0" y="12"/>
                    <a:pt x="9" y="12"/>
                    <a:pt x="9" y="12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2"/>
                    <a:pt x="1" y="2"/>
                  </a:cubicBezTo>
                  <a:close/>
                </a:path>
              </a:pathLst>
            </a:custGeom>
            <a:solidFill>
              <a:srgbClr val="4242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69" name="Freeform 244"/>
            <p:cNvSpPr/>
            <p:nvPr userDrawn="1"/>
          </p:nvSpPr>
          <p:spPr bwMode="auto">
            <a:xfrm>
              <a:off x="4995068" y="2116138"/>
              <a:ext cx="44450" cy="61913"/>
            </a:xfrm>
            <a:custGeom>
              <a:avLst/>
              <a:gdLst>
                <a:gd name="T0" fmla="*/ 1 w 16"/>
                <a:gd name="T1" fmla="*/ 16 h 23"/>
                <a:gd name="T2" fmla="*/ 13 w 16"/>
                <a:gd name="T3" fmla="*/ 23 h 23"/>
                <a:gd name="T4" fmla="*/ 14 w 16"/>
                <a:gd name="T5" fmla="*/ 23 h 23"/>
                <a:gd name="T6" fmla="*/ 16 w 16"/>
                <a:gd name="T7" fmla="*/ 5 h 23"/>
                <a:gd name="T8" fmla="*/ 16 w 16"/>
                <a:gd name="T9" fmla="*/ 5 h 23"/>
                <a:gd name="T10" fmla="*/ 12 w 16"/>
                <a:gd name="T11" fmla="*/ 0 h 23"/>
                <a:gd name="T12" fmla="*/ 11 w 16"/>
                <a:gd name="T13" fmla="*/ 0 h 23"/>
                <a:gd name="T14" fmla="*/ 0 w 16"/>
                <a:gd name="T15" fmla="*/ 15 h 23"/>
                <a:gd name="T16" fmla="*/ 1 w 16"/>
                <a:gd name="T17" fmla="*/ 16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23">
                  <a:moveTo>
                    <a:pt x="1" y="16"/>
                  </a:moveTo>
                  <a:cubicBezTo>
                    <a:pt x="13" y="23"/>
                    <a:pt x="13" y="23"/>
                    <a:pt x="13" y="23"/>
                  </a:cubicBezTo>
                  <a:cubicBezTo>
                    <a:pt x="13" y="23"/>
                    <a:pt x="14" y="23"/>
                    <a:pt x="14" y="23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6"/>
                    <a:pt x="0" y="16"/>
                    <a:pt x="1" y="16"/>
                  </a:cubicBezTo>
                  <a:close/>
                </a:path>
              </a:pathLst>
            </a:custGeom>
            <a:solidFill>
              <a:srgbClr val="D1FF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70" name="Freeform 245"/>
            <p:cNvSpPr/>
            <p:nvPr userDrawn="1"/>
          </p:nvSpPr>
          <p:spPr bwMode="auto">
            <a:xfrm>
              <a:off x="4944268" y="2127250"/>
              <a:ext cx="47625" cy="61913"/>
            </a:xfrm>
            <a:custGeom>
              <a:avLst/>
              <a:gdLst>
                <a:gd name="T0" fmla="*/ 18 w 18"/>
                <a:gd name="T1" fmla="*/ 13 h 23"/>
                <a:gd name="T2" fmla="*/ 8 w 18"/>
                <a:gd name="T3" fmla="*/ 23 h 23"/>
                <a:gd name="T4" fmla="*/ 7 w 18"/>
                <a:gd name="T5" fmla="*/ 22 h 23"/>
                <a:gd name="T6" fmla="*/ 0 w 18"/>
                <a:gd name="T7" fmla="*/ 7 h 23"/>
                <a:gd name="T8" fmla="*/ 0 w 18"/>
                <a:gd name="T9" fmla="*/ 6 h 23"/>
                <a:gd name="T10" fmla="*/ 3 w 18"/>
                <a:gd name="T11" fmla="*/ 0 h 23"/>
                <a:gd name="T12" fmla="*/ 4 w 18"/>
                <a:gd name="T13" fmla="*/ 0 h 23"/>
                <a:gd name="T14" fmla="*/ 18 w 18"/>
                <a:gd name="T15" fmla="*/ 12 h 23"/>
                <a:gd name="T16" fmla="*/ 18 w 18"/>
                <a:gd name="T17" fmla="*/ 1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" h="23">
                  <a:moveTo>
                    <a:pt x="18" y="13"/>
                  </a:moveTo>
                  <a:cubicBezTo>
                    <a:pt x="8" y="23"/>
                    <a:pt x="8" y="23"/>
                    <a:pt x="8" y="23"/>
                  </a:cubicBezTo>
                  <a:cubicBezTo>
                    <a:pt x="8" y="23"/>
                    <a:pt x="7" y="23"/>
                    <a:pt x="7" y="22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4" y="0"/>
                    <a:pt x="4" y="0"/>
                  </a:cubicBezTo>
                  <a:cubicBezTo>
                    <a:pt x="18" y="12"/>
                    <a:pt x="18" y="12"/>
                    <a:pt x="18" y="12"/>
                  </a:cubicBezTo>
                  <a:lnTo>
                    <a:pt x="18" y="13"/>
                  </a:lnTo>
                  <a:close/>
                </a:path>
              </a:pathLst>
            </a:custGeom>
            <a:solidFill>
              <a:srgbClr val="D1FF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71" name="Freeform 246"/>
            <p:cNvSpPr/>
            <p:nvPr userDrawn="1"/>
          </p:nvSpPr>
          <p:spPr bwMode="auto">
            <a:xfrm>
              <a:off x="4929981" y="2047875"/>
              <a:ext cx="49213" cy="33338"/>
            </a:xfrm>
            <a:custGeom>
              <a:avLst/>
              <a:gdLst>
                <a:gd name="T0" fmla="*/ 18 w 18"/>
                <a:gd name="T1" fmla="*/ 6 h 12"/>
                <a:gd name="T2" fmla="*/ 0 w 18"/>
                <a:gd name="T3" fmla="*/ 12 h 12"/>
                <a:gd name="T4" fmla="*/ 1 w 18"/>
                <a:gd name="T5" fmla="*/ 10 h 12"/>
                <a:gd name="T6" fmla="*/ 10 w 18"/>
                <a:gd name="T7" fmla="*/ 1 h 12"/>
                <a:gd name="T8" fmla="*/ 17 w 18"/>
                <a:gd name="T9" fmla="*/ 0 h 12"/>
                <a:gd name="T10" fmla="*/ 18 w 18"/>
                <a:gd name="T11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12">
                  <a:moveTo>
                    <a:pt x="18" y="6"/>
                  </a:moveTo>
                  <a:cubicBezTo>
                    <a:pt x="16" y="10"/>
                    <a:pt x="0" y="12"/>
                    <a:pt x="0" y="12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2" y="5"/>
                    <a:pt x="5" y="2"/>
                    <a:pt x="10" y="1"/>
                  </a:cubicBezTo>
                  <a:cubicBezTo>
                    <a:pt x="17" y="0"/>
                    <a:pt x="17" y="0"/>
                    <a:pt x="17" y="0"/>
                  </a:cubicBezTo>
                  <a:lnTo>
                    <a:pt x="18" y="6"/>
                  </a:lnTo>
                  <a:close/>
                </a:path>
              </a:pathLst>
            </a:custGeom>
            <a:solidFill>
              <a:srgbClr val="8969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72" name="Freeform 247"/>
            <p:cNvSpPr/>
            <p:nvPr userDrawn="1"/>
          </p:nvSpPr>
          <p:spPr bwMode="auto">
            <a:xfrm>
              <a:off x="4976018" y="2043113"/>
              <a:ext cx="53975" cy="30163"/>
            </a:xfrm>
            <a:custGeom>
              <a:avLst/>
              <a:gdLst>
                <a:gd name="T0" fmla="*/ 1 w 20"/>
                <a:gd name="T1" fmla="*/ 8 h 11"/>
                <a:gd name="T2" fmla="*/ 20 w 20"/>
                <a:gd name="T3" fmla="*/ 9 h 11"/>
                <a:gd name="T4" fmla="*/ 19 w 20"/>
                <a:gd name="T5" fmla="*/ 7 h 11"/>
                <a:gd name="T6" fmla="*/ 8 w 20"/>
                <a:gd name="T7" fmla="*/ 1 h 11"/>
                <a:gd name="T8" fmla="*/ 0 w 20"/>
                <a:gd name="T9" fmla="*/ 2 h 11"/>
                <a:gd name="T10" fmla="*/ 1 w 20"/>
                <a:gd name="T11" fmla="*/ 8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11">
                  <a:moveTo>
                    <a:pt x="1" y="8"/>
                  </a:moveTo>
                  <a:cubicBezTo>
                    <a:pt x="4" y="11"/>
                    <a:pt x="20" y="9"/>
                    <a:pt x="20" y="9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7" y="2"/>
                    <a:pt x="12" y="0"/>
                    <a:pt x="8" y="1"/>
                  </a:cubicBezTo>
                  <a:cubicBezTo>
                    <a:pt x="0" y="2"/>
                    <a:pt x="0" y="2"/>
                    <a:pt x="0" y="2"/>
                  </a:cubicBezTo>
                  <a:lnTo>
                    <a:pt x="1" y="8"/>
                  </a:lnTo>
                  <a:close/>
                </a:path>
              </a:pathLst>
            </a:custGeom>
            <a:solidFill>
              <a:srgbClr val="8969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73" name="Freeform 248"/>
            <p:cNvSpPr/>
            <p:nvPr userDrawn="1"/>
          </p:nvSpPr>
          <p:spPr bwMode="auto">
            <a:xfrm>
              <a:off x="5077618" y="2216150"/>
              <a:ext cx="76200" cy="25400"/>
            </a:xfrm>
            <a:custGeom>
              <a:avLst/>
              <a:gdLst>
                <a:gd name="T0" fmla="*/ 48 w 48"/>
                <a:gd name="T1" fmla="*/ 9 h 16"/>
                <a:gd name="T2" fmla="*/ 1 w 48"/>
                <a:gd name="T3" fmla="*/ 16 h 16"/>
                <a:gd name="T4" fmla="*/ 0 w 48"/>
                <a:gd name="T5" fmla="*/ 7 h 16"/>
                <a:gd name="T6" fmla="*/ 46 w 48"/>
                <a:gd name="T7" fmla="*/ 0 h 16"/>
                <a:gd name="T8" fmla="*/ 48 w 48"/>
                <a:gd name="T9" fmla="*/ 9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16">
                  <a:moveTo>
                    <a:pt x="48" y="9"/>
                  </a:moveTo>
                  <a:lnTo>
                    <a:pt x="1" y="16"/>
                  </a:lnTo>
                  <a:lnTo>
                    <a:pt x="0" y="7"/>
                  </a:lnTo>
                  <a:lnTo>
                    <a:pt x="46" y="0"/>
                  </a:lnTo>
                  <a:lnTo>
                    <a:pt x="48" y="9"/>
                  </a:lnTo>
                  <a:close/>
                </a:path>
              </a:pathLst>
            </a:custGeom>
            <a:solidFill>
              <a:srgbClr val="8764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74" name="Freeform 249"/>
            <p:cNvSpPr/>
            <p:nvPr userDrawn="1"/>
          </p:nvSpPr>
          <p:spPr bwMode="auto">
            <a:xfrm>
              <a:off x="5082381" y="2230438"/>
              <a:ext cx="80963" cy="92075"/>
            </a:xfrm>
            <a:custGeom>
              <a:avLst/>
              <a:gdLst>
                <a:gd name="T0" fmla="*/ 51 w 51"/>
                <a:gd name="T1" fmla="*/ 51 h 58"/>
                <a:gd name="T2" fmla="*/ 7 w 51"/>
                <a:gd name="T3" fmla="*/ 58 h 58"/>
                <a:gd name="T4" fmla="*/ 0 w 51"/>
                <a:gd name="T5" fmla="*/ 7 h 58"/>
                <a:gd name="T6" fmla="*/ 43 w 51"/>
                <a:gd name="T7" fmla="*/ 0 h 58"/>
                <a:gd name="T8" fmla="*/ 51 w 51"/>
                <a:gd name="T9" fmla="*/ 51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58">
                  <a:moveTo>
                    <a:pt x="51" y="51"/>
                  </a:moveTo>
                  <a:lnTo>
                    <a:pt x="7" y="58"/>
                  </a:lnTo>
                  <a:lnTo>
                    <a:pt x="0" y="7"/>
                  </a:lnTo>
                  <a:lnTo>
                    <a:pt x="43" y="0"/>
                  </a:lnTo>
                  <a:lnTo>
                    <a:pt x="51" y="5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75" name="Freeform 250"/>
            <p:cNvSpPr/>
            <p:nvPr userDrawn="1"/>
          </p:nvSpPr>
          <p:spPr bwMode="auto">
            <a:xfrm>
              <a:off x="5090318" y="2244725"/>
              <a:ext cx="19050" cy="23813"/>
            </a:xfrm>
            <a:custGeom>
              <a:avLst/>
              <a:gdLst>
                <a:gd name="T0" fmla="*/ 12 w 12"/>
                <a:gd name="T1" fmla="*/ 13 h 15"/>
                <a:gd name="T2" fmla="*/ 2 w 12"/>
                <a:gd name="T3" fmla="*/ 15 h 15"/>
                <a:gd name="T4" fmla="*/ 0 w 12"/>
                <a:gd name="T5" fmla="*/ 1 h 15"/>
                <a:gd name="T6" fmla="*/ 10 w 12"/>
                <a:gd name="T7" fmla="*/ 0 h 15"/>
                <a:gd name="T8" fmla="*/ 12 w 12"/>
                <a:gd name="T9" fmla="*/ 1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5">
                  <a:moveTo>
                    <a:pt x="12" y="13"/>
                  </a:moveTo>
                  <a:lnTo>
                    <a:pt x="2" y="15"/>
                  </a:lnTo>
                  <a:lnTo>
                    <a:pt x="0" y="1"/>
                  </a:lnTo>
                  <a:lnTo>
                    <a:pt x="10" y="0"/>
                  </a:lnTo>
                  <a:lnTo>
                    <a:pt x="12" y="13"/>
                  </a:lnTo>
                  <a:close/>
                </a:path>
              </a:pathLst>
            </a:custGeom>
            <a:solidFill>
              <a:srgbClr val="FFA6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76" name="Freeform 251"/>
            <p:cNvSpPr/>
            <p:nvPr userDrawn="1"/>
          </p:nvSpPr>
          <p:spPr bwMode="auto">
            <a:xfrm>
              <a:off x="5096668" y="2273300"/>
              <a:ext cx="53975" cy="17463"/>
            </a:xfrm>
            <a:custGeom>
              <a:avLst/>
              <a:gdLst>
                <a:gd name="T0" fmla="*/ 34 w 34"/>
                <a:gd name="T1" fmla="*/ 6 h 11"/>
                <a:gd name="T2" fmla="*/ 0 w 34"/>
                <a:gd name="T3" fmla="*/ 11 h 11"/>
                <a:gd name="T4" fmla="*/ 0 w 34"/>
                <a:gd name="T5" fmla="*/ 6 h 11"/>
                <a:gd name="T6" fmla="*/ 34 w 34"/>
                <a:gd name="T7" fmla="*/ 0 h 11"/>
                <a:gd name="T8" fmla="*/ 34 w 34"/>
                <a:gd name="T9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1">
                  <a:moveTo>
                    <a:pt x="34" y="6"/>
                  </a:moveTo>
                  <a:lnTo>
                    <a:pt x="0" y="11"/>
                  </a:lnTo>
                  <a:lnTo>
                    <a:pt x="0" y="6"/>
                  </a:lnTo>
                  <a:lnTo>
                    <a:pt x="34" y="0"/>
                  </a:lnTo>
                  <a:lnTo>
                    <a:pt x="34" y="6"/>
                  </a:lnTo>
                  <a:close/>
                </a:path>
              </a:pathLst>
            </a:custGeom>
            <a:solidFill>
              <a:srgbClr val="ABA4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77" name="Freeform 252"/>
            <p:cNvSpPr/>
            <p:nvPr userDrawn="1"/>
          </p:nvSpPr>
          <p:spPr bwMode="auto">
            <a:xfrm>
              <a:off x="5096668" y="2287588"/>
              <a:ext cx="57150" cy="15875"/>
            </a:xfrm>
            <a:custGeom>
              <a:avLst/>
              <a:gdLst>
                <a:gd name="T0" fmla="*/ 36 w 36"/>
                <a:gd name="T1" fmla="*/ 5 h 10"/>
                <a:gd name="T2" fmla="*/ 1 w 36"/>
                <a:gd name="T3" fmla="*/ 10 h 10"/>
                <a:gd name="T4" fmla="*/ 0 w 36"/>
                <a:gd name="T5" fmla="*/ 5 h 10"/>
                <a:gd name="T6" fmla="*/ 34 w 36"/>
                <a:gd name="T7" fmla="*/ 0 h 10"/>
                <a:gd name="T8" fmla="*/ 36 w 36"/>
                <a:gd name="T9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10">
                  <a:moveTo>
                    <a:pt x="36" y="5"/>
                  </a:moveTo>
                  <a:lnTo>
                    <a:pt x="1" y="10"/>
                  </a:lnTo>
                  <a:lnTo>
                    <a:pt x="0" y="5"/>
                  </a:lnTo>
                  <a:lnTo>
                    <a:pt x="34" y="0"/>
                  </a:lnTo>
                  <a:lnTo>
                    <a:pt x="36" y="5"/>
                  </a:lnTo>
                  <a:close/>
                </a:path>
              </a:pathLst>
            </a:custGeom>
            <a:solidFill>
              <a:srgbClr val="ABA4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78" name="Freeform 253"/>
            <p:cNvSpPr/>
            <p:nvPr userDrawn="1"/>
          </p:nvSpPr>
          <p:spPr bwMode="auto">
            <a:xfrm>
              <a:off x="5104606" y="2214563"/>
              <a:ext cx="19050" cy="11113"/>
            </a:xfrm>
            <a:custGeom>
              <a:avLst/>
              <a:gdLst>
                <a:gd name="T0" fmla="*/ 10 w 12"/>
                <a:gd name="T1" fmla="*/ 0 h 7"/>
                <a:gd name="T2" fmla="*/ 0 w 12"/>
                <a:gd name="T3" fmla="*/ 1 h 7"/>
                <a:gd name="T4" fmla="*/ 1 w 12"/>
                <a:gd name="T5" fmla="*/ 7 h 7"/>
                <a:gd name="T6" fmla="*/ 12 w 12"/>
                <a:gd name="T7" fmla="*/ 5 h 7"/>
                <a:gd name="T8" fmla="*/ 10 w 12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7">
                  <a:moveTo>
                    <a:pt x="10" y="0"/>
                  </a:moveTo>
                  <a:lnTo>
                    <a:pt x="0" y="1"/>
                  </a:lnTo>
                  <a:lnTo>
                    <a:pt x="1" y="7"/>
                  </a:lnTo>
                  <a:lnTo>
                    <a:pt x="12" y="5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ABA4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79" name="Freeform 254"/>
            <p:cNvSpPr/>
            <p:nvPr userDrawn="1"/>
          </p:nvSpPr>
          <p:spPr bwMode="auto">
            <a:xfrm>
              <a:off x="7001668" y="1890713"/>
              <a:ext cx="547688" cy="312738"/>
            </a:xfrm>
            <a:custGeom>
              <a:avLst/>
              <a:gdLst>
                <a:gd name="T0" fmla="*/ 162 w 201"/>
                <a:gd name="T1" fmla="*/ 59 h 115"/>
                <a:gd name="T2" fmla="*/ 157 w 201"/>
                <a:gd name="T3" fmla="*/ 58 h 115"/>
                <a:gd name="T4" fmla="*/ 157 w 201"/>
                <a:gd name="T5" fmla="*/ 58 h 115"/>
                <a:gd name="T6" fmla="*/ 148 w 201"/>
                <a:gd name="T7" fmla="*/ 44 h 115"/>
                <a:gd name="T8" fmla="*/ 116 w 201"/>
                <a:gd name="T9" fmla="*/ 5 h 115"/>
                <a:gd name="T10" fmla="*/ 69 w 201"/>
                <a:gd name="T11" fmla="*/ 24 h 115"/>
                <a:gd name="T12" fmla="*/ 62 w 201"/>
                <a:gd name="T13" fmla="*/ 21 h 115"/>
                <a:gd name="T14" fmla="*/ 36 w 201"/>
                <a:gd name="T15" fmla="*/ 34 h 115"/>
                <a:gd name="T16" fmla="*/ 35 w 201"/>
                <a:gd name="T17" fmla="*/ 39 h 115"/>
                <a:gd name="T18" fmla="*/ 34 w 201"/>
                <a:gd name="T19" fmla="*/ 39 h 115"/>
                <a:gd name="T20" fmla="*/ 3 w 201"/>
                <a:gd name="T21" fmla="*/ 55 h 115"/>
                <a:gd name="T22" fmla="*/ 23 w 201"/>
                <a:gd name="T23" fmla="*/ 84 h 115"/>
                <a:gd name="T24" fmla="*/ 46 w 201"/>
                <a:gd name="T25" fmla="*/ 80 h 115"/>
                <a:gd name="T26" fmla="*/ 89 w 201"/>
                <a:gd name="T27" fmla="*/ 108 h 115"/>
                <a:gd name="T28" fmla="*/ 145 w 201"/>
                <a:gd name="T29" fmla="*/ 95 h 115"/>
                <a:gd name="T30" fmla="*/ 153 w 201"/>
                <a:gd name="T31" fmla="*/ 97 h 115"/>
                <a:gd name="T32" fmla="*/ 198 w 201"/>
                <a:gd name="T33" fmla="*/ 88 h 115"/>
                <a:gd name="T34" fmla="*/ 162 w 201"/>
                <a:gd name="T35" fmla="*/ 59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01" h="115">
                  <a:moveTo>
                    <a:pt x="162" y="59"/>
                  </a:moveTo>
                  <a:cubicBezTo>
                    <a:pt x="161" y="58"/>
                    <a:pt x="159" y="58"/>
                    <a:pt x="157" y="58"/>
                  </a:cubicBezTo>
                  <a:cubicBezTo>
                    <a:pt x="157" y="58"/>
                    <a:pt x="157" y="58"/>
                    <a:pt x="157" y="58"/>
                  </a:cubicBezTo>
                  <a:cubicBezTo>
                    <a:pt x="159" y="52"/>
                    <a:pt x="155" y="46"/>
                    <a:pt x="148" y="44"/>
                  </a:cubicBezTo>
                  <a:cubicBezTo>
                    <a:pt x="149" y="27"/>
                    <a:pt x="136" y="10"/>
                    <a:pt x="116" y="5"/>
                  </a:cubicBezTo>
                  <a:cubicBezTo>
                    <a:pt x="96" y="0"/>
                    <a:pt x="76" y="8"/>
                    <a:pt x="69" y="24"/>
                  </a:cubicBezTo>
                  <a:cubicBezTo>
                    <a:pt x="67" y="22"/>
                    <a:pt x="65" y="21"/>
                    <a:pt x="62" y="21"/>
                  </a:cubicBezTo>
                  <a:cubicBezTo>
                    <a:pt x="50" y="18"/>
                    <a:pt x="38" y="24"/>
                    <a:pt x="36" y="34"/>
                  </a:cubicBezTo>
                  <a:cubicBezTo>
                    <a:pt x="35" y="36"/>
                    <a:pt x="35" y="38"/>
                    <a:pt x="35" y="39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20" y="36"/>
                    <a:pt x="6" y="43"/>
                    <a:pt x="3" y="55"/>
                  </a:cubicBezTo>
                  <a:cubicBezTo>
                    <a:pt x="0" y="67"/>
                    <a:pt x="9" y="80"/>
                    <a:pt x="23" y="84"/>
                  </a:cubicBezTo>
                  <a:cubicBezTo>
                    <a:pt x="32" y="86"/>
                    <a:pt x="40" y="84"/>
                    <a:pt x="46" y="80"/>
                  </a:cubicBezTo>
                  <a:cubicBezTo>
                    <a:pt x="51" y="92"/>
                    <a:pt x="68" y="103"/>
                    <a:pt x="89" y="108"/>
                  </a:cubicBezTo>
                  <a:cubicBezTo>
                    <a:pt x="116" y="115"/>
                    <a:pt x="141" y="109"/>
                    <a:pt x="145" y="95"/>
                  </a:cubicBezTo>
                  <a:cubicBezTo>
                    <a:pt x="148" y="96"/>
                    <a:pt x="150" y="97"/>
                    <a:pt x="153" y="97"/>
                  </a:cubicBezTo>
                  <a:cubicBezTo>
                    <a:pt x="175" y="103"/>
                    <a:pt x="195" y="98"/>
                    <a:pt x="198" y="88"/>
                  </a:cubicBezTo>
                  <a:cubicBezTo>
                    <a:pt x="201" y="77"/>
                    <a:pt x="185" y="64"/>
                    <a:pt x="162" y="5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80" name="Freeform 255"/>
            <p:cNvSpPr/>
            <p:nvPr userDrawn="1"/>
          </p:nvSpPr>
          <p:spPr bwMode="auto">
            <a:xfrm>
              <a:off x="7168356" y="2124075"/>
              <a:ext cx="125413" cy="198438"/>
            </a:xfrm>
            <a:custGeom>
              <a:avLst/>
              <a:gdLst>
                <a:gd name="T0" fmla="*/ 50 w 79"/>
                <a:gd name="T1" fmla="*/ 0 h 125"/>
                <a:gd name="T2" fmla="*/ 17 w 79"/>
                <a:gd name="T3" fmla="*/ 53 h 125"/>
                <a:gd name="T4" fmla="*/ 48 w 79"/>
                <a:gd name="T5" fmla="*/ 58 h 125"/>
                <a:gd name="T6" fmla="*/ 0 w 79"/>
                <a:gd name="T7" fmla="*/ 125 h 125"/>
                <a:gd name="T8" fmla="*/ 79 w 79"/>
                <a:gd name="T9" fmla="*/ 52 h 125"/>
                <a:gd name="T10" fmla="*/ 43 w 79"/>
                <a:gd name="T11" fmla="*/ 46 h 125"/>
                <a:gd name="T12" fmla="*/ 75 w 79"/>
                <a:gd name="T13" fmla="*/ 5 h 125"/>
                <a:gd name="T14" fmla="*/ 50 w 79"/>
                <a:gd name="T15" fmla="*/ 0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9" h="125">
                  <a:moveTo>
                    <a:pt x="50" y="0"/>
                  </a:moveTo>
                  <a:lnTo>
                    <a:pt x="17" y="53"/>
                  </a:lnTo>
                  <a:lnTo>
                    <a:pt x="48" y="58"/>
                  </a:lnTo>
                  <a:lnTo>
                    <a:pt x="0" y="125"/>
                  </a:lnTo>
                  <a:lnTo>
                    <a:pt x="79" y="52"/>
                  </a:lnTo>
                  <a:lnTo>
                    <a:pt x="43" y="46"/>
                  </a:lnTo>
                  <a:lnTo>
                    <a:pt x="75" y="5"/>
                  </a:lnTo>
                  <a:lnTo>
                    <a:pt x="50" y="0"/>
                  </a:lnTo>
                  <a:close/>
                </a:path>
              </a:pathLst>
            </a:custGeom>
            <a:solidFill>
              <a:srgbClr val="F3B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81" name="Freeform 256"/>
            <p:cNvSpPr/>
            <p:nvPr userDrawn="1"/>
          </p:nvSpPr>
          <p:spPr bwMode="auto">
            <a:xfrm>
              <a:off x="7293768" y="2230438"/>
              <a:ext cx="57150" cy="53975"/>
            </a:xfrm>
            <a:custGeom>
              <a:avLst/>
              <a:gdLst>
                <a:gd name="T0" fmla="*/ 11 w 21"/>
                <a:gd name="T1" fmla="*/ 16 h 20"/>
                <a:gd name="T2" fmla="*/ 17 w 21"/>
                <a:gd name="T3" fmla="*/ 0 h 20"/>
                <a:gd name="T4" fmla="*/ 11 w 21"/>
                <a:gd name="T5" fmla="*/ 16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" h="20">
                  <a:moveTo>
                    <a:pt x="11" y="16"/>
                  </a:moveTo>
                  <a:cubicBezTo>
                    <a:pt x="21" y="20"/>
                    <a:pt x="17" y="0"/>
                    <a:pt x="17" y="0"/>
                  </a:cubicBezTo>
                  <a:cubicBezTo>
                    <a:pt x="17" y="0"/>
                    <a:pt x="0" y="12"/>
                    <a:pt x="11" y="16"/>
                  </a:cubicBezTo>
                  <a:close/>
                </a:path>
              </a:pathLst>
            </a:custGeom>
            <a:solidFill>
              <a:srgbClr val="6A90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82" name="Freeform 257"/>
            <p:cNvSpPr/>
            <p:nvPr userDrawn="1"/>
          </p:nvSpPr>
          <p:spPr bwMode="auto">
            <a:xfrm>
              <a:off x="7363618" y="2173288"/>
              <a:ext cx="41275" cy="42863"/>
            </a:xfrm>
            <a:custGeom>
              <a:avLst/>
              <a:gdLst>
                <a:gd name="T0" fmla="*/ 7 w 15"/>
                <a:gd name="T1" fmla="*/ 12 h 16"/>
                <a:gd name="T2" fmla="*/ 14 w 15"/>
                <a:gd name="T3" fmla="*/ 0 h 16"/>
                <a:gd name="T4" fmla="*/ 7 w 15"/>
                <a:gd name="T5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6">
                  <a:moveTo>
                    <a:pt x="7" y="12"/>
                  </a:moveTo>
                  <a:cubicBezTo>
                    <a:pt x="15" y="16"/>
                    <a:pt x="14" y="0"/>
                    <a:pt x="14" y="0"/>
                  </a:cubicBezTo>
                  <a:cubicBezTo>
                    <a:pt x="14" y="0"/>
                    <a:pt x="0" y="8"/>
                    <a:pt x="7" y="12"/>
                  </a:cubicBezTo>
                  <a:close/>
                </a:path>
              </a:pathLst>
            </a:custGeom>
            <a:solidFill>
              <a:srgbClr val="6A90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83" name="Freeform 258"/>
            <p:cNvSpPr/>
            <p:nvPr userDrawn="1"/>
          </p:nvSpPr>
          <p:spPr bwMode="auto">
            <a:xfrm>
              <a:off x="7039768" y="2127250"/>
              <a:ext cx="41275" cy="42863"/>
            </a:xfrm>
            <a:custGeom>
              <a:avLst/>
              <a:gdLst>
                <a:gd name="T0" fmla="*/ 8 w 15"/>
                <a:gd name="T1" fmla="*/ 12 h 16"/>
                <a:gd name="T2" fmla="*/ 14 w 15"/>
                <a:gd name="T3" fmla="*/ 0 h 16"/>
                <a:gd name="T4" fmla="*/ 8 w 15"/>
                <a:gd name="T5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6">
                  <a:moveTo>
                    <a:pt x="8" y="12"/>
                  </a:moveTo>
                  <a:cubicBezTo>
                    <a:pt x="15" y="16"/>
                    <a:pt x="14" y="0"/>
                    <a:pt x="14" y="0"/>
                  </a:cubicBezTo>
                  <a:cubicBezTo>
                    <a:pt x="14" y="0"/>
                    <a:pt x="0" y="8"/>
                    <a:pt x="8" y="12"/>
                  </a:cubicBezTo>
                  <a:close/>
                </a:path>
              </a:pathLst>
            </a:custGeom>
            <a:solidFill>
              <a:srgbClr val="6A90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84" name="Freeform 259"/>
            <p:cNvSpPr/>
            <p:nvPr userDrawn="1"/>
          </p:nvSpPr>
          <p:spPr bwMode="auto">
            <a:xfrm>
              <a:off x="7039768" y="2187575"/>
              <a:ext cx="41275" cy="42863"/>
            </a:xfrm>
            <a:custGeom>
              <a:avLst/>
              <a:gdLst>
                <a:gd name="T0" fmla="*/ 8 w 15"/>
                <a:gd name="T1" fmla="*/ 12 h 16"/>
                <a:gd name="T2" fmla="*/ 14 w 15"/>
                <a:gd name="T3" fmla="*/ 0 h 16"/>
                <a:gd name="T4" fmla="*/ 8 w 15"/>
                <a:gd name="T5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6">
                  <a:moveTo>
                    <a:pt x="8" y="12"/>
                  </a:moveTo>
                  <a:cubicBezTo>
                    <a:pt x="15" y="16"/>
                    <a:pt x="14" y="0"/>
                    <a:pt x="14" y="0"/>
                  </a:cubicBezTo>
                  <a:cubicBezTo>
                    <a:pt x="14" y="0"/>
                    <a:pt x="0" y="8"/>
                    <a:pt x="8" y="12"/>
                  </a:cubicBezTo>
                  <a:close/>
                </a:path>
              </a:pathLst>
            </a:custGeom>
            <a:solidFill>
              <a:srgbClr val="6A90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85" name="Freeform 260"/>
            <p:cNvSpPr/>
            <p:nvPr userDrawn="1"/>
          </p:nvSpPr>
          <p:spPr bwMode="auto">
            <a:xfrm>
              <a:off x="7092156" y="2165350"/>
              <a:ext cx="65088" cy="69850"/>
            </a:xfrm>
            <a:custGeom>
              <a:avLst/>
              <a:gdLst>
                <a:gd name="T0" fmla="*/ 12 w 24"/>
                <a:gd name="T1" fmla="*/ 18 h 26"/>
                <a:gd name="T2" fmla="*/ 24 w 24"/>
                <a:gd name="T3" fmla="*/ 0 h 26"/>
                <a:gd name="T4" fmla="*/ 12 w 24"/>
                <a:gd name="T5" fmla="*/ 18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26">
                  <a:moveTo>
                    <a:pt x="12" y="18"/>
                  </a:moveTo>
                  <a:cubicBezTo>
                    <a:pt x="24" y="26"/>
                    <a:pt x="24" y="0"/>
                    <a:pt x="24" y="0"/>
                  </a:cubicBezTo>
                  <a:cubicBezTo>
                    <a:pt x="24" y="0"/>
                    <a:pt x="0" y="10"/>
                    <a:pt x="12" y="18"/>
                  </a:cubicBezTo>
                  <a:close/>
                </a:path>
              </a:pathLst>
            </a:custGeom>
            <a:solidFill>
              <a:srgbClr val="6A90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86" name="Freeform 261"/>
            <p:cNvSpPr/>
            <p:nvPr userDrawn="1"/>
          </p:nvSpPr>
          <p:spPr bwMode="auto">
            <a:xfrm>
              <a:off x="7477918" y="2371725"/>
              <a:ext cx="441325" cy="119063"/>
            </a:xfrm>
            <a:custGeom>
              <a:avLst/>
              <a:gdLst>
                <a:gd name="T0" fmla="*/ 273 w 278"/>
                <a:gd name="T1" fmla="*/ 75 h 75"/>
                <a:gd name="T2" fmla="*/ 0 w 278"/>
                <a:gd name="T3" fmla="*/ 31 h 75"/>
                <a:gd name="T4" fmla="*/ 5 w 278"/>
                <a:gd name="T5" fmla="*/ 0 h 75"/>
                <a:gd name="T6" fmla="*/ 278 w 278"/>
                <a:gd name="T7" fmla="*/ 45 h 75"/>
                <a:gd name="T8" fmla="*/ 273 w 278"/>
                <a:gd name="T9" fmla="*/ 7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8" h="75">
                  <a:moveTo>
                    <a:pt x="273" y="75"/>
                  </a:moveTo>
                  <a:lnTo>
                    <a:pt x="0" y="31"/>
                  </a:lnTo>
                  <a:lnTo>
                    <a:pt x="5" y="0"/>
                  </a:lnTo>
                  <a:lnTo>
                    <a:pt x="278" y="45"/>
                  </a:lnTo>
                  <a:lnTo>
                    <a:pt x="273" y="75"/>
                  </a:lnTo>
                  <a:close/>
                </a:path>
              </a:pathLst>
            </a:custGeom>
            <a:solidFill>
              <a:srgbClr val="2424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87" name="Freeform 262"/>
            <p:cNvSpPr/>
            <p:nvPr userDrawn="1"/>
          </p:nvSpPr>
          <p:spPr bwMode="auto">
            <a:xfrm>
              <a:off x="7543006" y="2222500"/>
              <a:ext cx="280988" cy="130175"/>
            </a:xfrm>
            <a:custGeom>
              <a:avLst/>
              <a:gdLst>
                <a:gd name="T0" fmla="*/ 0 w 103"/>
                <a:gd name="T1" fmla="*/ 31 h 48"/>
                <a:gd name="T2" fmla="*/ 103 w 103"/>
                <a:gd name="T3" fmla="*/ 48 h 48"/>
                <a:gd name="T4" fmla="*/ 59 w 103"/>
                <a:gd name="T5" fmla="*/ 6 h 48"/>
                <a:gd name="T6" fmla="*/ 0 w 103"/>
                <a:gd name="T7" fmla="*/ 31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3" h="48">
                  <a:moveTo>
                    <a:pt x="0" y="31"/>
                  </a:moveTo>
                  <a:cubicBezTo>
                    <a:pt x="103" y="48"/>
                    <a:pt x="103" y="48"/>
                    <a:pt x="103" y="48"/>
                  </a:cubicBezTo>
                  <a:cubicBezTo>
                    <a:pt x="103" y="48"/>
                    <a:pt x="95" y="12"/>
                    <a:pt x="59" y="6"/>
                  </a:cubicBezTo>
                  <a:cubicBezTo>
                    <a:pt x="23" y="0"/>
                    <a:pt x="0" y="31"/>
                    <a:pt x="0" y="31"/>
                  </a:cubicBezTo>
                  <a:close/>
                </a:path>
              </a:pathLst>
            </a:custGeom>
            <a:solidFill>
              <a:srgbClr val="77A7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88" name="Freeform 263"/>
            <p:cNvSpPr>
              <a:spLocks noEditPoints="1"/>
            </p:cNvSpPr>
            <p:nvPr userDrawn="1"/>
          </p:nvSpPr>
          <p:spPr bwMode="auto">
            <a:xfrm>
              <a:off x="7447756" y="2222500"/>
              <a:ext cx="487363" cy="285750"/>
            </a:xfrm>
            <a:custGeom>
              <a:avLst/>
              <a:gdLst>
                <a:gd name="T0" fmla="*/ 142 w 179"/>
                <a:gd name="T1" fmla="*/ 47 h 105"/>
                <a:gd name="T2" fmla="*/ 94 w 179"/>
                <a:gd name="T3" fmla="*/ 5 h 105"/>
                <a:gd name="T4" fmla="*/ 29 w 179"/>
                <a:gd name="T5" fmla="*/ 35 h 105"/>
                <a:gd name="T6" fmla="*/ 0 w 179"/>
                <a:gd name="T7" fmla="*/ 76 h 105"/>
                <a:gd name="T8" fmla="*/ 11 w 179"/>
                <a:gd name="T9" fmla="*/ 78 h 105"/>
                <a:gd name="T10" fmla="*/ 13 w 179"/>
                <a:gd name="T11" fmla="*/ 78 h 105"/>
                <a:gd name="T12" fmla="*/ 35 w 179"/>
                <a:gd name="T13" fmla="*/ 62 h 105"/>
                <a:gd name="T14" fmla="*/ 52 w 179"/>
                <a:gd name="T15" fmla="*/ 84 h 105"/>
                <a:gd name="T16" fmla="*/ 82 w 179"/>
                <a:gd name="T17" fmla="*/ 90 h 105"/>
                <a:gd name="T18" fmla="*/ 93 w 179"/>
                <a:gd name="T19" fmla="*/ 91 h 105"/>
                <a:gd name="T20" fmla="*/ 128 w 179"/>
                <a:gd name="T21" fmla="*/ 97 h 105"/>
                <a:gd name="T22" fmla="*/ 151 w 179"/>
                <a:gd name="T23" fmla="*/ 81 h 105"/>
                <a:gd name="T24" fmla="*/ 167 w 179"/>
                <a:gd name="T25" fmla="*/ 104 h 105"/>
                <a:gd name="T26" fmla="*/ 175 w 179"/>
                <a:gd name="T27" fmla="*/ 105 h 105"/>
                <a:gd name="T28" fmla="*/ 142 w 179"/>
                <a:gd name="T29" fmla="*/ 47 h 105"/>
                <a:gd name="T30" fmla="*/ 86 w 179"/>
                <a:gd name="T31" fmla="*/ 38 h 105"/>
                <a:gd name="T32" fmla="*/ 41 w 179"/>
                <a:gd name="T33" fmla="*/ 31 h 105"/>
                <a:gd name="T34" fmla="*/ 91 w 179"/>
                <a:gd name="T35" fmla="*/ 10 h 105"/>
                <a:gd name="T36" fmla="*/ 92 w 179"/>
                <a:gd name="T37" fmla="*/ 7 h 105"/>
                <a:gd name="T38" fmla="*/ 86 w 179"/>
                <a:gd name="T39" fmla="*/ 38 h 105"/>
                <a:gd name="T40" fmla="*/ 92 w 179"/>
                <a:gd name="T41" fmla="*/ 39 h 105"/>
                <a:gd name="T42" fmla="*/ 97 w 179"/>
                <a:gd name="T43" fmla="*/ 11 h 105"/>
                <a:gd name="T44" fmla="*/ 135 w 179"/>
                <a:gd name="T45" fmla="*/ 46 h 105"/>
                <a:gd name="T46" fmla="*/ 92 w 179"/>
                <a:gd name="T47" fmla="*/ 39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9" h="105">
                  <a:moveTo>
                    <a:pt x="142" y="47"/>
                  </a:moveTo>
                  <a:cubicBezTo>
                    <a:pt x="133" y="25"/>
                    <a:pt x="116" y="8"/>
                    <a:pt x="94" y="5"/>
                  </a:cubicBezTo>
                  <a:cubicBezTo>
                    <a:pt x="69" y="0"/>
                    <a:pt x="45" y="13"/>
                    <a:pt x="29" y="35"/>
                  </a:cubicBezTo>
                  <a:cubicBezTo>
                    <a:pt x="8" y="32"/>
                    <a:pt x="4" y="57"/>
                    <a:pt x="0" y="76"/>
                  </a:cubicBezTo>
                  <a:cubicBezTo>
                    <a:pt x="11" y="78"/>
                    <a:pt x="11" y="78"/>
                    <a:pt x="11" y="78"/>
                  </a:cubicBezTo>
                  <a:cubicBezTo>
                    <a:pt x="13" y="78"/>
                    <a:pt x="13" y="78"/>
                    <a:pt x="13" y="78"/>
                  </a:cubicBezTo>
                  <a:cubicBezTo>
                    <a:pt x="15" y="67"/>
                    <a:pt x="25" y="60"/>
                    <a:pt x="35" y="62"/>
                  </a:cubicBezTo>
                  <a:cubicBezTo>
                    <a:pt x="46" y="64"/>
                    <a:pt x="53" y="74"/>
                    <a:pt x="52" y="84"/>
                  </a:cubicBezTo>
                  <a:cubicBezTo>
                    <a:pt x="82" y="90"/>
                    <a:pt x="82" y="90"/>
                    <a:pt x="82" y="90"/>
                  </a:cubicBezTo>
                  <a:cubicBezTo>
                    <a:pt x="93" y="91"/>
                    <a:pt x="93" y="91"/>
                    <a:pt x="93" y="91"/>
                  </a:cubicBezTo>
                  <a:cubicBezTo>
                    <a:pt x="128" y="97"/>
                    <a:pt x="128" y="97"/>
                    <a:pt x="128" y="97"/>
                  </a:cubicBezTo>
                  <a:cubicBezTo>
                    <a:pt x="130" y="86"/>
                    <a:pt x="140" y="79"/>
                    <a:pt x="151" y="81"/>
                  </a:cubicBezTo>
                  <a:cubicBezTo>
                    <a:pt x="161" y="83"/>
                    <a:pt x="169" y="93"/>
                    <a:pt x="167" y="104"/>
                  </a:cubicBezTo>
                  <a:cubicBezTo>
                    <a:pt x="175" y="105"/>
                    <a:pt x="175" y="105"/>
                    <a:pt x="175" y="105"/>
                  </a:cubicBezTo>
                  <a:cubicBezTo>
                    <a:pt x="179" y="77"/>
                    <a:pt x="173" y="52"/>
                    <a:pt x="142" y="47"/>
                  </a:cubicBezTo>
                  <a:close/>
                  <a:moveTo>
                    <a:pt x="86" y="38"/>
                  </a:moveTo>
                  <a:cubicBezTo>
                    <a:pt x="41" y="31"/>
                    <a:pt x="41" y="31"/>
                    <a:pt x="41" y="31"/>
                  </a:cubicBezTo>
                  <a:cubicBezTo>
                    <a:pt x="46" y="23"/>
                    <a:pt x="67" y="6"/>
                    <a:pt x="91" y="10"/>
                  </a:cubicBezTo>
                  <a:cubicBezTo>
                    <a:pt x="92" y="7"/>
                    <a:pt x="92" y="7"/>
                    <a:pt x="92" y="7"/>
                  </a:cubicBezTo>
                  <a:lnTo>
                    <a:pt x="86" y="38"/>
                  </a:lnTo>
                  <a:close/>
                  <a:moveTo>
                    <a:pt x="92" y="39"/>
                  </a:moveTo>
                  <a:cubicBezTo>
                    <a:pt x="97" y="11"/>
                    <a:pt x="97" y="11"/>
                    <a:pt x="97" y="11"/>
                  </a:cubicBezTo>
                  <a:cubicBezTo>
                    <a:pt x="120" y="17"/>
                    <a:pt x="132" y="33"/>
                    <a:pt x="135" y="46"/>
                  </a:cubicBezTo>
                  <a:lnTo>
                    <a:pt x="92" y="39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89" name="Freeform 264"/>
            <p:cNvSpPr/>
            <p:nvPr userDrawn="1"/>
          </p:nvSpPr>
          <p:spPr bwMode="auto">
            <a:xfrm>
              <a:off x="7847806" y="2520950"/>
              <a:ext cx="103188" cy="103188"/>
            </a:xfrm>
            <a:custGeom>
              <a:avLst/>
              <a:gdLst>
                <a:gd name="T0" fmla="*/ 36 w 38"/>
                <a:gd name="T1" fmla="*/ 22 h 38"/>
                <a:gd name="T2" fmla="*/ 16 w 38"/>
                <a:gd name="T3" fmla="*/ 36 h 38"/>
                <a:gd name="T4" fmla="*/ 2 w 38"/>
                <a:gd name="T5" fmla="*/ 16 h 38"/>
                <a:gd name="T6" fmla="*/ 22 w 38"/>
                <a:gd name="T7" fmla="*/ 1 h 38"/>
                <a:gd name="T8" fmla="*/ 36 w 38"/>
                <a:gd name="T9" fmla="*/ 22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8">
                  <a:moveTo>
                    <a:pt x="36" y="22"/>
                  </a:moveTo>
                  <a:cubicBezTo>
                    <a:pt x="35" y="31"/>
                    <a:pt x="26" y="38"/>
                    <a:pt x="16" y="36"/>
                  </a:cubicBezTo>
                  <a:cubicBezTo>
                    <a:pt x="7" y="34"/>
                    <a:pt x="0" y="25"/>
                    <a:pt x="2" y="16"/>
                  </a:cubicBezTo>
                  <a:cubicBezTo>
                    <a:pt x="3" y="6"/>
                    <a:pt x="12" y="0"/>
                    <a:pt x="22" y="1"/>
                  </a:cubicBezTo>
                  <a:cubicBezTo>
                    <a:pt x="32" y="3"/>
                    <a:pt x="38" y="12"/>
                    <a:pt x="36" y="22"/>
                  </a:cubicBezTo>
                  <a:close/>
                </a:path>
              </a:pathLst>
            </a:custGeom>
            <a:solidFill>
              <a:srgbClr val="4040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90" name="Freeform 265"/>
            <p:cNvSpPr/>
            <p:nvPr userDrawn="1"/>
          </p:nvSpPr>
          <p:spPr bwMode="auto">
            <a:xfrm>
              <a:off x="7863681" y="2538413"/>
              <a:ext cx="71438" cy="69850"/>
            </a:xfrm>
            <a:custGeom>
              <a:avLst/>
              <a:gdLst>
                <a:gd name="T0" fmla="*/ 25 w 26"/>
                <a:gd name="T1" fmla="*/ 15 h 26"/>
                <a:gd name="T2" fmla="*/ 11 w 26"/>
                <a:gd name="T3" fmla="*/ 25 h 26"/>
                <a:gd name="T4" fmla="*/ 1 w 26"/>
                <a:gd name="T5" fmla="*/ 11 h 26"/>
                <a:gd name="T6" fmla="*/ 15 w 26"/>
                <a:gd name="T7" fmla="*/ 1 h 26"/>
                <a:gd name="T8" fmla="*/ 25 w 26"/>
                <a:gd name="T9" fmla="*/ 1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26">
                  <a:moveTo>
                    <a:pt x="25" y="15"/>
                  </a:moveTo>
                  <a:cubicBezTo>
                    <a:pt x="24" y="21"/>
                    <a:pt x="18" y="26"/>
                    <a:pt x="11" y="25"/>
                  </a:cubicBezTo>
                  <a:cubicBezTo>
                    <a:pt x="5" y="23"/>
                    <a:pt x="0" y="17"/>
                    <a:pt x="1" y="11"/>
                  </a:cubicBezTo>
                  <a:cubicBezTo>
                    <a:pt x="2" y="4"/>
                    <a:pt x="9" y="0"/>
                    <a:pt x="15" y="1"/>
                  </a:cubicBezTo>
                  <a:cubicBezTo>
                    <a:pt x="22" y="2"/>
                    <a:pt x="26" y="8"/>
                    <a:pt x="25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91" name="Freeform 266"/>
            <p:cNvSpPr/>
            <p:nvPr userDrawn="1"/>
          </p:nvSpPr>
          <p:spPr bwMode="auto">
            <a:xfrm>
              <a:off x="7877968" y="2547938"/>
              <a:ext cx="46038" cy="47625"/>
            </a:xfrm>
            <a:custGeom>
              <a:avLst/>
              <a:gdLst>
                <a:gd name="T0" fmla="*/ 16 w 17"/>
                <a:gd name="T1" fmla="*/ 10 h 17"/>
                <a:gd name="T2" fmla="*/ 7 w 17"/>
                <a:gd name="T3" fmla="*/ 16 h 17"/>
                <a:gd name="T4" fmla="*/ 0 w 17"/>
                <a:gd name="T5" fmla="*/ 7 h 17"/>
                <a:gd name="T6" fmla="*/ 9 w 17"/>
                <a:gd name="T7" fmla="*/ 1 h 17"/>
                <a:gd name="T8" fmla="*/ 16 w 17"/>
                <a:gd name="T9" fmla="*/ 1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7">
                  <a:moveTo>
                    <a:pt x="16" y="10"/>
                  </a:moveTo>
                  <a:cubicBezTo>
                    <a:pt x="15" y="14"/>
                    <a:pt x="11" y="17"/>
                    <a:pt x="7" y="16"/>
                  </a:cubicBezTo>
                  <a:cubicBezTo>
                    <a:pt x="3" y="16"/>
                    <a:pt x="0" y="12"/>
                    <a:pt x="0" y="7"/>
                  </a:cubicBezTo>
                  <a:cubicBezTo>
                    <a:pt x="1" y="3"/>
                    <a:pt x="5" y="0"/>
                    <a:pt x="9" y="1"/>
                  </a:cubicBezTo>
                  <a:cubicBezTo>
                    <a:pt x="14" y="2"/>
                    <a:pt x="17" y="6"/>
                    <a:pt x="16" y="10"/>
                  </a:cubicBezTo>
                  <a:close/>
                </a:path>
              </a:pathLst>
            </a:custGeom>
            <a:solidFill>
              <a:srgbClr val="6969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92" name="Freeform 267"/>
            <p:cNvSpPr/>
            <p:nvPr userDrawn="1"/>
          </p:nvSpPr>
          <p:spPr bwMode="auto">
            <a:xfrm>
              <a:off x="7485856" y="2390775"/>
              <a:ext cx="101600" cy="103188"/>
            </a:xfrm>
            <a:custGeom>
              <a:avLst/>
              <a:gdLst>
                <a:gd name="T0" fmla="*/ 36 w 37"/>
                <a:gd name="T1" fmla="*/ 22 h 38"/>
                <a:gd name="T2" fmla="*/ 16 w 37"/>
                <a:gd name="T3" fmla="*/ 37 h 38"/>
                <a:gd name="T4" fmla="*/ 1 w 37"/>
                <a:gd name="T5" fmla="*/ 16 h 38"/>
                <a:gd name="T6" fmla="*/ 21 w 37"/>
                <a:gd name="T7" fmla="*/ 2 h 38"/>
                <a:gd name="T8" fmla="*/ 36 w 37"/>
                <a:gd name="T9" fmla="*/ 22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38">
                  <a:moveTo>
                    <a:pt x="36" y="22"/>
                  </a:moveTo>
                  <a:cubicBezTo>
                    <a:pt x="34" y="32"/>
                    <a:pt x="25" y="38"/>
                    <a:pt x="16" y="37"/>
                  </a:cubicBezTo>
                  <a:cubicBezTo>
                    <a:pt x="6" y="35"/>
                    <a:pt x="0" y="26"/>
                    <a:pt x="1" y="16"/>
                  </a:cubicBezTo>
                  <a:cubicBezTo>
                    <a:pt x="3" y="7"/>
                    <a:pt x="12" y="0"/>
                    <a:pt x="21" y="2"/>
                  </a:cubicBezTo>
                  <a:cubicBezTo>
                    <a:pt x="31" y="4"/>
                    <a:pt x="37" y="13"/>
                    <a:pt x="36" y="22"/>
                  </a:cubicBezTo>
                  <a:close/>
                </a:path>
              </a:pathLst>
            </a:custGeom>
            <a:solidFill>
              <a:srgbClr val="4040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93" name="Freeform 268"/>
            <p:cNvSpPr/>
            <p:nvPr userDrawn="1"/>
          </p:nvSpPr>
          <p:spPr bwMode="auto">
            <a:xfrm>
              <a:off x="7500143" y="2406650"/>
              <a:ext cx="69850" cy="71438"/>
            </a:xfrm>
            <a:custGeom>
              <a:avLst/>
              <a:gdLst>
                <a:gd name="T0" fmla="*/ 25 w 26"/>
                <a:gd name="T1" fmla="*/ 15 h 26"/>
                <a:gd name="T2" fmla="*/ 11 w 26"/>
                <a:gd name="T3" fmla="*/ 25 h 26"/>
                <a:gd name="T4" fmla="*/ 2 w 26"/>
                <a:gd name="T5" fmla="*/ 11 h 26"/>
                <a:gd name="T6" fmla="*/ 15 w 26"/>
                <a:gd name="T7" fmla="*/ 1 h 26"/>
                <a:gd name="T8" fmla="*/ 25 w 26"/>
                <a:gd name="T9" fmla="*/ 1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26">
                  <a:moveTo>
                    <a:pt x="25" y="15"/>
                  </a:moveTo>
                  <a:cubicBezTo>
                    <a:pt x="24" y="22"/>
                    <a:pt x="18" y="26"/>
                    <a:pt x="11" y="25"/>
                  </a:cubicBezTo>
                  <a:cubicBezTo>
                    <a:pt x="5" y="24"/>
                    <a:pt x="0" y="18"/>
                    <a:pt x="2" y="11"/>
                  </a:cubicBezTo>
                  <a:cubicBezTo>
                    <a:pt x="3" y="5"/>
                    <a:pt x="9" y="0"/>
                    <a:pt x="15" y="1"/>
                  </a:cubicBezTo>
                  <a:cubicBezTo>
                    <a:pt x="22" y="2"/>
                    <a:pt x="26" y="9"/>
                    <a:pt x="25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94" name="Freeform 269"/>
            <p:cNvSpPr/>
            <p:nvPr userDrawn="1"/>
          </p:nvSpPr>
          <p:spPr bwMode="auto">
            <a:xfrm>
              <a:off x="7512843" y="2420938"/>
              <a:ext cx="47625" cy="46038"/>
            </a:xfrm>
            <a:custGeom>
              <a:avLst/>
              <a:gdLst>
                <a:gd name="T0" fmla="*/ 16 w 17"/>
                <a:gd name="T1" fmla="*/ 10 h 17"/>
                <a:gd name="T2" fmla="*/ 7 w 17"/>
                <a:gd name="T3" fmla="*/ 16 h 17"/>
                <a:gd name="T4" fmla="*/ 1 w 17"/>
                <a:gd name="T5" fmla="*/ 7 h 17"/>
                <a:gd name="T6" fmla="*/ 10 w 17"/>
                <a:gd name="T7" fmla="*/ 0 h 17"/>
                <a:gd name="T8" fmla="*/ 16 w 17"/>
                <a:gd name="T9" fmla="*/ 1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7">
                  <a:moveTo>
                    <a:pt x="16" y="10"/>
                  </a:moveTo>
                  <a:cubicBezTo>
                    <a:pt x="16" y="14"/>
                    <a:pt x="11" y="17"/>
                    <a:pt x="7" y="16"/>
                  </a:cubicBezTo>
                  <a:cubicBezTo>
                    <a:pt x="3" y="15"/>
                    <a:pt x="0" y="11"/>
                    <a:pt x="1" y="7"/>
                  </a:cubicBezTo>
                  <a:cubicBezTo>
                    <a:pt x="1" y="3"/>
                    <a:pt x="5" y="0"/>
                    <a:pt x="10" y="0"/>
                  </a:cubicBezTo>
                  <a:cubicBezTo>
                    <a:pt x="14" y="1"/>
                    <a:pt x="17" y="5"/>
                    <a:pt x="16" y="10"/>
                  </a:cubicBezTo>
                  <a:close/>
                </a:path>
              </a:pathLst>
            </a:custGeom>
            <a:solidFill>
              <a:srgbClr val="6969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95" name="Freeform 270"/>
            <p:cNvSpPr/>
            <p:nvPr userDrawn="1"/>
          </p:nvSpPr>
          <p:spPr bwMode="auto">
            <a:xfrm>
              <a:off x="7877968" y="2398713"/>
              <a:ext cx="23813" cy="44450"/>
            </a:xfrm>
            <a:custGeom>
              <a:avLst/>
              <a:gdLst>
                <a:gd name="T0" fmla="*/ 8 w 9"/>
                <a:gd name="T1" fmla="*/ 7 h 16"/>
                <a:gd name="T2" fmla="*/ 5 w 9"/>
                <a:gd name="T3" fmla="*/ 15 h 16"/>
                <a:gd name="T4" fmla="*/ 0 w 9"/>
                <a:gd name="T5" fmla="*/ 8 h 16"/>
                <a:gd name="T6" fmla="*/ 4 w 9"/>
                <a:gd name="T7" fmla="*/ 0 h 16"/>
                <a:gd name="T8" fmla="*/ 8 w 9"/>
                <a:gd name="T9" fmla="*/ 7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6">
                  <a:moveTo>
                    <a:pt x="8" y="7"/>
                  </a:moveTo>
                  <a:cubicBezTo>
                    <a:pt x="9" y="12"/>
                    <a:pt x="7" y="15"/>
                    <a:pt x="5" y="15"/>
                  </a:cubicBezTo>
                  <a:cubicBezTo>
                    <a:pt x="3" y="16"/>
                    <a:pt x="1" y="12"/>
                    <a:pt x="0" y="8"/>
                  </a:cubicBezTo>
                  <a:cubicBezTo>
                    <a:pt x="0" y="4"/>
                    <a:pt x="1" y="0"/>
                    <a:pt x="4" y="0"/>
                  </a:cubicBezTo>
                  <a:cubicBezTo>
                    <a:pt x="6" y="0"/>
                    <a:pt x="8" y="3"/>
                    <a:pt x="8" y="7"/>
                  </a:cubicBezTo>
                  <a:close/>
                </a:path>
              </a:pathLst>
            </a:custGeom>
            <a:solidFill>
              <a:srgbClr val="FDE3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96" name="Freeform 271"/>
            <p:cNvSpPr/>
            <p:nvPr userDrawn="1"/>
          </p:nvSpPr>
          <p:spPr bwMode="auto">
            <a:xfrm>
              <a:off x="7477918" y="2341563"/>
              <a:ext cx="22225" cy="33338"/>
            </a:xfrm>
            <a:custGeom>
              <a:avLst/>
              <a:gdLst>
                <a:gd name="T0" fmla="*/ 7 w 8"/>
                <a:gd name="T1" fmla="*/ 7 h 12"/>
                <a:gd name="T2" fmla="*/ 2 w 8"/>
                <a:gd name="T3" fmla="*/ 11 h 12"/>
                <a:gd name="T4" fmla="*/ 1 w 8"/>
                <a:gd name="T5" fmla="*/ 5 h 12"/>
                <a:gd name="T6" fmla="*/ 6 w 8"/>
                <a:gd name="T7" fmla="*/ 1 h 12"/>
                <a:gd name="T8" fmla="*/ 7 w 8"/>
                <a:gd name="T9" fmla="*/ 7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2">
                  <a:moveTo>
                    <a:pt x="7" y="7"/>
                  </a:moveTo>
                  <a:cubicBezTo>
                    <a:pt x="5" y="10"/>
                    <a:pt x="3" y="12"/>
                    <a:pt x="2" y="11"/>
                  </a:cubicBezTo>
                  <a:cubicBezTo>
                    <a:pt x="0" y="11"/>
                    <a:pt x="0" y="8"/>
                    <a:pt x="1" y="5"/>
                  </a:cubicBezTo>
                  <a:cubicBezTo>
                    <a:pt x="2" y="2"/>
                    <a:pt x="5" y="0"/>
                    <a:pt x="6" y="1"/>
                  </a:cubicBezTo>
                  <a:cubicBezTo>
                    <a:pt x="8" y="2"/>
                    <a:pt x="8" y="4"/>
                    <a:pt x="7" y="7"/>
                  </a:cubicBezTo>
                  <a:close/>
                </a:path>
              </a:pathLst>
            </a:custGeom>
            <a:solidFill>
              <a:srgbClr val="9628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97" name="Freeform 272"/>
            <p:cNvSpPr/>
            <p:nvPr userDrawn="1"/>
          </p:nvSpPr>
          <p:spPr bwMode="auto">
            <a:xfrm>
              <a:off x="7695406" y="2347913"/>
              <a:ext cx="38100" cy="19050"/>
            </a:xfrm>
            <a:custGeom>
              <a:avLst/>
              <a:gdLst>
                <a:gd name="T0" fmla="*/ 11 w 14"/>
                <a:gd name="T1" fmla="*/ 6 h 7"/>
                <a:gd name="T2" fmla="*/ 3 w 14"/>
                <a:gd name="T3" fmla="*/ 5 h 7"/>
                <a:gd name="T4" fmla="*/ 1 w 14"/>
                <a:gd name="T5" fmla="*/ 2 h 7"/>
                <a:gd name="T6" fmla="*/ 1 w 14"/>
                <a:gd name="T7" fmla="*/ 2 h 7"/>
                <a:gd name="T8" fmla="*/ 4 w 14"/>
                <a:gd name="T9" fmla="*/ 0 h 7"/>
                <a:gd name="T10" fmla="*/ 11 w 14"/>
                <a:gd name="T11" fmla="*/ 2 h 7"/>
                <a:gd name="T12" fmla="*/ 14 w 14"/>
                <a:gd name="T13" fmla="*/ 4 h 7"/>
                <a:gd name="T14" fmla="*/ 14 w 14"/>
                <a:gd name="T15" fmla="*/ 4 h 7"/>
                <a:gd name="T16" fmla="*/ 11 w 14"/>
                <a:gd name="T1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" h="7">
                  <a:moveTo>
                    <a:pt x="11" y="6"/>
                  </a:moveTo>
                  <a:cubicBezTo>
                    <a:pt x="3" y="5"/>
                    <a:pt x="3" y="5"/>
                    <a:pt x="3" y="5"/>
                  </a:cubicBezTo>
                  <a:cubicBezTo>
                    <a:pt x="2" y="5"/>
                    <a:pt x="0" y="4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2" y="0"/>
                    <a:pt x="4" y="0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3" y="2"/>
                    <a:pt x="14" y="3"/>
                    <a:pt x="14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4" y="6"/>
                    <a:pt x="12" y="7"/>
                    <a:pt x="11" y="6"/>
                  </a:cubicBezTo>
                  <a:close/>
                </a:path>
              </a:pathLst>
            </a:custGeom>
            <a:solidFill>
              <a:srgbClr val="4040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98" name="Freeform 273"/>
            <p:cNvSpPr/>
            <p:nvPr userDrawn="1"/>
          </p:nvSpPr>
          <p:spPr bwMode="auto">
            <a:xfrm>
              <a:off x="7752556" y="2482850"/>
              <a:ext cx="34925" cy="65088"/>
            </a:xfrm>
            <a:custGeom>
              <a:avLst/>
              <a:gdLst>
                <a:gd name="T0" fmla="*/ 12 w 22"/>
                <a:gd name="T1" fmla="*/ 41 h 41"/>
                <a:gd name="T2" fmla="*/ 0 w 22"/>
                <a:gd name="T3" fmla="*/ 38 h 41"/>
                <a:gd name="T4" fmla="*/ 10 w 22"/>
                <a:gd name="T5" fmla="*/ 0 h 41"/>
                <a:gd name="T6" fmla="*/ 22 w 22"/>
                <a:gd name="T7" fmla="*/ 2 h 41"/>
                <a:gd name="T8" fmla="*/ 12 w 22"/>
                <a:gd name="T9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41">
                  <a:moveTo>
                    <a:pt x="12" y="41"/>
                  </a:moveTo>
                  <a:lnTo>
                    <a:pt x="0" y="38"/>
                  </a:lnTo>
                  <a:lnTo>
                    <a:pt x="10" y="0"/>
                  </a:lnTo>
                  <a:lnTo>
                    <a:pt x="22" y="2"/>
                  </a:lnTo>
                  <a:lnTo>
                    <a:pt x="12" y="41"/>
                  </a:lnTo>
                  <a:close/>
                </a:path>
              </a:pathLst>
            </a:custGeom>
            <a:solidFill>
              <a:srgbClr val="6969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99" name="Freeform 274"/>
            <p:cNvSpPr/>
            <p:nvPr userDrawn="1"/>
          </p:nvSpPr>
          <p:spPr bwMode="auto">
            <a:xfrm>
              <a:off x="7733506" y="2538413"/>
              <a:ext cx="53975" cy="23813"/>
            </a:xfrm>
            <a:custGeom>
              <a:avLst/>
              <a:gdLst>
                <a:gd name="T0" fmla="*/ 33 w 34"/>
                <a:gd name="T1" fmla="*/ 15 h 15"/>
                <a:gd name="T2" fmla="*/ 0 w 34"/>
                <a:gd name="T3" fmla="*/ 6 h 15"/>
                <a:gd name="T4" fmla="*/ 2 w 34"/>
                <a:gd name="T5" fmla="*/ 0 h 15"/>
                <a:gd name="T6" fmla="*/ 34 w 34"/>
                <a:gd name="T7" fmla="*/ 8 h 15"/>
                <a:gd name="T8" fmla="*/ 33 w 34"/>
                <a:gd name="T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5">
                  <a:moveTo>
                    <a:pt x="33" y="15"/>
                  </a:moveTo>
                  <a:lnTo>
                    <a:pt x="0" y="6"/>
                  </a:lnTo>
                  <a:lnTo>
                    <a:pt x="2" y="0"/>
                  </a:lnTo>
                  <a:lnTo>
                    <a:pt x="34" y="8"/>
                  </a:lnTo>
                  <a:lnTo>
                    <a:pt x="33" y="15"/>
                  </a:lnTo>
                  <a:close/>
                </a:path>
              </a:pathLst>
            </a:custGeom>
            <a:solidFill>
              <a:srgbClr val="4242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00" name="Freeform 275"/>
            <p:cNvSpPr/>
            <p:nvPr userDrawn="1"/>
          </p:nvSpPr>
          <p:spPr bwMode="auto">
            <a:xfrm>
              <a:off x="7312818" y="2360613"/>
              <a:ext cx="228600" cy="212725"/>
            </a:xfrm>
            <a:custGeom>
              <a:avLst/>
              <a:gdLst>
                <a:gd name="T0" fmla="*/ 84 w 84"/>
                <a:gd name="T1" fmla="*/ 22 h 78"/>
                <a:gd name="T2" fmla="*/ 54 w 84"/>
                <a:gd name="T3" fmla="*/ 5 h 78"/>
                <a:gd name="T4" fmla="*/ 20 w 84"/>
                <a:gd name="T5" fmla="*/ 5 h 78"/>
                <a:gd name="T6" fmla="*/ 34 w 84"/>
                <a:gd name="T7" fmla="*/ 78 h 78"/>
                <a:gd name="T8" fmla="*/ 84 w 84"/>
                <a:gd name="T9" fmla="*/ 22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4" h="78">
                  <a:moveTo>
                    <a:pt x="84" y="22"/>
                  </a:moveTo>
                  <a:cubicBezTo>
                    <a:pt x="84" y="22"/>
                    <a:pt x="75" y="11"/>
                    <a:pt x="54" y="5"/>
                  </a:cubicBezTo>
                  <a:cubicBezTo>
                    <a:pt x="34" y="0"/>
                    <a:pt x="20" y="5"/>
                    <a:pt x="20" y="5"/>
                  </a:cubicBezTo>
                  <a:cubicBezTo>
                    <a:pt x="20" y="5"/>
                    <a:pt x="0" y="47"/>
                    <a:pt x="34" y="78"/>
                  </a:cubicBezTo>
                  <a:cubicBezTo>
                    <a:pt x="79" y="70"/>
                    <a:pt x="84" y="22"/>
                    <a:pt x="84" y="22"/>
                  </a:cubicBezTo>
                  <a:close/>
                </a:path>
              </a:pathLst>
            </a:custGeom>
            <a:solidFill>
              <a:srgbClr val="71AB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01" name="Freeform 276"/>
            <p:cNvSpPr/>
            <p:nvPr userDrawn="1"/>
          </p:nvSpPr>
          <p:spPr bwMode="auto">
            <a:xfrm>
              <a:off x="7320756" y="2368550"/>
              <a:ext cx="211138" cy="196850"/>
            </a:xfrm>
            <a:custGeom>
              <a:avLst/>
              <a:gdLst>
                <a:gd name="T0" fmla="*/ 78 w 78"/>
                <a:gd name="T1" fmla="*/ 21 h 72"/>
                <a:gd name="T2" fmla="*/ 51 w 78"/>
                <a:gd name="T3" fmla="*/ 6 h 72"/>
                <a:gd name="T4" fmla="*/ 19 w 78"/>
                <a:gd name="T5" fmla="*/ 5 h 72"/>
                <a:gd name="T6" fmla="*/ 32 w 78"/>
                <a:gd name="T7" fmla="*/ 72 h 72"/>
                <a:gd name="T8" fmla="*/ 78 w 78"/>
                <a:gd name="T9" fmla="*/ 21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" h="72">
                  <a:moveTo>
                    <a:pt x="78" y="21"/>
                  </a:moveTo>
                  <a:cubicBezTo>
                    <a:pt x="78" y="21"/>
                    <a:pt x="69" y="11"/>
                    <a:pt x="51" y="6"/>
                  </a:cubicBezTo>
                  <a:cubicBezTo>
                    <a:pt x="32" y="0"/>
                    <a:pt x="19" y="5"/>
                    <a:pt x="19" y="5"/>
                  </a:cubicBezTo>
                  <a:cubicBezTo>
                    <a:pt x="19" y="5"/>
                    <a:pt x="0" y="44"/>
                    <a:pt x="32" y="72"/>
                  </a:cubicBezTo>
                  <a:cubicBezTo>
                    <a:pt x="73" y="64"/>
                    <a:pt x="78" y="21"/>
                    <a:pt x="78" y="2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02" name="Freeform 277"/>
            <p:cNvSpPr/>
            <p:nvPr userDrawn="1"/>
          </p:nvSpPr>
          <p:spPr bwMode="auto">
            <a:xfrm>
              <a:off x="7331868" y="2378075"/>
              <a:ext cx="192088" cy="179388"/>
            </a:xfrm>
            <a:custGeom>
              <a:avLst/>
              <a:gdLst>
                <a:gd name="T0" fmla="*/ 71 w 71"/>
                <a:gd name="T1" fmla="*/ 20 h 66"/>
                <a:gd name="T2" fmla="*/ 46 w 71"/>
                <a:gd name="T3" fmla="*/ 5 h 66"/>
                <a:gd name="T4" fmla="*/ 17 w 71"/>
                <a:gd name="T5" fmla="*/ 5 h 66"/>
                <a:gd name="T6" fmla="*/ 29 w 71"/>
                <a:gd name="T7" fmla="*/ 66 h 66"/>
                <a:gd name="T8" fmla="*/ 71 w 71"/>
                <a:gd name="T9" fmla="*/ 2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1" h="66">
                  <a:moveTo>
                    <a:pt x="71" y="20"/>
                  </a:moveTo>
                  <a:cubicBezTo>
                    <a:pt x="71" y="20"/>
                    <a:pt x="63" y="10"/>
                    <a:pt x="46" y="5"/>
                  </a:cubicBezTo>
                  <a:cubicBezTo>
                    <a:pt x="29" y="0"/>
                    <a:pt x="17" y="5"/>
                    <a:pt x="17" y="5"/>
                  </a:cubicBezTo>
                  <a:cubicBezTo>
                    <a:pt x="17" y="5"/>
                    <a:pt x="0" y="41"/>
                    <a:pt x="29" y="66"/>
                  </a:cubicBezTo>
                  <a:cubicBezTo>
                    <a:pt x="67" y="59"/>
                    <a:pt x="71" y="20"/>
                    <a:pt x="71" y="20"/>
                  </a:cubicBezTo>
                  <a:close/>
                </a:path>
              </a:pathLst>
            </a:custGeom>
            <a:solidFill>
              <a:srgbClr val="5B8A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03" name="Freeform 278"/>
            <p:cNvSpPr>
              <a:spLocks noEditPoints="1"/>
            </p:cNvSpPr>
            <p:nvPr userDrawn="1"/>
          </p:nvSpPr>
          <p:spPr bwMode="auto">
            <a:xfrm>
              <a:off x="7390606" y="2416175"/>
              <a:ext cx="90488" cy="92075"/>
            </a:xfrm>
            <a:custGeom>
              <a:avLst/>
              <a:gdLst>
                <a:gd name="T0" fmla="*/ 10 w 33"/>
                <a:gd name="T1" fmla="*/ 33 h 34"/>
                <a:gd name="T2" fmla="*/ 14 w 33"/>
                <a:gd name="T3" fmla="*/ 34 h 34"/>
                <a:gd name="T4" fmla="*/ 16 w 33"/>
                <a:gd name="T5" fmla="*/ 29 h 34"/>
                <a:gd name="T6" fmla="*/ 20 w 33"/>
                <a:gd name="T7" fmla="*/ 28 h 34"/>
                <a:gd name="T8" fmla="*/ 22 w 33"/>
                <a:gd name="T9" fmla="*/ 33 h 34"/>
                <a:gd name="T10" fmla="*/ 27 w 33"/>
                <a:gd name="T11" fmla="*/ 31 h 34"/>
                <a:gd name="T12" fmla="*/ 24 w 33"/>
                <a:gd name="T13" fmla="*/ 26 h 34"/>
                <a:gd name="T14" fmla="*/ 27 w 33"/>
                <a:gd name="T15" fmla="*/ 23 h 34"/>
                <a:gd name="T16" fmla="*/ 32 w 33"/>
                <a:gd name="T17" fmla="*/ 24 h 34"/>
                <a:gd name="T18" fmla="*/ 33 w 33"/>
                <a:gd name="T19" fmla="*/ 19 h 34"/>
                <a:gd name="T20" fmla="*/ 28 w 33"/>
                <a:gd name="T21" fmla="*/ 18 h 34"/>
                <a:gd name="T22" fmla="*/ 28 w 33"/>
                <a:gd name="T23" fmla="*/ 14 h 34"/>
                <a:gd name="T24" fmla="*/ 32 w 33"/>
                <a:gd name="T25" fmla="*/ 11 h 34"/>
                <a:gd name="T26" fmla="*/ 30 w 33"/>
                <a:gd name="T27" fmla="*/ 7 h 34"/>
                <a:gd name="T28" fmla="*/ 25 w 33"/>
                <a:gd name="T29" fmla="*/ 9 h 34"/>
                <a:gd name="T30" fmla="*/ 22 w 33"/>
                <a:gd name="T31" fmla="*/ 7 h 34"/>
                <a:gd name="T32" fmla="*/ 23 w 33"/>
                <a:gd name="T33" fmla="*/ 2 h 34"/>
                <a:gd name="T34" fmla="*/ 18 w 33"/>
                <a:gd name="T35" fmla="*/ 0 h 34"/>
                <a:gd name="T36" fmla="*/ 17 w 33"/>
                <a:gd name="T37" fmla="*/ 6 h 34"/>
                <a:gd name="T38" fmla="*/ 13 w 33"/>
                <a:gd name="T39" fmla="*/ 6 h 34"/>
                <a:gd name="T40" fmla="*/ 11 w 33"/>
                <a:gd name="T41" fmla="*/ 1 h 34"/>
                <a:gd name="T42" fmla="*/ 6 w 33"/>
                <a:gd name="T43" fmla="*/ 4 h 34"/>
                <a:gd name="T44" fmla="*/ 9 w 33"/>
                <a:gd name="T45" fmla="*/ 9 h 34"/>
                <a:gd name="T46" fmla="*/ 6 w 33"/>
                <a:gd name="T47" fmla="*/ 12 h 34"/>
                <a:gd name="T48" fmla="*/ 1 w 33"/>
                <a:gd name="T49" fmla="*/ 10 h 34"/>
                <a:gd name="T50" fmla="*/ 0 w 33"/>
                <a:gd name="T51" fmla="*/ 15 h 34"/>
                <a:gd name="T52" fmla="*/ 5 w 33"/>
                <a:gd name="T53" fmla="*/ 17 h 34"/>
                <a:gd name="T54" fmla="*/ 5 w 33"/>
                <a:gd name="T55" fmla="*/ 21 h 34"/>
                <a:gd name="T56" fmla="*/ 1 w 33"/>
                <a:gd name="T57" fmla="*/ 23 h 34"/>
                <a:gd name="T58" fmla="*/ 3 w 33"/>
                <a:gd name="T59" fmla="*/ 28 h 34"/>
                <a:gd name="T60" fmla="*/ 8 w 33"/>
                <a:gd name="T61" fmla="*/ 25 h 34"/>
                <a:gd name="T62" fmla="*/ 11 w 33"/>
                <a:gd name="T63" fmla="*/ 27 h 34"/>
                <a:gd name="T64" fmla="*/ 10 w 33"/>
                <a:gd name="T65" fmla="*/ 33 h 34"/>
                <a:gd name="T66" fmla="*/ 11 w 33"/>
                <a:gd name="T67" fmla="*/ 17 h 34"/>
                <a:gd name="T68" fmla="*/ 19 w 33"/>
                <a:gd name="T69" fmla="*/ 12 h 34"/>
                <a:gd name="T70" fmla="*/ 22 w 33"/>
                <a:gd name="T71" fmla="*/ 17 h 34"/>
                <a:gd name="T72" fmla="*/ 14 w 33"/>
                <a:gd name="T73" fmla="*/ 22 h 34"/>
                <a:gd name="T74" fmla="*/ 11 w 33"/>
                <a:gd name="T75" fmla="*/ 1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3" h="34">
                  <a:moveTo>
                    <a:pt x="10" y="33"/>
                  </a:moveTo>
                  <a:cubicBezTo>
                    <a:pt x="14" y="34"/>
                    <a:pt x="14" y="34"/>
                    <a:pt x="14" y="34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7" y="29"/>
                    <a:pt x="19" y="29"/>
                    <a:pt x="20" y="28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7" y="31"/>
                    <a:pt x="27" y="31"/>
                    <a:pt x="27" y="31"/>
                  </a:cubicBezTo>
                  <a:cubicBezTo>
                    <a:pt x="24" y="26"/>
                    <a:pt x="24" y="26"/>
                    <a:pt x="24" y="26"/>
                  </a:cubicBezTo>
                  <a:cubicBezTo>
                    <a:pt x="25" y="25"/>
                    <a:pt x="26" y="24"/>
                    <a:pt x="27" y="23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28" y="18"/>
                    <a:pt x="28" y="18"/>
                    <a:pt x="28" y="18"/>
                  </a:cubicBezTo>
                  <a:cubicBezTo>
                    <a:pt x="28" y="16"/>
                    <a:pt x="28" y="15"/>
                    <a:pt x="28" y="14"/>
                  </a:cubicBezTo>
                  <a:cubicBezTo>
                    <a:pt x="32" y="11"/>
                    <a:pt x="32" y="11"/>
                    <a:pt x="32" y="11"/>
                  </a:cubicBezTo>
                  <a:cubicBezTo>
                    <a:pt x="30" y="7"/>
                    <a:pt x="30" y="7"/>
                    <a:pt x="30" y="7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4" y="9"/>
                    <a:pt x="23" y="8"/>
                    <a:pt x="22" y="7"/>
                  </a:cubicBezTo>
                  <a:cubicBezTo>
                    <a:pt x="23" y="2"/>
                    <a:pt x="23" y="2"/>
                    <a:pt x="23" y="2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6" y="6"/>
                    <a:pt x="14" y="6"/>
                    <a:pt x="13" y="6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10"/>
                    <a:pt x="7" y="11"/>
                    <a:pt x="6" y="12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5" y="18"/>
                    <a:pt x="5" y="19"/>
                    <a:pt x="5" y="21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9" y="26"/>
                    <a:pt x="10" y="27"/>
                    <a:pt x="11" y="27"/>
                  </a:cubicBezTo>
                  <a:lnTo>
                    <a:pt x="10" y="33"/>
                  </a:lnTo>
                  <a:close/>
                  <a:moveTo>
                    <a:pt x="11" y="17"/>
                  </a:moveTo>
                  <a:cubicBezTo>
                    <a:pt x="11" y="13"/>
                    <a:pt x="15" y="10"/>
                    <a:pt x="19" y="12"/>
                  </a:cubicBezTo>
                  <a:cubicBezTo>
                    <a:pt x="21" y="13"/>
                    <a:pt x="22" y="15"/>
                    <a:pt x="22" y="17"/>
                  </a:cubicBezTo>
                  <a:cubicBezTo>
                    <a:pt x="22" y="22"/>
                    <a:pt x="17" y="24"/>
                    <a:pt x="14" y="22"/>
                  </a:cubicBezTo>
                  <a:cubicBezTo>
                    <a:pt x="12" y="21"/>
                    <a:pt x="11" y="19"/>
                    <a:pt x="11" y="1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04" name="Freeform 279"/>
            <p:cNvSpPr/>
            <p:nvPr userDrawn="1"/>
          </p:nvSpPr>
          <p:spPr bwMode="auto">
            <a:xfrm>
              <a:off x="4239418" y="2428875"/>
              <a:ext cx="496888" cy="373063"/>
            </a:xfrm>
            <a:custGeom>
              <a:avLst/>
              <a:gdLst>
                <a:gd name="T0" fmla="*/ 173 w 183"/>
                <a:gd name="T1" fmla="*/ 24 h 137"/>
                <a:gd name="T2" fmla="*/ 106 w 183"/>
                <a:gd name="T3" fmla="*/ 127 h 137"/>
                <a:gd name="T4" fmla="*/ 4 w 183"/>
                <a:gd name="T5" fmla="*/ 61 h 137"/>
                <a:gd name="T6" fmla="*/ 59 w 183"/>
                <a:gd name="T7" fmla="*/ 13 h 137"/>
                <a:gd name="T8" fmla="*/ 61 w 183"/>
                <a:gd name="T9" fmla="*/ 53 h 137"/>
                <a:gd name="T10" fmla="*/ 81 w 183"/>
                <a:gd name="T11" fmla="*/ 45 h 137"/>
                <a:gd name="T12" fmla="*/ 116 w 183"/>
                <a:gd name="T13" fmla="*/ 86 h 137"/>
                <a:gd name="T14" fmla="*/ 102 w 183"/>
                <a:gd name="T15" fmla="*/ 24 h 137"/>
                <a:gd name="T16" fmla="*/ 82 w 183"/>
                <a:gd name="T17" fmla="*/ 17 h 137"/>
                <a:gd name="T18" fmla="*/ 96 w 183"/>
                <a:gd name="T19" fmla="*/ 14 h 137"/>
                <a:gd name="T20" fmla="*/ 104 w 183"/>
                <a:gd name="T21" fmla="*/ 4 h 137"/>
                <a:gd name="T22" fmla="*/ 173 w 183"/>
                <a:gd name="T23" fmla="*/ 24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3" h="137">
                  <a:moveTo>
                    <a:pt x="173" y="24"/>
                  </a:moveTo>
                  <a:cubicBezTo>
                    <a:pt x="183" y="71"/>
                    <a:pt x="153" y="117"/>
                    <a:pt x="106" y="127"/>
                  </a:cubicBezTo>
                  <a:cubicBezTo>
                    <a:pt x="60" y="137"/>
                    <a:pt x="14" y="107"/>
                    <a:pt x="4" y="61"/>
                  </a:cubicBezTo>
                  <a:cubicBezTo>
                    <a:pt x="0" y="41"/>
                    <a:pt x="26" y="24"/>
                    <a:pt x="59" y="13"/>
                  </a:cubicBezTo>
                  <a:cubicBezTo>
                    <a:pt x="61" y="53"/>
                    <a:pt x="61" y="53"/>
                    <a:pt x="61" y="53"/>
                  </a:cubicBezTo>
                  <a:cubicBezTo>
                    <a:pt x="81" y="45"/>
                    <a:pt x="81" y="45"/>
                    <a:pt x="81" y="45"/>
                  </a:cubicBezTo>
                  <a:cubicBezTo>
                    <a:pt x="116" y="86"/>
                    <a:pt x="116" y="86"/>
                    <a:pt x="116" y="86"/>
                  </a:cubicBezTo>
                  <a:cubicBezTo>
                    <a:pt x="102" y="24"/>
                    <a:pt x="102" y="24"/>
                    <a:pt x="102" y="24"/>
                  </a:cubicBezTo>
                  <a:cubicBezTo>
                    <a:pt x="82" y="17"/>
                    <a:pt x="82" y="17"/>
                    <a:pt x="82" y="17"/>
                  </a:cubicBezTo>
                  <a:cubicBezTo>
                    <a:pt x="96" y="14"/>
                    <a:pt x="96" y="14"/>
                    <a:pt x="96" y="14"/>
                  </a:cubicBezTo>
                  <a:cubicBezTo>
                    <a:pt x="104" y="4"/>
                    <a:pt x="104" y="4"/>
                    <a:pt x="104" y="4"/>
                  </a:cubicBezTo>
                  <a:cubicBezTo>
                    <a:pt x="138" y="0"/>
                    <a:pt x="169" y="5"/>
                    <a:pt x="173" y="24"/>
                  </a:cubicBezTo>
                  <a:close/>
                </a:path>
              </a:pathLst>
            </a:custGeom>
            <a:solidFill>
              <a:srgbClr val="7955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05" name="Freeform 280"/>
            <p:cNvSpPr/>
            <p:nvPr userDrawn="1"/>
          </p:nvSpPr>
          <p:spPr bwMode="auto">
            <a:xfrm>
              <a:off x="4242593" y="2459038"/>
              <a:ext cx="173038" cy="144463"/>
            </a:xfrm>
            <a:custGeom>
              <a:avLst/>
              <a:gdLst>
                <a:gd name="T0" fmla="*/ 56 w 64"/>
                <a:gd name="T1" fmla="*/ 0 h 53"/>
                <a:gd name="T2" fmla="*/ 0 w 64"/>
                <a:gd name="T3" fmla="*/ 44 h 53"/>
                <a:gd name="T4" fmla="*/ 6 w 64"/>
                <a:gd name="T5" fmla="*/ 53 h 53"/>
                <a:gd name="T6" fmla="*/ 10 w 64"/>
                <a:gd name="T7" fmla="*/ 48 h 53"/>
                <a:gd name="T8" fmla="*/ 13 w 64"/>
                <a:gd name="T9" fmla="*/ 50 h 53"/>
                <a:gd name="T10" fmla="*/ 17 w 64"/>
                <a:gd name="T11" fmla="*/ 42 h 53"/>
                <a:gd name="T12" fmla="*/ 20 w 64"/>
                <a:gd name="T13" fmla="*/ 45 h 53"/>
                <a:gd name="T14" fmla="*/ 21 w 64"/>
                <a:gd name="T15" fmla="*/ 38 h 53"/>
                <a:gd name="T16" fmla="*/ 27 w 64"/>
                <a:gd name="T17" fmla="*/ 40 h 53"/>
                <a:gd name="T18" fmla="*/ 28 w 64"/>
                <a:gd name="T19" fmla="*/ 34 h 53"/>
                <a:gd name="T20" fmla="*/ 32 w 64"/>
                <a:gd name="T21" fmla="*/ 35 h 53"/>
                <a:gd name="T22" fmla="*/ 34 w 64"/>
                <a:gd name="T23" fmla="*/ 27 h 53"/>
                <a:gd name="T24" fmla="*/ 40 w 64"/>
                <a:gd name="T25" fmla="*/ 30 h 53"/>
                <a:gd name="T26" fmla="*/ 41 w 64"/>
                <a:gd name="T27" fmla="*/ 25 h 53"/>
                <a:gd name="T28" fmla="*/ 45 w 64"/>
                <a:gd name="T29" fmla="*/ 26 h 53"/>
                <a:gd name="T30" fmla="*/ 45 w 64"/>
                <a:gd name="T31" fmla="*/ 20 h 53"/>
                <a:gd name="T32" fmla="*/ 50 w 64"/>
                <a:gd name="T33" fmla="*/ 21 h 53"/>
                <a:gd name="T34" fmla="*/ 51 w 64"/>
                <a:gd name="T35" fmla="*/ 14 h 53"/>
                <a:gd name="T36" fmla="*/ 55 w 64"/>
                <a:gd name="T37" fmla="*/ 16 h 53"/>
                <a:gd name="T38" fmla="*/ 55 w 64"/>
                <a:gd name="T39" fmla="*/ 11 h 53"/>
                <a:gd name="T40" fmla="*/ 61 w 64"/>
                <a:gd name="T41" fmla="*/ 14 h 53"/>
                <a:gd name="T42" fmla="*/ 59 w 64"/>
                <a:gd name="T43" fmla="*/ 8 h 53"/>
                <a:gd name="T44" fmla="*/ 64 w 64"/>
                <a:gd name="T45" fmla="*/ 10 h 53"/>
                <a:gd name="T46" fmla="*/ 56 w 64"/>
                <a:gd name="T47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53">
                  <a:moveTo>
                    <a:pt x="56" y="0"/>
                  </a:moveTo>
                  <a:cubicBezTo>
                    <a:pt x="56" y="0"/>
                    <a:pt x="0" y="18"/>
                    <a:pt x="0" y="44"/>
                  </a:cubicBezTo>
                  <a:cubicBezTo>
                    <a:pt x="0" y="48"/>
                    <a:pt x="6" y="53"/>
                    <a:pt x="6" y="53"/>
                  </a:cubicBezTo>
                  <a:cubicBezTo>
                    <a:pt x="10" y="48"/>
                    <a:pt x="10" y="48"/>
                    <a:pt x="10" y="48"/>
                  </a:cubicBezTo>
                  <a:cubicBezTo>
                    <a:pt x="13" y="50"/>
                    <a:pt x="13" y="50"/>
                    <a:pt x="13" y="50"/>
                  </a:cubicBezTo>
                  <a:cubicBezTo>
                    <a:pt x="17" y="42"/>
                    <a:pt x="17" y="42"/>
                    <a:pt x="17" y="42"/>
                  </a:cubicBezTo>
                  <a:cubicBezTo>
                    <a:pt x="20" y="45"/>
                    <a:pt x="20" y="45"/>
                    <a:pt x="20" y="45"/>
                  </a:cubicBezTo>
                  <a:cubicBezTo>
                    <a:pt x="21" y="38"/>
                    <a:pt x="21" y="38"/>
                    <a:pt x="21" y="38"/>
                  </a:cubicBezTo>
                  <a:cubicBezTo>
                    <a:pt x="27" y="40"/>
                    <a:pt x="27" y="40"/>
                    <a:pt x="27" y="40"/>
                  </a:cubicBezTo>
                  <a:cubicBezTo>
                    <a:pt x="28" y="34"/>
                    <a:pt x="28" y="34"/>
                    <a:pt x="28" y="34"/>
                  </a:cubicBezTo>
                  <a:cubicBezTo>
                    <a:pt x="32" y="35"/>
                    <a:pt x="32" y="35"/>
                    <a:pt x="32" y="35"/>
                  </a:cubicBezTo>
                  <a:cubicBezTo>
                    <a:pt x="34" y="27"/>
                    <a:pt x="34" y="27"/>
                    <a:pt x="34" y="27"/>
                  </a:cubicBezTo>
                  <a:cubicBezTo>
                    <a:pt x="40" y="30"/>
                    <a:pt x="40" y="30"/>
                    <a:pt x="40" y="30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0"/>
                    <a:pt x="45" y="20"/>
                    <a:pt x="45" y="20"/>
                  </a:cubicBezTo>
                  <a:cubicBezTo>
                    <a:pt x="50" y="21"/>
                    <a:pt x="50" y="21"/>
                    <a:pt x="50" y="21"/>
                  </a:cubicBezTo>
                  <a:cubicBezTo>
                    <a:pt x="51" y="14"/>
                    <a:pt x="51" y="14"/>
                    <a:pt x="51" y="14"/>
                  </a:cubicBezTo>
                  <a:cubicBezTo>
                    <a:pt x="55" y="16"/>
                    <a:pt x="55" y="16"/>
                    <a:pt x="55" y="16"/>
                  </a:cubicBezTo>
                  <a:cubicBezTo>
                    <a:pt x="55" y="11"/>
                    <a:pt x="55" y="11"/>
                    <a:pt x="55" y="11"/>
                  </a:cubicBezTo>
                  <a:cubicBezTo>
                    <a:pt x="61" y="14"/>
                    <a:pt x="61" y="14"/>
                    <a:pt x="61" y="14"/>
                  </a:cubicBezTo>
                  <a:cubicBezTo>
                    <a:pt x="59" y="8"/>
                    <a:pt x="59" y="8"/>
                    <a:pt x="59" y="8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56" y="0"/>
                  </a:lnTo>
                  <a:close/>
                </a:path>
              </a:pathLst>
            </a:custGeom>
            <a:solidFill>
              <a:srgbClr val="79D06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06" name="Freeform 281"/>
            <p:cNvSpPr/>
            <p:nvPr userDrawn="1"/>
          </p:nvSpPr>
          <p:spPr bwMode="auto">
            <a:xfrm>
              <a:off x="4510881" y="2417763"/>
              <a:ext cx="201613" cy="95250"/>
            </a:xfrm>
            <a:custGeom>
              <a:avLst/>
              <a:gdLst>
                <a:gd name="T0" fmla="*/ 4 w 74"/>
                <a:gd name="T1" fmla="*/ 6 h 35"/>
                <a:gd name="T2" fmla="*/ 73 w 74"/>
                <a:gd name="T3" fmla="*/ 24 h 35"/>
                <a:gd name="T4" fmla="*/ 71 w 74"/>
                <a:gd name="T5" fmla="*/ 35 h 35"/>
                <a:gd name="T6" fmla="*/ 66 w 74"/>
                <a:gd name="T7" fmla="*/ 29 h 35"/>
                <a:gd name="T8" fmla="*/ 63 w 74"/>
                <a:gd name="T9" fmla="*/ 34 h 35"/>
                <a:gd name="T10" fmla="*/ 58 w 74"/>
                <a:gd name="T11" fmla="*/ 28 h 35"/>
                <a:gd name="T12" fmla="*/ 53 w 74"/>
                <a:gd name="T13" fmla="*/ 32 h 35"/>
                <a:gd name="T14" fmla="*/ 50 w 74"/>
                <a:gd name="T15" fmla="*/ 25 h 35"/>
                <a:gd name="T16" fmla="*/ 45 w 74"/>
                <a:gd name="T17" fmla="*/ 31 h 35"/>
                <a:gd name="T18" fmla="*/ 42 w 74"/>
                <a:gd name="T19" fmla="*/ 25 h 35"/>
                <a:gd name="T20" fmla="*/ 37 w 74"/>
                <a:gd name="T21" fmla="*/ 28 h 35"/>
                <a:gd name="T22" fmla="*/ 34 w 74"/>
                <a:gd name="T23" fmla="*/ 22 h 35"/>
                <a:gd name="T24" fmla="*/ 29 w 74"/>
                <a:gd name="T25" fmla="*/ 25 h 35"/>
                <a:gd name="T26" fmla="*/ 27 w 74"/>
                <a:gd name="T27" fmla="*/ 21 h 35"/>
                <a:gd name="T28" fmla="*/ 22 w 74"/>
                <a:gd name="T29" fmla="*/ 24 h 35"/>
                <a:gd name="T30" fmla="*/ 21 w 74"/>
                <a:gd name="T31" fmla="*/ 18 h 35"/>
                <a:gd name="T32" fmla="*/ 16 w 74"/>
                <a:gd name="T33" fmla="*/ 22 h 35"/>
                <a:gd name="T34" fmla="*/ 14 w 74"/>
                <a:gd name="T35" fmla="*/ 17 h 35"/>
                <a:gd name="T36" fmla="*/ 11 w 74"/>
                <a:gd name="T37" fmla="*/ 21 h 35"/>
                <a:gd name="T38" fmla="*/ 10 w 74"/>
                <a:gd name="T39" fmla="*/ 16 h 35"/>
                <a:gd name="T40" fmla="*/ 6 w 74"/>
                <a:gd name="T41" fmla="*/ 20 h 35"/>
                <a:gd name="T42" fmla="*/ 6 w 74"/>
                <a:gd name="T43" fmla="*/ 15 h 35"/>
                <a:gd name="T44" fmla="*/ 0 w 74"/>
                <a:gd name="T45" fmla="*/ 18 h 35"/>
                <a:gd name="T46" fmla="*/ 4 w 74"/>
                <a:gd name="T47" fmla="*/ 6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4" h="35">
                  <a:moveTo>
                    <a:pt x="4" y="6"/>
                  </a:moveTo>
                  <a:cubicBezTo>
                    <a:pt x="4" y="6"/>
                    <a:pt x="62" y="0"/>
                    <a:pt x="73" y="24"/>
                  </a:cubicBezTo>
                  <a:cubicBezTo>
                    <a:pt x="74" y="27"/>
                    <a:pt x="71" y="35"/>
                    <a:pt x="71" y="35"/>
                  </a:cubicBezTo>
                  <a:cubicBezTo>
                    <a:pt x="66" y="29"/>
                    <a:pt x="66" y="29"/>
                    <a:pt x="66" y="29"/>
                  </a:cubicBezTo>
                  <a:cubicBezTo>
                    <a:pt x="63" y="34"/>
                    <a:pt x="63" y="34"/>
                    <a:pt x="63" y="34"/>
                  </a:cubicBezTo>
                  <a:cubicBezTo>
                    <a:pt x="58" y="28"/>
                    <a:pt x="58" y="28"/>
                    <a:pt x="58" y="28"/>
                  </a:cubicBezTo>
                  <a:cubicBezTo>
                    <a:pt x="53" y="32"/>
                    <a:pt x="53" y="32"/>
                    <a:pt x="53" y="32"/>
                  </a:cubicBezTo>
                  <a:cubicBezTo>
                    <a:pt x="50" y="25"/>
                    <a:pt x="50" y="25"/>
                    <a:pt x="50" y="25"/>
                  </a:cubicBezTo>
                  <a:cubicBezTo>
                    <a:pt x="45" y="31"/>
                    <a:pt x="45" y="31"/>
                    <a:pt x="45" y="31"/>
                  </a:cubicBezTo>
                  <a:cubicBezTo>
                    <a:pt x="42" y="25"/>
                    <a:pt x="42" y="25"/>
                    <a:pt x="42" y="25"/>
                  </a:cubicBezTo>
                  <a:cubicBezTo>
                    <a:pt x="37" y="28"/>
                    <a:pt x="37" y="28"/>
                    <a:pt x="37" y="28"/>
                  </a:cubicBezTo>
                  <a:cubicBezTo>
                    <a:pt x="34" y="22"/>
                    <a:pt x="34" y="22"/>
                    <a:pt x="34" y="22"/>
                  </a:cubicBezTo>
                  <a:cubicBezTo>
                    <a:pt x="29" y="25"/>
                    <a:pt x="29" y="25"/>
                    <a:pt x="29" y="25"/>
                  </a:cubicBezTo>
                  <a:cubicBezTo>
                    <a:pt x="27" y="21"/>
                    <a:pt x="27" y="21"/>
                    <a:pt x="27" y="21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16" y="22"/>
                    <a:pt x="16" y="22"/>
                    <a:pt x="16" y="22"/>
                  </a:cubicBezTo>
                  <a:cubicBezTo>
                    <a:pt x="14" y="17"/>
                    <a:pt x="14" y="17"/>
                    <a:pt x="14" y="17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0" y="18"/>
                    <a:pt x="0" y="18"/>
                    <a:pt x="0" y="18"/>
                  </a:cubicBezTo>
                  <a:lnTo>
                    <a:pt x="4" y="6"/>
                  </a:lnTo>
                  <a:close/>
                </a:path>
              </a:pathLst>
            </a:custGeom>
            <a:solidFill>
              <a:srgbClr val="79D06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07" name="Freeform 282"/>
            <p:cNvSpPr/>
            <p:nvPr userDrawn="1"/>
          </p:nvSpPr>
          <p:spPr bwMode="auto">
            <a:xfrm>
              <a:off x="4552156" y="2336800"/>
              <a:ext cx="127000" cy="107950"/>
            </a:xfrm>
            <a:custGeom>
              <a:avLst/>
              <a:gdLst>
                <a:gd name="T0" fmla="*/ 70 w 80"/>
                <a:gd name="T1" fmla="*/ 68 h 68"/>
                <a:gd name="T2" fmla="*/ 0 w 80"/>
                <a:gd name="T3" fmla="*/ 55 h 68"/>
                <a:gd name="T4" fmla="*/ 10 w 80"/>
                <a:gd name="T5" fmla="*/ 0 h 68"/>
                <a:gd name="T6" fmla="*/ 80 w 80"/>
                <a:gd name="T7" fmla="*/ 15 h 68"/>
                <a:gd name="T8" fmla="*/ 70 w 80"/>
                <a:gd name="T9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0" h="68">
                  <a:moveTo>
                    <a:pt x="70" y="68"/>
                  </a:moveTo>
                  <a:lnTo>
                    <a:pt x="0" y="55"/>
                  </a:lnTo>
                  <a:lnTo>
                    <a:pt x="10" y="0"/>
                  </a:lnTo>
                  <a:lnTo>
                    <a:pt x="80" y="15"/>
                  </a:lnTo>
                  <a:lnTo>
                    <a:pt x="70" y="6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08" name="Freeform 283"/>
            <p:cNvSpPr/>
            <p:nvPr userDrawn="1"/>
          </p:nvSpPr>
          <p:spPr bwMode="auto">
            <a:xfrm>
              <a:off x="4536281" y="2420938"/>
              <a:ext cx="138113" cy="46038"/>
            </a:xfrm>
            <a:custGeom>
              <a:avLst/>
              <a:gdLst>
                <a:gd name="T0" fmla="*/ 85 w 87"/>
                <a:gd name="T1" fmla="*/ 29 h 29"/>
                <a:gd name="T2" fmla="*/ 0 w 87"/>
                <a:gd name="T3" fmla="*/ 12 h 29"/>
                <a:gd name="T4" fmla="*/ 3 w 87"/>
                <a:gd name="T5" fmla="*/ 0 h 29"/>
                <a:gd name="T6" fmla="*/ 87 w 87"/>
                <a:gd name="T7" fmla="*/ 17 h 29"/>
                <a:gd name="T8" fmla="*/ 85 w 87"/>
                <a:gd name="T9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29">
                  <a:moveTo>
                    <a:pt x="85" y="29"/>
                  </a:moveTo>
                  <a:lnTo>
                    <a:pt x="0" y="12"/>
                  </a:lnTo>
                  <a:lnTo>
                    <a:pt x="3" y="0"/>
                  </a:lnTo>
                  <a:lnTo>
                    <a:pt x="87" y="17"/>
                  </a:lnTo>
                  <a:lnTo>
                    <a:pt x="85" y="29"/>
                  </a:lnTo>
                  <a:close/>
                </a:path>
              </a:pathLst>
            </a:custGeom>
            <a:solidFill>
              <a:srgbClr val="5E5E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09" name="Freeform 284"/>
            <p:cNvSpPr/>
            <p:nvPr userDrawn="1"/>
          </p:nvSpPr>
          <p:spPr bwMode="auto">
            <a:xfrm>
              <a:off x="4545806" y="2292350"/>
              <a:ext cx="158750" cy="71438"/>
            </a:xfrm>
            <a:custGeom>
              <a:avLst/>
              <a:gdLst>
                <a:gd name="T0" fmla="*/ 57 w 100"/>
                <a:gd name="T1" fmla="*/ 0 h 45"/>
                <a:gd name="T2" fmla="*/ 0 w 100"/>
                <a:gd name="T3" fmla="*/ 26 h 45"/>
                <a:gd name="T4" fmla="*/ 100 w 100"/>
                <a:gd name="T5" fmla="*/ 45 h 45"/>
                <a:gd name="T6" fmla="*/ 57 w 100"/>
                <a:gd name="T7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0" h="45">
                  <a:moveTo>
                    <a:pt x="57" y="0"/>
                  </a:moveTo>
                  <a:lnTo>
                    <a:pt x="0" y="26"/>
                  </a:lnTo>
                  <a:lnTo>
                    <a:pt x="100" y="45"/>
                  </a:lnTo>
                  <a:lnTo>
                    <a:pt x="57" y="0"/>
                  </a:lnTo>
                  <a:close/>
                </a:path>
              </a:pathLst>
            </a:custGeom>
            <a:solidFill>
              <a:schemeClr val="accent5">
                <a:lumMod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10" name="Freeform 285"/>
            <p:cNvSpPr/>
            <p:nvPr userDrawn="1"/>
          </p:nvSpPr>
          <p:spPr bwMode="auto">
            <a:xfrm>
              <a:off x="4575968" y="2349500"/>
              <a:ext cx="30163" cy="30163"/>
            </a:xfrm>
            <a:custGeom>
              <a:avLst/>
              <a:gdLst>
                <a:gd name="T0" fmla="*/ 16 w 19"/>
                <a:gd name="T1" fmla="*/ 19 h 19"/>
                <a:gd name="T2" fmla="*/ 0 w 19"/>
                <a:gd name="T3" fmla="*/ 16 h 19"/>
                <a:gd name="T4" fmla="*/ 4 w 19"/>
                <a:gd name="T5" fmla="*/ 0 h 19"/>
                <a:gd name="T6" fmla="*/ 19 w 19"/>
                <a:gd name="T7" fmla="*/ 4 h 19"/>
                <a:gd name="T8" fmla="*/ 16 w 19"/>
                <a:gd name="T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9">
                  <a:moveTo>
                    <a:pt x="16" y="19"/>
                  </a:moveTo>
                  <a:lnTo>
                    <a:pt x="0" y="16"/>
                  </a:lnTo>
                  <a:lnTo>
                    <a:pt x="4" y="0"/>
                  </a:lnTo>
                  <a:lnTo>
                    <a:pt x="19" y="4"/>
                  </a:lnTo>
                  <a:lnTo>
                    <a:pt x="16" y="19"/>
                  </a:lnTo>
                  <a:close/>
                </a:path>
              </a:pathLst>
            </a:custGeom>
            <a:solidFill>
              <a:srgbClr val="7D64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11" name="Freeform 286"/>
            <p:cNvSpPr/>
            <p:nvPr userDrawn="1"/>
          </p:nvSpPr>
          <p:spPr bwMode="auto">
            <a:xfrm>
              <a:off x="4582318" y="2352675"/>
              <a:ext cx="20638" cy="11113"/>
            </a:xfrm>
            <a:custGeom>
              <a:avLst/>
              <a:gdLst>
                <a:gd name="T0" fmla="*/ 12 w 13"/>
                <a:gd name="T1" fmla="*/ 7 h 7"/>
                <a:gd name="T2" fmla="*/ 0 w 13"/>
                <a:gd name="T3" fmla="*/ 5 h 7"/>
                <a:gd name="T4" fmla="*/ 0 w 13"/>
                <a:gd name="T5" fmla="*/ 0 h 7"/>
                <a:gd name="T6" fmla="*/ 13 w 13"/>
                <a:gd name="T7" fmla="*/ 2 h 7"/>
                <a:gd name="T8" fmla="*/ 12 w 13"/>
                <a:gd name="T9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7">
                  <a:moveTo>
                    <a:pt x="12" y="7"/>
                  </a:moveTo>
                  <a:lnTo>
                    <a:pt x="0" y="5"/>
                  </a:lnTo>
                  <a:lnTo>
                    <a:pt x="0" y="0"/>
                  </a:lnTo>
                  <a:lnTo>
                    <a:pt x="13" y="2"/>
                  </a:lnTo>
                  <a:lnTo>
                    <a:pt x="12" y="7"/>
                  </a:lnTo>
                  <a:close/>
                </a:path>
              </a:pathLst>
            </a:custGeom>
            <a:solidFill>
              <a:srgbClr val="77A7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12" name="Freeform 287"/>
            <p:cNvSpPr/>
            <p:nvPr userDrawn="1"/>
          </p:nvSpPr>
          <p:spPr bwMode="auto">
            <a:xfrm>
              <a:off x="4579143" y="2360613"/>
              <a:ext cx="11113" cy="14288"/>
            </a:xfrm>
            <a:custGeom>
              <a:avLst/>
              <a:gdLst>
                <a:gd name="T0" fmla="*/ 5 w 7"/>
                <a:gd name="T1" fmla="*/ 9 h 9"/>
                <a:gd name="T2" fmla="*/ 0 w 7"/>
                <a:gd name="T3" fmla="*/ 9 h 9"/>
                <a:gd name="T4" fmla="*/ 0 w 7"/>
                <a:gd name="T5" fmla="*/ 0 h 9"/>
                <a:gd name="T6" fmla="*/ 7 w 7"/>
                <a:gd name="T7" fmla="*/ 2 h 9"/>
                <a:gd name="T8" fmla="*/ 5 w 7"/>
                <a:gd name="T9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9">
                  <a:moveTo>
                    <a:pt x="5" y="9"/>
                  </a:moveTo>
                  <a:lnTo>
                    <a:pt x="0" y="9"/>
                  </a:lnTo>
                  <a:lnTo>
                    <a:pt x="0" y="0"/>
                  </a:lnTo>
                  <a:lnTo>
                    <a:pt x="7" y="2"/>
                  </a:lnTo>
                  <a:lnTo>
                    <a:pt x="5" y="9"/>
                  </a:lnTo>
                  <a:close/>
                </a:path>
              </a:pathLst>
            </a:custGeom>
            <a:solidFill>
              <a:srgbClr val="77A7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13" name="Freeform 288"/>
            <p:cNvSpPr/>
            <p:nvPr userDrawn="1"/>
          </p:nvSpPr>
          <p:spPr bwMode="auto">
            <a:xfrm>
              <a:off x="4590256" y="2363788"/>
              <a:ext cx="11113" cy="14288"/>
            </a:xfrm>
            <a:custGeom>
              <a:avLst/>
              <a:gdLst>
                <a:gd name="T0" fmla="*/ 5 w 7"/>
                <a:gd name="T1" fmla="*/ 9 h 9"/>
                <a:gd name="T2" fmla="*/ 0 w 7"/>
                <a:gd name="T3" fmla="*/ 7 h 9"/>
                <a:gd name="T4" fmla="*/ 2 w 7"/>
                <a:gd name="T5" fmla="*/ 0 h 9"/>
                <a:gd name="T6" fmla="*/ 7 w 7"/>
                <a:gd name="T7" fmla="*/ 0 h 9"/>
                <a:gd name="T8" fmla="*/ 5 w 7"/>
                <a:gd name="T9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9">
                  <a:moveTo>
                    <a:pt x="5" y="9"/>
                  </a:moveTo>
                  <a:lnTo>
                    <a:pt x="0" y="7"/>
                  </a:lnTo>
                  <a:lnTo>
                    <a:pt x="2" y="0"/>
                  </a:lnTo>
                  <a:lnTo>
                    <a:pt x="7" y="0"/>
                  </a:lnTo>
                  <a:lnTo>
                    <a:pt x="5" y="9"/>
                  </a:lnTo>
                  <a:close/>
                </a:path>
              </a:pathLst>
            </a:custGeom>
            <a:solidFill>
              <a:srgbClr val="77A7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14" name="Freeform 289"/>
            <p:cNvSpPr/>
            <p:nvPr userDrawn="1"/>
          </p:nvSpPr>
          <p:spPr bwMode="auto">
            <a:xfrm>
              <a:off x="4568031" y="2387600"/>
              <a:ext cx="30163" cy="30163"/>
            </a:xfrm>
            <a:custGeom>
              <a:avLst/>
              <a:gdLst>
                <a:gd name="T0" fmla="*/ 16 w 19"/>
                <a:gd name="T1" fmla="*/ 19 h 19"/>
                <a:gd name="T2" fmla="*/ 0 w 19"/>
                <a:gd name="T3" fmla="*/ 16 h 19"/>
                <a:gd name="T4" fmla="*/ 4 w 19"/>
                <a:gd name="T5" fmla="*/ 0 h 19"/>
                <a:gd name="T6" fmla="*/ 19 w 19"/>
                <a:gd name="T7" fmla="*/ 4 h 19"/>
                <a:gd name="T8" fmla="*/ 16 w 19"/>
                <a:gd name="T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9">
                  <a:moveTo>
                    <a:pt x="16" y="19"/>
                  </a:moveTo>
                  <a:lnTo>
                    <a:pt x="0" y="16"/>
                  </a:lnTo>
                  <a:lnTo>
                    <a:pt x="4" y="0"/>
                  </a:lnTo>
                  <a:lnTo>
                    <a:pt x="19" y="4"/>
                  </a:lnTo>
                  <a:lnTo>
                    <a:pt x="16" y="19"/>
                  </a:lnTo>
                  <a:close/>
                </a:path>
              </a:pathLst>
            </a:custGeom>
            <a:solidFill>
              <a:srgbClr val="7D64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15" name="Freeform 290"/>
            <p:cNvSpPr/>
            <p:nvPr userDrawn="1"/>
          </p:nvSpPr>
          <p:spPr bwMode="auto">
            <a:xfrm>
              <a:off x="4574381" y="2390775"/>
              <a:ext cx="20638" cy="11113"/>
            </a:xfrm>
            <a:custGeom>
              <a:avLst/>
              <a:gdLst>
                <a:gd name="T0" fmla="*/ 13 w 13"/>
                <a:gd name="T1" fmla="*/ 7 h 7"/>
                <a:gd name="T2" fmla="*/ 0 w 13"/>
                <a:gd name="T3" fmla="*/ 4 h 7"/>
                <a:gd name="T4" fmla="*/ 0 w 13"/>
                <a:gd name="T5" fmla="*/ 0 h 7"/>
                <a:gd name="T6" fmla="*/ 13 w 13"/>
                <a:gd name="T7" fmla="*/ 2 h 7"/>
                <a:gd name="T8" fmla="*/ 13 w 13"/>
                <a:gd name="T9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7">
                  <a:moveTo>
                    <a:pt x="13" y="7"/>
                  </a:moveTo>
                  <a:lnTo>
                    <a:pt x="0" y="4"/>
                  </a:lnTo>
                  <a:lnTo>
                    <a:pt x="0" y="0"/>
                  </a:lnTo>
                  <a:lnTo>
                    <a:pt x="13" y="2"/>
                  </a:lnTo>
                  <a:lnTo>
                    <a:pt x="13" y="7"/>
                  </a:lnTo>
                  <a:close/>
                </a:path>
              </a:pathLst>
            </a:custGeom>
            <a:solidFill>
              <a:srgbClr val="77A7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16" name="Freeform 291"/>
            <p:cNvSpPr/>
            <p:nvPr userDrawn="1"/>
          </p:nvSpPr>
          <p:spPr bwMode="auto">
            <a:xfrm>
              <a:off x="4571206" y="2398713"/>
              <a:ext cx="11113" cy="14288"/>
            </a:xfrm>
            <a:custGeom>
              <a:avLst/>
              <a:gdLst>
                <a:gd name="T0" fmla="*/ 5 w 7"/>
                <a:gd name="T1" fmla="*/ 9 h 9"/>
                <a:gd name="T2" fmla="*/ 0 w 7"/>
                <a:gd name="T3" fmla="*/ 9 h 9"/>
                <a:gd name="T4" fmla="*/ 2 w 7"/>
                <a:gd name="T5" fmla="*/ 0 h 9"/>
                <a:gd name="T6" fmla="*/ 7 w 7"/>
                <a:gd name="T7" fmla="*/ 0 h 9"/>
                <a:gd name="T8" fmla="*/ 5 w 7"/>
                <a:gd name="T9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9">
                  <a:moveTo>
                    <a:pt x="5" y="9"/>
                  </a:moveTo>
                  <a:lnTo>
                    <a:pt x="0" y="9"/>
                  </a:lnTo>
                  <a:lnTo>
                    <a:pt x="2" y="0"/>
                  </a:lnTo>
                  <a:lnTo>
                    <a:pt x="7" y="0"/>
                  </a:lnTo>
                  <a:lnTo>
                    <a:pt x="5" y="9"/>
                  </a:lnTo>
                  <a:close/>
                </a:path>
              </a:pathLst>
            </a:custGeom>
            <a:solidFill>
              <a:srgbClr val="77A7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17" name="Freeform 292"/>
            <p:cNvSpPr/>
            <p:nvPr userDrawn="1"/>
          </p:nvSpPr>
          <p:spPr bwMode="auto">
            <a:xfrm>
              <a:off x="4582318" y="2401888"/>
              <a:ext cx="12700" cy="14288"/>
            </a:xfrm>
            <a:custGeom>
              <a:avLst/>
              <a:gdLst>
                <a:gd name="T0" fmla="*/ 7 w 8"/>
                <a:gd name="T1" fmla="*/ 9 h 9"/>
                <a:gd name="T2" fmla="*/ 0 w 8"/>
                <a:gd name="T3" fmla="*/ 7 h 9"/>
                <a:gd name="T4" fmla="*/ 1 w 8"/>
                <a:gd name="T5" fmla="*/ 0 h 9"/>
                <a:gd name="T6" fmla="*/ 8 w 8"/>
                <a:gd name="T7" fmla="*/ 0 h 9"/>
                <a:gd name="T8" fmla="*/ 7 w 8"/>
                <a:gd name="T9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9">
                  <a:moveTo>
                    <a:pt x="7" y="9"/>
                  </a:moveTo>
                  <a:lnTo>
                    <a:pt x="0" y="7"/>
                  </a:lnTo>
                  <a:lnTo>
                    <a:pt x="1" y="0"/>
                  </a:lnTo>
                  <a:lnTo>
                    <a:pt x="8" y="0"/>
                  </a:lnTo>
                  <a:lnTo>
                    <a:pt x="7" y="9"/>
                  </a:lnTo>
                  <a:close/>
                </a:path>
              </a:pathLst>
            </a:custGeom>
            <a:solidFill>
              <a:srgbClr val="77A7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18" name="Freeform 293"/>
            <p:cNvSpPr/>
            <p:nvPr userDrawn="1"/>
          </p:nvSpPr>
          <p:spPr bwMode="auto">
            <a:xfrm>
              <a:off x="4633118" y="2360613"/>
              <a:ext cx="30163" cy="30163"/>
            </a:xfrm>
            <a:custGeom>
              <a:avLst/>
              <a:gdLst>
                <a:gd name="T0" fmla="*/ 17 w 19"/>
                <a:gd name="T1" fmla="*/ 19 h 19"/>
                <a:gd name="T2" fmla="*/ 0 w 19"/>
                <a:gd name="T3" fmla="*/ 17 h 19"/>
                <a:gd name="T4" fmla="*/ 4 w 19"/>
                <a:gd name="T5" fmla="*/ 0 h 19"/>
                <a:gd name="T6" fmla="*/ 19 w 19"/>
                <a:gd name="T7" fmla="*/ 4 h 19"/>
                <a:gd name="T8" fmla="*/ 17 w 19"/>
                <a:gd name="T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9">
                  <a:moveTo>
                    <a:pt x="17" y="19"/>
                  </a:moveTo>
                  <a:lnTo>
                    <a:pt x="0" y="17"/>
                  </a:lnTo>
                  <a:lnTo>
                    <a:pt x="4" y="0"/>
                  </a:lnTo>
                  <a:lnTo>
                    <a:pt x="19" y="4"/>
                  </a:lnTo>
                  <a:lnTo>
                    <a:pt x="17" y="19"/>
                  </a:lnTo>
                  <a:close/>
                </a:path>
              </a:pathLst>
            </a:custGeom>
            <a:solidFill>
              <a:srgbClr val="7D64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19" name="Freeform 294"/>
            <p:cNvSpPr/>
            <p:nvPr userDrawn="1"/>
          </p:nvSpPr>
          <p:spPr bwMode="auto">
            <a:xfrm>
              <a:off x="4639468" y="2363788"/>
              <a:ext cx="23813" cy="11113"/>
            </a:xfrm>
            <a:custGeom>
              <a:avLst/>
              <a:gdLst>
                <a:gd name="T0" fmla="*/ 13 w 15"/>
                <a:gd name="T1" fmla="*/ 7 h 7"/>
                <a:gd name="T2" fmla="*/ 0 w 15"/>
                <a:gd name="T3" fmla="*/ 5 h 7"/>
                <a:gd name="T4" fmla="*/ 1 w 15"/>
                <a:gd name="T5" fmla="*/ 0 h 7"/>
                <a:gd name="T6" fmla="*/ 15 w 15"/>
                <a:gd name="T7" fmla="*/ 3 h 7"/>
                <a:gd name="T8" fmla="*/ 13 w 15"/>
                <a:gd name="T9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7">
                  <a:moveTo>
                    <a:pt x="13" y="7"/>
                  </a:moveTo>
                  <a:lnTo>
                    <a:pt x="0" y="5"/>
                  </a:lnTo>
                  <a:lnTo>
                    <a:pt x="1" y="0"/>
                  </a:lnTo>
                  <a:lnTo>
                    <a:pt x="15" y="3"/>
                  </a:lnTo>
                  <a:lnTo>
                    <a:pt x="13" y="7"/>
                  </a:lnTo>
                  <a:close/>
                </a:path>
              </a:pathLst>
            </a:custGeom>
            <a:solidFill>
              <a:srgbClr val="77A7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20" name="Freeform 295"/>
            <p:cNvSpPr/>
            <p:nvPr userDrawn="1"/>
          </p:nvSpPr>
          <p:spPr bwMode="auto">
            <a:xfrm>
              <a:off x="4636293" y="2371725"/>
              <a:ext cx="14288" cy="15875"/>
            </a:xfrm>
            <a:custGeom>
              <a:avLst/>
              <a:gdLst>
                <a:gd name="T0" fmla="*/ 7 w 9"/>
                <a:gd name="T1" fmla="*/ 10 h 10"/>
                <a:gd name="T2" fmla="*/ 0 w 9"/>
                <a:gd name="T3" fmla="*/ 9 h 10"/>
                <a:gd name="T4" fmla="*/ 2 w 9"/>
                <a:gd name="T5" fmla="*/ 0 h 10"/>
                <a:gd name="T6" fmla="*/ 9 w 9"/>
                <a:gd name="T7" fmla="*/ 2 h 10"/>
                <a:gd name="T8" fmla="*/ 7 w 9"/>
                <a:gd name="T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0">
                  <a:moveTo>
                    <a:pt x="7" y="10"/>
                  </a:moveTo>
                  <a:lnTo>
                    <a:pt x="0" y="9"/>
                  </a:lnTo>
                  <a:lnTo>
                    <a:pt x="2" y="0"/>
                  </a:lnTo>
                  <a:lnTo>
                    <a:pt x="9" y="2"/>
                  </a:lnTo>
                  <a:lnTo>
                    <a:pt x="7" y="10"/>
                  </a:lnTo>
                  <a:close/>
                </a:path>
              </a:pathLst>
            </a:custGeom>
            <a:solidFill>
              <a:srgbClr val="77A7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21" name="Freeform 296"/>
            <p:cNvSpPr/>
            <p:nvPr userDrawn="1"/>
          </p:nvSpPr>
          <p:spPr bwMode="auto">
            <a:xfrm>
              <a:off x="4647406" y="2374900"/>
              <a:ext cx="12700" cy="15875"/>
            </a:xfrm>
            <a:custGeom>
              <a:avLst/>
              <a:gdLst>
                <a:gd name="T0" fmla="*/ 7 w 8"/>
                <a:gd name="T1" fmla="*/ 10 h 10"/>
                <a:gd name="T2" fmla="*/ 0 w 8"/>
                <a:gd name="T3" fmla="*/ 8 h 10"/>
                <a:gd name="T4" fmla="*/ 2 w 8"/>
                <a:gd name="T5" fmla="*/ 0 h 10"/>
                <a:gd name="T6" fmla="*/ 8 w 8"/>
                <a:gd name="T7" fmla="*/ 2 h 10"/>
                <a:gd name="T8" fmla="*/ 7 w 8"/>
                <a:gd name="T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0">
                  <a:moveTo>
                    <a:pt x="7" y="10"/>
                  </a:moveTo>
                  <a:lnTo>
                    <a:pt x="0" y="8"/>
                  </a:lnTo>
                  <a:lnTo>
                    <a:pt x="2" y="0"/>
                  </a:lnTo>
                  <a:lnTo>
                    <a:pt x="8" y="2"/>
                  </a:lnTo>
                  <a:lnTo>
                    <a:pt x="7" y="10"/>
                  </a:lnTo>
                  <a:close/>
                </a:path>
              </a:pathLst>
            </a:custGeom>
            <a:solidFill>
              <a:srgbClr val="77A7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22" name="Freeform 297"/>
            <p:cNvSpPr/>
            <p:nvPr userDrawn="1"/>
          </p:nvSpPr>
          <p:spPr bwMode="auto">
            <a:xfrm>
              <a:off x="4620418" y="2401888"/>
              <a:ext cx="31750" cy="41275"/>
            </a:xfrm>
            <a:custGeom>
              <a:avLst/>
              <a:gdLst>
                <a:gd name="T0" fmla="*/ 20 w 20"/>
                <a:gd name="T1" fmla="*/ 3 h 26"/>
                <a:gd name="T2" fmla="*/ 5 w 20"/>
                <a:gd name="T3" fmla="*/ 0 h 26"/>
                <a:gd name="T4" fmla="*/ 0 w 20"/>
                <a:gd name="T5" fmla="*/ 22 h 26"/>
                <a:gd name="T6" fmla="*/ 15 w 20"/>
                <a:gd name="T7" fmla="*/ 26 h 26"/>
                <a:gd name="T8" fmla="*/ 20 w 20"/>
                <a:gd name="T9" fmla="*/ 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26">
                  <a:moveTo>
                    <a:pt x="20" y="3"/>
                  </a:moveTo>
                  <a:lnTo>
                    <a:pt x="5" y="0"/>
                  </a:lnTo>
                  <a:lnTo>
                    <a:pt x="0" y="22"/>
                  </a:lnTo>
                  <a:lnTo>
                    <a:pt x="15" y="26"/>
                  </a:lnTo>
                  <a:lnTo>
                    <a:pt x="20" y="3"/>
                  </a:lnTo>
                  <a:close/>
                </a:path>
              </a:pathLst>
            </a:custGeom>
            <a:solidFill>
              <a:srgbClr val="7D64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23" name="Freeform 298"/>
            <p:cNvSpPr/>
            <p:nvPr userDrawn="1"/>
          </p:nvSpPr>
          <p:spPr bwMode="auto">
            <a:xfrm>
              <a:off x="4201318" y="2382838"/>
              <a:ext cx="155575" cy="149225"/>
            </a:xfrm>
            <a:custGeom>
              <a:avLst/>
              <a:gdLst>
                <a:gd name="T0" fmla="*/ 98 w 98"/>
                <a:gd name="T1" fmla="*/ 50 h 94"/>
                <a:gd name="T2" fmla="*/ 34 w 98"/>
                <a:gd name="T3" fmla="*/ 94 h 94"/>
                <a:gd name="T4" fmla="*/ 0 w 98"/>
                <a:gd name="T5" fmla="*/ 44 h 94"/>
                <a:gd name="T6" fmla="*/ 63 w 98"/>
                <a:gd name="T7" fmla="*/ 0 h 94"/>
                <a:gd name="T8" fmla="*/ 98 w 98"/>
                <a:gd name="T9" fmla="*/ 5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8" h="94">
                  <a:moveTo>
                    <a:pt x="98" y="50"/>
                  </a:moveTo>
                  <a:lnTo>
                    <a:pt x="34" y="94"/>
                  </a:lnTo>
                  <a:lnTo>
                    <a:pt x="0" y="44"/>
                  </a:lnTo>
                  <a:lnTo>
                    <a:pt x="63" y="0"/>
                  </a:lnTo>
                  <a:lnTo>
                    <a:pt x="98" y="5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24" name="Freeform 299"/>
            <p:cNvSpPr/>
            <p:nvPr userDrawn="1"/>
          </p:nvSpPr>
          <p:spPr bwMode="auto">
            <a:xfrm>
              <a:off x="4244181" y="2452688"/>
              <a:ext cx="136525" cy="104775"/>
            </a:xfrm>
            <a:custGeom>
              <a:avLst/>
              <a:gdLst>
                <a:gd name="T0" fmla="*/ 86 w 86"/>
                <a:gd name="T1" fmla="*/ 12 h 66"/>
                <a:gd name="T2" fmla="*/ 9 w 86"/>
                <a:gd name="T3" fmla="*/ 66 h 66"/>
                <a:gd name="T4" fmla="*/ 0 w 86"/>
                <a:gd name="T5" fmla="*/ 55 h 66"/>
                <a:gd name="T6" fmla="*/ 77 w 86"/>
                <a:gd name="T7" fmla="*/ 0 h 66"/>
                <a:gd name="T8" fmla="*/ 86 w 86"/>
                <a:gd name="T9" fmla="*/ 12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6" h="66">
                  <a:moveTo>
                    <a:pt x="86" y="12"/>
                  </a:moveTo>
                  <a:lnTo>
                    <a:pt x="9" y="66"/>
                  </a:lnTo>
                  <a:lnTo>
                    <a:pt x="0" y="55"/>
                  </a:lnTo>
                  <a:lnTo>
                    <a:pt x="77" y="0"/>
                  </a:lnTo>
                  <a:lnTo>
                    <a:pt x="86" y="12"/>
                  </a:lnTo>
                  <a:close/>
                </a:path>
              </a:pathLst>
            </a:custGeom>
            <a:solidFill>
              <a:srgbClr val="5E5E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25" name="Freeform 300"/>
            <p:cNvSpPr/>
            <p:nvPr userDrawn="1"/>
          </p:nvSpPr>
          <p:spPr bwMode="auto">
            <a:xfrm>
              <a:off x="4182268" y="2368550"/>
              <a:ext cx="141288" cy="98425"/>
            </a:xfrm>
            <a:custGeom>
              <a:avLst/>
              <a:gdLst>
                <a:gd name="T0" fmla="*/ 22 w 89"/>
                <a:gd name="T1" fmla="*/ 0 h 62"/>
                <a:gd name="T2" fmla="*/ 0 w 89"/>
                <a:gd name="T3" fmla="*/ 62 h 62"/>
                <a:gd name="T4" fmla="*/ 89 w 89"/>
                <a:gd name="T5" fmla="*/ 0 h 62"/>
                <a:gd name="T6" fmla="*/ 22 w 89"/>
                <a:gd name="T7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9" h="62">
                  <a:moveTo>
                    <a:pt x="22" y="0"/>
                  </a:moveTo>
                  <a:lnTo>
                    <a:pt x="0" y="62"/>
                  </a:lnTo>
                  <a:lnTo>
                    <a:pt x="89" y="0"/>
                  </a:lnTo>
                  <a:lnTo>
                    <a:pt x="22" y="0"/>
                  </a:lnTo>
                  <a:close/>
                </a:path>
              </a:pathLst>
            </a:custGeom>
            <a:solidFill>
              <a:srgbClr val="4E66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26" name="Freeform 301"/>
            <p:cNvSpPr/>
            <p:nvPr userDrawn="1"/>
          </p:nvSpPr>
          <p:spPr bwMode="auto">
            <a:xfrm>
              <a:off x="4247356" y="2424113"/>
              <a:ext cx="65088" cy="66675"/>
            </a:xfrm>
            <a:custGeom>
              <a:avLst/>
              <a:gdLst>
                <a:gd name="T0" fmla="*/ 41 w 41"/>
                <a:gd name="T1" fmla="*/ 25 h 42"/>
                <a:gd name="T2" fmla="*/ 17 w 41"/>
                <a:gd name="T3" fmla="*/ 42 h 42"/>
                <a:gd name="T4" fmla="*/ 0 w 41"/>
                <a:gd name="T5" fmla="*/ 17 h 42"/>
                <a:gd name="T6" fmla="*/ 24 w 41"/>
                <a:gd name="T7" fmla="*/ 0 h 42"/>
                <a:gd name="T8" fmla="*/ 41 w 41"/>
                <a:gd name="T9" fmla="*/ 25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42">
                  <a:moveTo>
                    <a:pt x="41" y="25"/>
                  </a:moveTo>
                  <a:lnTo>
                    <a:pt x="17" y="42"/>
                  </a:lnTo>
                  <a:lnTo>
                    <a:pt x="0" y="17"/>
                  </a:lnTo>
                  <a:lnTo>
                    <a:pt x="24" y="0"/>
                  </a:lnTo>
                  <a:lnTo>
                    <a:pt x="41" y="25"/>
                  </a:lnTo>
                  <a:close/>
                </a:path>
              </a:pathLst>
            </a:custGeom>
            <a:solidFill>
              <a:srgbClr val="7D64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27" name="Freeform 302"/>
            <p:cNvSpPr/>
            <p:nvPr userDrawn="1"/>
          </p:nvSpPr>
          <p:spPr bwMode="auto">
            <a:xfrm>
              <a:off x="4252118" y="2428875"/>
              <a:ext cx="38100" cy="34925"/>
            </a:xfrm>
            <a:custGeom>
              <a:avLst/>
              <a:gdLst>
                <a:gd name="T0" fmla="*/ 24 w 24"/>
                <a:gd name="T1" fmla="*/ 7 h 22"/>
                <a:gd name="T2" fmla="*/ 4 w 24"/>
                <a:gd name="T3" fmla="*/ 22 h 22"/>
                <a:gd name="T4" fmla="*/ 0 w 24"/>
                <a:gd name="T5" fmla="*/ 15 h 22"/>
                <a:gd name="T6" fmla="*/ 21 w 24"/>
                <a:gd name="T7" fmla="*/ 0 h 22"/>
                <a:gd name="T8" fmla="*/ 24 w 24"/>
                <a:gd name="T9" fmla="*/ 7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22">
                  <a:moveTo>
                    <a:pt x="24" y="7"/>
                  </a:moveTo>
                  <a:lnTo>
                    <a:pt x="4" y="22"/>
                  </a:lnTo>
                  <a:lnTo>
                    <a:pt x="0" y="15"/>
                  </a:lnTo>
                  <a:lnTo>
                    <a:pt x="21" y="0"/>
                  </a:lnTo>
                  <a:lnTo>
                    <a:pt x="24" y="7"/>
                  </a:lnTo>
                  <a:close/>
                </a:path>
              </a:pathLst>
            </a:custGeom>
            <a:solidFill>
              <a:srgbClr val="77A7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28" name="Freeform 303"/>
            <p:cNvSpPr/>
            <p:nvPr userDrawn="1"/>
          </p:nvSpPr>
          <p:spPr bwMode="auto">
            <a:xfrm>
              <a:off x="4261643" y="2452688"/>
              <a:ext cx="28575" cy="33338"/>
            </a:xfrm>
            <a:custGeom>
              <a:avLst/>
              <a:gdLst>
                <a:gd name="T0" fmla="*/ 18 w 18"/>
                <a:gd name="T1" fmla="*/ 14 h 21"/>
                <a:gd name="T2" fmla="*/ 8 w 18"/>
                <a:gd name="T3" fmla="*/ 21 h 21"/>
                <a:gd name="T4" fmla="*/ 0 w 18"/>
                <a:gd name="T5" fmla="*/ 7 h 21"/>
                <a:gd name="T6" fmla="*/ 8 w 18"/>
                <a:gd name="T7" fmla="*/ 0 h 21"/>
                <a:gd name="T8" fmla="*/ 18 w 18"/>
                <a:gd name="T9" fmla="*/ 14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21">
                  <a:moveTo>
                    <a:pt x="18" y="14"/>
                  </a:moveTo>
                  <a:lnTo>
                    <a:pt x="8" y="21"/>
                  </a:lnTo>
                  <a:lnTo>
                    <a:pt x="0" y="7"/>
                  </a:lnTo>
                  <a:lnTo>
                    <a:pt x="8" y="0"/>
                  </a:lnTo>
                  <a:lnTo>
                    <a:pt x="18" y="14"/>
                  </a:lnTo>
                  <a:close/>
                </a:path>
              </a:pathLst>
            </a:custGeom>
            <a:solidFill>
              <a:srgbClr val="77A7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29" name="Freeform 304"/>
            <p:cNvSpPr/>
            <p:nvPr userDrawn="1"/>
          </p:nvSpPr>
          <p:spPr bwMode="auto">
            <a:xfrm>
              <a:off x="4277518" y="2443163"/>
              <a:ext cx="30163" cy="28575"/>
            </a:xfrm>
            <a:custGeom>
              <a:avLst/>
              <a:gdLst>
                <a:gd name="T0" fmla="*/ 19 w 19"/>
                <a:gd name="T1" fmla="*/ 12 h 18"/>
                <a:gd name="T2" fmla="*/ 8 w 19"/>
                <a:gd name="T3" fmla="*/ 18 h 18"/>
                <a:gd name="T4" fmla="*/ 0 w 19"/>
                <a:gd name="T5" fmla="*/ 6 h 18"/>
                <a:gd name="T6" fmla="*/ 10 w 19"/>
                <a:gd name="T7" fmla="*/ 0 h 18"/>
                <a:gd name="T8" fmla="*/ 19 w 19"/>
                <a:gd name="T9" fmla="*/ 1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8">
                  <a:moveTo>
                    <a:pt x="19" y="12"/>
                  </a:moveTo>
                  <a:lnTo>
                    <a:pt x="8" y="1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9" y="12"/>
                  </a:lnTo>
                  <a:close/>
                </a:path>
              </a:pathLst>
            </a:custGeom>
            <a:solidFill>
              <a:srgbClr val="77A7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30" name="Freeform 305"/>
            <p:cNvSpPr/>
            <p:nvPr userDrawn="1"/>
          </p:nvSpPr>
          <p:spPr bwMode="auto">
            <a:xfrm>
              <a:off x="4418806" y="1887538"/>
              <a:ext cx="304800" cy="261938"/>
            </a:xfrm>
            <a:custGeom>
              <a:avLst/>
              <a:gdLst>
                <a:gd name="T0" fmla="*/ 192 w 192"/>
                <a:gd name="T1" fmla="*/ 125 h 165"/>
                <a:gd name="T2" fmla="*/ 31 w 192"/>
                <a:gd name="T3" fmla="*/ 165 h 165"/>
                <a:gd name="T4" fmla="*/ 0 w 192"/>
                <a:gd name="T5" fmla="*/ 40 h 165"/>
                <a:gd name="T6" fmla="*/ 161 w 192"/>
                <a:gd name="T7" fmla="*/ 0 h 165"/>
                <a:gd name="T8" fmla="*/ 192 w 192"/>
                <a:gd name="T9" fmla="*/ 125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2" h="165">
                  <a:moveTo>
                    <a:pt x="192" y="125"/>
                  </a:moveTo>
                  <a:lnTo>
                    <a:pt x="31" y="165"/>
                  </a:lnTo>
                  <a:lnTo>
                    <a:pt x="0" y="40"/>
                  </a:lnTo>
                  <a:lnTo>
                    <a:pt x="161" y="0"/>
                  </a:lnTo>
                  <a:lnTo>
                    <a:pt x="192" y="12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31" name="Freeform 306"/>
            <p:cNvSpPr/>
            <p:nvPr userDrawn="1"/>
          </p:nvSpPr>
          <p:spPr bwMode="auto">
            <a:xfrm>
              <a:off x="4441031" y="2081213"/>
              <a:ext cx="320675" cy="119063"/>
            </a:xfrm>
            <a:custGeom>
              <a:avLst/>
              <a:gdLst>
                <a:gd name="T0" fmla="*/ 202 w 202"/>
                <a:gd name="T1" fmla="*/ 27 h 75"/>
                <a:gd name="T2" fmla="*/ 7 w 202"/>
                <a:gd name="T3" fmla="*/ 75 h 75"/>
                <a:gd name="T4" fmla="*/ 0 w 202"/>
                <a:gd name="T5" fmla="*/ 48 h 75"/>
                <a:gd name="T6" fmla="*/ 197 w 202"/>
                <a:gd name="T7" fmla="*/ 0 h 75"/>
                <a:gd name="T8" fmla="*/ 202 w 202"/>
                <a:gd name="T9" fmla="*/ 27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2" h="75">
                  <a:moveTo>
                    <a:pt x="202" y="27"/>
                  </a:moveTo>
                  <a:lnTo>
                    <a:pt x="7" y="75"/>
                  </a:lnTo>
                  <a:lnTo>
                    <a:pt x="0" y="48"/>
                  </a:lnTo>
                  <a:lnTo>
                    <a:pt x="197" y="0"/>
                  </a:lnTo>
                  <a:lnTo>
                    <a:pt x="202" y="27"/>
                  </a:lnTo>
                  <a:close/>
                </a:path>
              </a:pathLst>
            </a:custGeom>
            <a:solidFill>
              <a:srgbClr val="4242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32" name="Freeform 307"/>
            <p:cNvSpPr/>
            <p:nvPr userDrawn="1"/>
          </p:nvSpPr>
          <p:spPr bwMode="auto">
            <a:xfrm>
              <a:off x="4364831" y="1790700"/>
              <a:ext cx="363538" cy="173038"/>
            </a:xfrm>
            <a:custGeom>
              <a:avLst/>
              <a:gdLst>
                <a:gd name="T0" fmla="*/ 96 w 229"/>
                <a:gd name="T1" fmla="*/ 0 h 109"/>
                <a:gd name="T2" fmla="*/ 0 w 229"/>
                <a:gd name="T3" fmla="*/ 109 h 109"/>
                <a:gd name="T4" fmla="*/ 229 w 229"/>
                <a:gd name="T5" fmla="*/ 53 h 109"/>
                <a:gd name="T6" fmla="*/ 96 w 229"/>
                <a:gd name="T7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9" h="109">
                  <a:moveTo>
                    <a:pt x="96" y="0"/>
                  </a:moveTo>
                  <a:lnTo>
                    <a:pt x="0" y="109"/>
                  </a:lnTo>
                  <a:lnTo>
                    <a:pt x="229" y="53"/>
                  </a:lnTo>
                  <a:lnTo>
                    <a:pt x="96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33" name="Freeform 308"/>
            <p:cNvSpPr/>
            <p:nvPr userDrawn="1"/>
          </p:nvSpPr>
          <p:spPr bwMode="auto">
            <a:xfrm>
              <a:off x="4509293" y="1955800"/>
              <a:ext cx="123825" cy="125413"/>
            </a:xfrm>
            <a:custGeom>
              <a:avLst/>
              <a:gdLst>
                <a:gd name="T0" fmla="*/ 78 w 78"/>
                <a:gd name="T1" fmla="*/ 63 h 79"/>
                <a:gd name="T2" fmla="*/ 15 w 78"/>
                <a:gd name="T3" fmla="*/ 79 h 79"/>
                <a:gd name="T4" fmla="*/ 0 w 78"/>
                <a:gd name="T5" fmla="*/ 15 h 79"/>
                <a:gd name="T6" fmla="*/ 63 w 78"/>
                <a:gd name="T7" fmla="*/ 0 h 79"/>
                <a:gd name="T8" fmla="*/ 78 w 78"/>
                <a:gd name="T9" fmla="*/ 63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" h="79">
                  <a:moveTo>
                    <a:pt x="78" y="63"/>
                  </a:moveTo>
                  <a:lnTo>
                    <a:pt x="15" y="79"/>
                  </a:lnTo>
                  <a:lnTo>
                    <a:pt x="0" y="15"/>
                  </a:lnTo>
                  <a:lnTo>
                    <a:pt x="63" y="0"/>
                  </a:lnTo>
                  <a:lnTo>
                    <a:pt x="78" y="63"/>
                  </a:lnTo>
                  <a:close/>
                </a:path>
              </a:pathLst>
            </a:custGeom>
            <a:solidFill>
              <a:srgbClr val="7D64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34" name="Freeform 309"/>
            <p:cNvSpPr/>
            <p:nvPr userDrawn="1"/>
          </p:nvSpPr>
          <p:spPr bwMode="auto">
            <a:xfrm>
              <a:off x="4518818" y="1966913"/>
              <a:ext cx="90488" cy="49213"/>
            </a:xfrm>
            <a:custGeom>
              <a:avLst/>
              <a:gdLst>
                <a:gd name="T0" fmla="*/ 57 w 57"/>
                <a:gd name="T1" fmla="*/ 17 h 31"/>
                <a:gd name="T2" fmla="*/ 4 w 57"/>
                <a:gd name="T3" fmla="*/ 31 h 31"/>
                <a:gd name="T4" fmla="*/ 0 w 57"/>
                <a:gd name="T5" fmla="*/ 12 h 31"/>
                <a:gd name="T6" fmla="*/ 53 w 57"/>
                <a:gd name="T7" fmla="*/ 0 h 31"/>
                <a:gd name="T8" fmla="*/ 57 w 57"/>
                <a:gd name="T9" fmla="*/ 17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31">
                  <a:moveTo>
                    <a:pt x="57" y="17"/>
                  </a:moveTo>
                  <a:lnTo>
                    <a:pt x="4" y="31"/>
                  </a:lnTo>
                  <a:lnTo>
                    <a:pt x="0" y="12"/>
                  </a:lnTo>
                  <a:lnTo>
                    <a:pt x="53" y="0"/>
                  </a:lnTo>
                  <a:lnTo>
                    <a:pt x="57" y="17"/>
                  </a:lnTo>
                  <a:close/>
                </a:path>
              </a:pathLst>
            </a:custGeom>
            <a:solidFill>
              <a:srgbClr val="77A7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35" name="Freeform 310"/>
            <p:cNvSpPr/>
            <p:nvPr userDrawn="1"/>
          </p:nvSpPr>
          <p:spPr bwMode="auto">
            <a:xfrm>
              <a:off x="4528343" y="2009775"/>
              <a:ext cx="50800" cy="60325"/>
            </a:xfrm>
            <a:custGeom>
              <a:avLst/>
              <a:gdLst>
                <a:gd name="T0" fmla="*/ 32 w 32"/>
                <a:gd name="T1" fmla="*/ 33 h 38"/>
                <a:gd name="T2" fmla="*/ 6 w 32"/>
                <a:gd name="T3" fmla="*/ 38 h 38"/>
                <a:gd name="T4" fmla="*/ 0 w 32"/>
                <a:gd name="T5" fmla="*/ 5 h 38"/>
                <a:gd name="T6" fmla="*/ 23 w 32"/>
                <a:gd name="T7" fmla="*/ 0 h 38"/>
                <a:gd name="T8" fmla="*/ 32 w 32"/>
                <a:gd name="T9" fmla="*/ 33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38">
                  <a:moveTo>
                    <a:pt x="32" y="33"/>
                  </a:moveTo>
                  <a:lnTo>
                    <a:pt x="6" y="38"/>
                  </a:lnTo>
                  <a:lnTo>
                    <a:pt x="0" y="5"/>
                  </a:lnTo>
                  <a:lnTo>
                    <a:pt x="23" y="0"/>
                  </a:lnTo>
                  <a:lnTo>
                    <a:pt x="32" y="33"/>
                  </a:lnTo>
                  <a:close/>
                </a:path>
              </a:pathLst>
            </a:custGeom>
            <a:solidFill>
              <a:srgbClr val="77A7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36" name="Freeform 311"/>
            <p:cNvSpPr/>
            <p:nvPr userDrawn="1"/>
          </p:nvSpPr>
          <p:spPr bwMode="auto">
            <a:xfrm>
              <a:off x="4571206" y="1998663"/>
              <a:ext cx="50800" cy="60325"/>
            </a:xfrm>
            <a:custGeom>
              <a:avLst/>
              <a:gdLst>
                <a:gd name="T0" fmla="*/ 32 w 32"/>
                <a:gd name="T1" fmla="*/ 33 h 38"/>
                <a:gd name="T2" fmla="*/ 8 w 32"/>
                <a:gd name="T3" fmla="*/ 38 h 38"/>
                <a:gd name="T4" fmla="*/ 0 w 32"/>
                <a:gd name="T5" fmla="*/ 6 h 38"/>
                <a:gd name="T6" fmla="*/ 26 w 32"/>
                <a:gd name="T7" fmla="*/ 0 h 38"/>
                <a:gd name="T8" fmla="*/ 32 w 32"/>
                <a:gd name="T9" fmla="*/ 33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38">
                  <a:moveTo>
                    <a:pt x="32" y="33"/>
                  </a:moveTo>
                  <a:lnTo>
                    <a:pt x="8" y="38"/>
                  </a:lnTo>
                  <a:lnTo>
                    <a:pt x="0" y="6"/>
                  </a:lnTo>
                  <a:lnTo>
                    <a:pt x="26" y="0"/>
                  </a:lnTo>
                  <a:lnTo>
                    <a:pt x="32" y="33"/>
                  </a:lnTo>
                  <a:close/>
                </a:path>
              </a:pathLst>
            </a:custGeom>
            <a:solidFill>
              <a:srgbClr val="77A7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37" name="Freeform 312"/>
            <p:cNvSpPr/>
            <p:nvPr userDrawn="1"/>
          </p:nvSpPr>
          <p:spPr bwMode="auto">
            <a:xfrm>
              <a:off x="7028656" y="1531938"/>
              <a:ext cx="304800" cy="304800"/>
            </a:xfrm>
            <a:custGeom>
              <a:avLst/>
              <a:gdLst>
                <a:gd name="T0" fmla="*/ 96 w 112"/>
                <a:gd name="T1" fmla="*/ 76 h 112"/>
                <a:gd name="T2" fmla="*/ 83 w 112"/>
                <a:gd name="T3" fmla="*/ 64 h 112"/>
                <a:gd name="T4" fmla="*/ 87 w 112"/>
                <a:gd name="T5" fmla="*/ 54 h 112"/>
                <a:gd name="T6" fmla="*/ 91 w 112"/>
                <a:gd name="T7" fmla="*/ 58 h 112"/>
                <a:gd name="T8" fmla="*/ 93 w 112"/>
                <a:gd name="T9" fmla="*/ 59 h 112"/>
                <a:gd name="T10" fmla="*/ 98 w 112"/>
                <a:gd name="T11" fmla="*/ 55 h 112"/>
                <a:gd name="T12" fmla="*/ 97 w 112"/>
                <a:gd name="T13" fmla="*/ 53 h 112"/>
                <a:gd name="T14" fmla="*/ 91 w 112"/>
                <a:gd name="T15" fmla="*/ 47 h 112"/>
                <a:gd name="T16" fmla="*/ 94 w 112"/>
                <a:gd name="T17" fmla="*/ 40 h 112"/>
                <a:gd name="T18" fmla="*/ 98 w 112"/>
                <a:gd name="T19" fmla="*/ 44 h 112"/>
                <a:gd name="T20" fmla="*/ 100 w 112"/>
                <a:gd name="T21" fmla="*/ 45 h 112"/>
                <a:gd name="T22" fmla="*/ 104 w 112"/>
                <a:gd name="T23" fmla="*/ 41 h 112"/>
                <a:gd name="T24" fmla="*/ 104 w 112"/>
                <a:gd name="T25" fmla="*/ 39 h 112"/>
                <a:gd name="T26" fmla="*/ 97 w 112"/>
                <a:gd name="T27" fmla="*/ 32 h 112"/>
                <a:gd name="T28" fmla="*/ 106 w 112"/>
                <a:gd name="T29" fmla="*/ 12 h 112"/>
                <a:gd name="T30" fmla="*/ 106 w 112"/>
                <a:gd name="T31" fmla="*/ 9 h 112"/>
                <a:gd name="T32" fmla="*/ 99 w 112"/>
                <a:gd name="T33" fmla="*/ 3 h 112"/>
                <a:gd name="T34" fmla="*/ 96 w 112"/>
                <a:gd name="T35" fmla="*/ 3 h 112"/>
                <a:gd name="T36" fmla="*/ 62 w 112"/>
                <a:gd name="T37" fmla="*/ 45 h 112"/>
                <a:gd name="T38" fmla="*/ 40 w 112"/>
                <a:gd name="T39" fmla="*/ 28 h 112"/>
                <a:gd name="T40" fmla="*/ 46 w 112"/>
                <a:gd name="T41" fmla="*/ 6 h 112"/>
                <a:gd name="T42" fmla="*/ 45 w 112"/>
                <a:gd name="T43" fmla="*/ 5 h 112"/>
                <a:gd name="T44" fmla="*/ 41 w 112"/>
                <a:gd name="T45" fmla="*/ 1 h 112"/>
                <a:gd name="T46" fmla="*/ 39 w 112"/>
                <a:gd name="T47" fmla="*/ 0 h 112"/>
                <a:gd name="T48" fmla="*/ 26 w 112"/>
                <a:gd name="T49" fmla="*/ 19 h 112"/>
                <a:gd name="T50" fmla="*/ 15 w 112"/>
                <a:gd name="T51" fmla="*/ 15 h 112"/>
                <a:gd name="T52" fmla="*/ 19 w 112"/>
                <a:gd name="T53" fmla="*/ 26 h 112"/>
                <a:gd name="T54" fmla="*/ 1 w 112"/>
                <a:gd name="T55" fmla="*/ 39 h 112"/>
                <a:gd name="T56" fmla="*/ 1 w 112"/>
                <a:gd name="T57" fmla="*/ 41 h 112"/>
                <a:gd name="T58" fmla="*/ 5 w 112"/>
                <a:gd name="T59" fmla="*/ 45 h 112"/>
                <a:gd name="T60" fmla="*/ 7 w 112"/>
                <a:gd name="T61" fmla="*/ 46 h 112"/>
                <a:gd name="T62" fmla="*/ 28 w 112"/>
                <a:gd name="T63" fmla="*/ 40 h 112"/>
                <a:gd name="T64" fmla="*/ 45 w 112"/>
                <a:gd name="T65" fmla="*/ 62 h 112"/>
                <a:gd name="T66" fmla="*/ 2 w 112"/>
                <a:gd name="T67" fmla="*/ 96 h 112"/>
                <a:gd name="T68" fmla="*/ 3 w 112"/>
                <a:gd name="T69" fmla="*/ 99 h 112"/>
                <a:gd name="T70" fmla="*/ 9 w 112"/>
                <a:gd name="T71" fmla="*/ 106 h 112"/>
                <a:gd name="T72" fmla="*/ 12 w 112"/>
                <a:gd name="T73" fmla="*/ 106 h 112"/>
                <a:gd name="T74" fmla="*/ 32 w 112"/>
                <a:gd name="T75" fmla="*/ 97 h 112"/>
                <a:gd name="T76" fmla="*/ 39 w 112"/>
                <a:gd name="T77" fmla="*/ 104 h 112"/>
                <a:gd name="T78" fmla="*/ 41 w 112"/>
                <a:gd name="T79" fmla="*/ 105 h 112"/>
                <a:gd name="T80" fmla="*/ 45 w 112"/>
                <a:gd name="T81" fmla="*/ 100 h 112"/>
                <a:gd name="T82" fmla="*/ 44 w 112"/>
                <a:gd name="T83" fmla="*/ 98 h 112"/>
                <a:gd name="T84" fmla="*/ 40 w 112"/>
                <a:gd name="T85" fmla="*/ 94 h 112"/>
                <a:gd name="T86" fmla="*/ 46 w 112"/>
                <a:gd name="T87" fmla="*/ 91 h 112"/>
                <a:gd name="T88" fmla="*/ 53 w 112"/>
                <a:gd name="T89" fmla="*/ 97 h 112"/>
                <a:gd name="T90" fmla="*/ 55 w 112"/>
                <a:gd name="T91" fmla="*/ 98 h 112"/>
                <a:gd name="T92" fmla="*/ 59 w 112"/>
                <a:gd name="T93" fmla="*/ 93 h 112"/>
                <a:gd name="T94" fmla="*/ 58 w 112"/>
                <a:gd name="T95" fmla="*/ 91 h 112"/>
                <a:gd name="T96" fmla="*/ 54 w 112"/>
                <a:gd name="T97" fmla="*/ 88 h 112"/>
                <a:gd name="T98" fmla="*/ 65 w 112"/>
                <a:gd name="T99" fmla="*/ 83 h 112"/>
                <a:gd name="T100" fmla="*/ 77 w 112"/>
                <a:gd name="T101" fmla="*/ 96 h 112"/>
                <a:gd name="T102" fmla="*/ 105 w 112"/>
                <a:gd name="T103" fmla="*/ 105 h 112"/>
                <a:gd name="T104" fmla="*/ 96 w 112"/>
                <a:gd name="T105" fmla="*/ 76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12" h="112">
                  <a:moveTo>
                    <a:pt x="96" y="76"/>
                  </a:moveTo>
                  <a:cubicBezTo>
                    <a:pt x="91" y="72"/>
                    <a:pt x="87" y="68"/>
                    <a:pt x="83" y="64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9" y="56"/>
                    <a:pt x="90" y="57"/>
                    <a:pt x="91" y="58"/>
                  </a:cubicBezTo>
                  <a:cubicBezTo>
                    <a:pt x="92" y="59"/>
                    <a:pt x="93" y="59"/>
                    <a:pt x="93" y="59"/>
                  </a:cubicBezTo>
                  <a:cubicBezTo>
                    <a:pt x="98" y="55"/>
                    <a:pt x="98" y="55"/>
                    <a:pt x="98" y="55"/>
                  </a:cubicBezTo>
                  <a:cubicBezTo>
                    <a:pt x="98" y="54"/>
                    <a:pt x="98" y="53"/>
                    <a:pt x="97" y="53"/>
                  </a:cubicBezTo>
                  <a:cubicBezTo>
                    <a:pt x="96" y="51"/>
                    <a:pt x="93" y="49"/>
                    <a:pt x="91" y="47"/>
                  </a:cubicBezTo>
                  <a:cubicBezTo>
                    <a:pt x="94" y="40"/>
                    <a:pt x="94" y="40"/>
                    <a:pt x="94" y="40"/>
                  </a:cubicBezTo>
                  <a:cubicBezTo>
                    <a:pt x="96" y="42"/>
                    <a:pt x="97" y="43"/>
                    <a:pt x="98" y="44"/>
                  </a:cubicBezTo>
                  <a:cubicBezTo>
                    <a:pt x="99" y="45"/>
                    <a:pt x="100" y="45"/>
                    <a:pt x="100" y="45"/>
                  </a:cubicBezTo>
                  <a:cubicBezTo>
                    <a:pt x="104" y="41"/>
                    <a:pt x="104" y="41"/>
                    <a:pt x="104" y="41"/>
                  </a:cubicBezTo>
                  <a:cubicBezTo>
                    <a:pt x="105" y="40"/>
                    <a:pt x="105" y="39"/>
                    <a:pt x="104" y="39"/>
                  </a:cubicBezTo>
                  <a:cubicBezTo>
                    <a:pt x="102" y="37"/>
                    <a:pt x="100" y="34"/>
                    <a:pt x="97" y="32"/>
                  </a:cubicBezTo>
                  <a:cubicBezTo>
                    <a:pt x="106" y="12"/>
                    <a:pt x="106" y="12"/>
                    <a:pt x="106" y="12"/>
                  </a:cubicBezTo>
                  <a:cubicBezTo>
                    <a:pt x="106" y="11"/>
                    <a:pt x="106" y="10"/>
                    <a:pt x="106" y="9"/>
                  </a:cubicBezTo>
                  <a:cubicBezTo>
                    <a:pt x="99" y="3"/>
                    <a:pt x="99" y="3"/>
                    <a:pt x="99" y="3"/>
                  </a:cubicBezTo>
                  <a:cubicBezTo>
                    <a:pt x="98" y="2"/>
                    <a:pt x="97" y="2"/>
                    <a:pt x="96" y="3"/>
                  </a:cubicBezTo>
                  <a:cubicBezTo>
                    <a:pt x="62" y="45"/>
                    <a:pt x="62" y="45"/>
                    <a:pt x="62" y="45"/>
                  </a:cubicBezTo>
                  <a:cubicBezTo>
                    <a:pt x="53" y="37"/>
                    <a:pt x="46" y="32"/>
                    <a:pt x="40" y="28"/>
                  </a:cubicBezTo>
                  <a:cubicBezTo>
                    <a:pt x="46" y="6"/>
                    <a:pt x="46" y="6"/>
                    <a:pt x="46" y="6"/>
                  </a:cubicBezTo>
                  <a:cubicBezTo>
                    <a:pt x="46" y="6"/>
                    <a:pt x="46" y="5"/>
                    <a:pt x="45" y="5"/>
                  </a:cubicBezTo>
                  <a:cubicBezTo>
                    <a:pt x="41" y="1"/>
                    <a:pt x="41" y="1"/>
                    <a:pt x="41" y="1"/>
                  </a:cubicBezTo>
                  <a:cubicBezTo>
                    <a:pt x="41" y="0"/>
                    <a:pt x="40" y="0"/>
                    <a:pt x="39" y="0"/>
                  </a:cubicBezTo>
                  <a:cubicBezTo>
                    <a:pt x="26" y="19"/>
                    <a:pt x="26" y="19"/>
                    <a:pt x="26" y="19"/>
                  </a:cubicBezTo>
                  <a:cubicBezTo>
                    <a:pt x="18" y="15"/>
                    <a:pt x="15" y="15"/>
                    <a:pt x="15" y="15"/>
                  </a:cubicBezTo>
                  <a:cubicBezTo>
                    <a:pt x="15" y="15"/>
                    <a:pt x="15" y="18"/>
                    <a:pt x="19" y="26"/>
                  </a:cubicBezTo>
                  <a:cubicBezTo>
                    <a:pt x="1" y="39"/>
                    <a:pt x="1" y="39"/>
                    <a:pt x="1" y="39"/>
                  </a:cubicBezTo>
                  <a:cubicBezTo>
                    <a:pt x="0" y="39"/>
                    <a:pt x="0" y="40"/>
                    <a:pt x="1" y="41"/>
                  </a:cubicBezTo>
                  <a:cubicBezTo>
                    <a:pt x="5" y="45"/>
                    <a:pt x="5" y="45"/>
                    <a:pt x="5" y="45"/>
                  </a:cubicBezTo>
                  <a:cubicBezTo>
                    <a:pt x="6" y="46"/>
                    <a:pt x="6" y="46"/>
                    <a:pt x="7" y="46"/>
                  </a:cubicBezTo>
                  <a:cubicBezTo>
                    <a:pt x="28" y="40"/>
                    <a:pt x="28" y="40"/>
                    <a:pt x="28" y="40"/>
                  </a:cubicBezTo>
                  <a:cubicBezTo>
                    <a:pt x="33" y="46"/>
                    <a:pt x="45" y="62"/>
                    <a:pt x="45" y="62"/>
                  </a:cubicBezTo>
                  <a:cubicBezTo>
                    <a:pt x="2" y="96"/>
                    <a:pt x="2" y="96"/>
                    <a:pt x="2" y="96"/>
                  </a:cubicBezTo>
                  <a:cubicBezTo>
                    <a:pt x="2" y="97"/>
                    <a:pt x="2" y="98"/>
                    <a:pt x="3" y="99"/>
                  </a:cubicBezTo>
                  <a:cubicBezTo>
                    <a:pt x="9" y="106"/>
                    <a:pt x="9" y="106"/>
                    <a:pt x="9" y="106"/>
                  </a:cubicBezTo>
                  <a:cubicBezTo>
                    <a:pt x="10" y="106"/>
                    <a:pt x="11" y="107"/>
                    <a:pt x="12" y="106"/>
                  </a:cubicBezTo>
                  <a:cubicBezTo>
                    <a:pt x="32" y="97"/>
                    <a:pt x="32" y="97"/>
                    <a:pt x="32" y="97"/>
                  </a:cubicBezTo>
                  <a:cubicBezTo>
                    <a:pt x="34" y="100"/>
                    <a:pt x="37" y="103"/>
                    <a:pt x="39" y="104"/>
                  </a:cubicBezTo>
                  <a:cubicBezTo>
                    <a:pt x="39" y="105"/>
                    <a:pt x="40" y="105"/>
                    <a:pt x="41" y="105"/>
                  </a:cubicBezTo>
                  <a:cubicBezTo>
                    <a:pt x="45" y="100"/>
                    <a:pt x="45" y="100"/>
                    <a:pt x="45" y="100"/>
                  </a:cubicBezTo>
                  <a:cubicBezTo>
                    <a:pt x="45" y="100"/>
                    <a:pt x="45" y="99"/>
                    <a:pt x="44" y="98"/>
                  </a:cubicBezTo>
                  <a:cubicBezTo>
                    <a:pt x="43" y="97"/>
                    <a:pt x="42" y="96"/>
                    <a:pt x="40" y="94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49" y="93"/>
                    <a:pt x="51" y="96"/>
                    <a:pt x="53" y="97"/>
                  </a:cubicBezTo>
                  <a:cubicBezTo>
                    <a:pt x="53" y="98"/>
                    <a:pt x="54" y="98"/>
                    <a:pt x="55" y="98"/>
                  </a:cubicBezTo>
                  <a:cubicBezTo>
                    <a:pt x="59" y="93"/>
                    <a:pt x="59" y="93"/>
                    <a:pt x="59" y="93"/>
                  </a:cubicBezTo>
                  <a:cubicBezTo>
                    <a:pt x="59" y="93"/>
                    <a:pt x="59" y="92"/>
                    <a:pt x="58" y="91"/>
                  </a:cubicBezTo>
                  <a:cubicBezTo>
                    <a:pt x="57" y="90"/>
                    <a:pt x="56" y="89"/>
                    <a:pt x="54" y="88"/>
                  </a:cubicBezTo>
                  <a:cubicBezTo>
                    <a:pt x="65" y="83"/>
                    <a:pt x="65" y="83"/>
                    <a:pt x="65" y="83"/>
                  </a:cubicBezTo>
                  <a:cubicBezTo>
                    <a:pt x="68" y="87"/>
                    <a:pt x="72" y="91"/>
                    <a:pt x="77" y="96"/>
                  </a:cubicBezTo>
                  <a:cubicBezTo>
                    <a:pt x="93" y="112"/>
                    <a:pt x="105" y="105"/>
                    <a:pt x="105" y="105"/>
                  </a:cubicBezTo>
                  <a:cubicBezTo>
                    <a:pt x="105" y="105"/>
                    <a:pt x="112" y="93"/>
                    <a:pt x="96" y="7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38" name="Freeform 313"/>
            <p:cNvSpPr/>
            <p:nvPr userDrawn="1"/>
          </p:nvSpPr>
          <p:spPr bwMode="auto">
            <a:xfrm>
              <a:off x="7287418" y="1790700"/>
              <a:ext cx="30163" cy="26988"/>
            </a:xfrm>
            <a:custGeom>
              <a:avLst/>
              <a:gdLst>
                <a:gd name="T0" fmla="*/ 0 w 11"/>
                <a:gd name="T1" fmla="*/ 7 h 10"/>
                <a:gd name="T2" fmla="*/ 3 w 11"/>
                <a:gd name="T3" fmla="*/ 7 h 10"/>
                <a:gd name="T4" fmla="*/ 7 w 11"/>
                <a:gd name="T5" fmla="*/ 6 h 10"/>
                <a:gd name="T6" fmla="*/ 6 w 11"/>
                <a:gd name="T7" fmla="*/ 7 h 10"/>
                <a:gd name="T8" fmla="*/ 7 w 11"/>
                <a:gd name="T9" fmla="*/ 3 h 10"/>
                <a:gd name="T10" fmla="*/ 7 w 11"/>
                <a:gd name="T11" fmla="*/ 0 h 10"/>
                <a:gd name="T12" fmla="*/ 11 w 11"/>
                <a:gd name="T13" fmla="*/ 1 h 10"/>
                <a:gd name="T14" fmla="*/ 10 w 11"/>
                <a:gd name="T15" fmla="*/ 5 h 10"/>
                <a:gd name="T16" fmla="*/ 9 w 11"/>
                <a:gd name="T17" fmla="*/ 9 h 10"/>
                <a:gd name="T18" fmla="*/ 9 w 11"/>
                <a:gd name="T19" fmla="*/ 9 h 10"/>
                <a:gd name="T20" fmla="*/ 9 w 11"/>
                <a:gd name="T21" fmla="*/ 9 h 10"/>
                <a:gd name="T22" fmla="*/ 5 w 11"/>
                <a:gd name="T23" fmla="*/ 10 h 10"/>
                <a:gd name="T24" fmla="*/ 1 w 11"/>
                <a:gd name="T25" fmla="*/ 10 h 10"/>
                <a:gd name="T26" fmla="*/ 0 w 11"/>
                <a:gd name="T27" fmla="*/ 7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" h="10">
                  <a:moveTo>
                    <a:pt x="0" y="7"/>
                  </a:moveTo>
                  <a:cubicBezTo>
                    <a:pt x="1" y="7"/>
                    <a:pt x="2" y="7"/>
                    <a:pt x="3" y="7"/>
                  </a:cubicBezTo>
                  <a:cubicBezTo>
                    <a:pt x="5" y="7"/>
                    <a:pt x="6" y="7"/>
                    <a:pt x="7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6"/>
                    <a:pt x="7" y="4"/>
                    <a:pt x="7" y="3"/>
                  </a:cubicBezTo>
                  <a:cubicBezTo>
                    <a:pt x="8" y="2"/>
                    <a:pt x="8" y="1"/>
                    <a:pt x="7" y="0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3"/>
                    <a:pt x="10" y="5"/>
                  </a:cubicBezTo>
                  <a:cubicBezTo>
                    <a:pt x="10" y="6"/>
                    <a:pt x="10" y="7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10"/>
                    <a:pt x="6" y="10"/>
                    <a:pt x="5" y="10"/>
                  </a:cubicBezTo>
                  <a:cubicBezTo>
                    <a:pt x="4" y="10"/>
                    <a:pt x="2" y="10"/>
                    <a:pt x="1" y="10"/>
                  </a:cubicBezTo>
                  <a:lnTo>
                    <a:pt x="0" y="7"/>
                  </a:lnTo>
                  <a:close/>
                </a:path>
              </a:pathLst>
            </a:custGeom>
            <a:solidFill>
              <a:srgbClr val="5B86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39" name="Freeform 314"/>
            <p:cNvSpPr/>
            <p:nvPr userDrawn="1"/>
          </p:nvSpPr>
          <p:spPr bwMode="auto">
            <a:xfrm>
              <a:off x="5914231" y="2020888"/>
              <a:ext cx="388938" cy="354013"/>
            </a:xfrm>
            <a:custGeom>
              <a:avLst/>
              <a:gdLst>
                <a:gd name="T0" fmla="*/ 129 w 143"/>
                <a:gd name="T1" fmla="*/ 15 h 130"/>
                <a:gd name="T2" fmla="*/ 72 w 143"/>
                <a:gd name="T3" fmla="*/ 0 h 130"/>
                <a:gd name="T4" fmla="*/ 14 w 143"/>
                <a:gd name="T5" fmla="*/ 15 h 130"/>
                <a:gd name="T6" fmla="*/ 72 w 143"/>
                <a:gd name="T7" fmla="*/ 130 h 130"/>
                <a:gd name="T8" fmla="*/ 129 w 143"/>
                <a:gd name="T9" fmla="*/ 15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3" h="130">
                  <a:moveTo>
                    <a:pt x="129" y="15"/>
                  </a:moveTo>
                  <a:cubicBezTo>
                    <a:pt x="129" y="15"/>
                    <a:pt x="108" y="0"/>
                    <a:pt x="72" y="0"/>
                  </a:cubicBezTo>
                  <a:cubicBezTo>
                    <a:pt x="36" y="0"/>
                    <a:pt x="14" y="15"/>
                    <a:pt x="14" y="15"/>
                  </a:cubicBezTo>
                  <a:cubicBezTo>
                    <a:pt x="14" y="15"/>
                    <a:pt x="0" y="95"/>
                    <a:pt x="72" y="130"/>
                  </a:cubicBezTo>
                  <a:cubicBezTo>
                    <a:pt x="143" y="95"/>
                    <a:pt x="129" y="15"/>
                    <a:pt x="129" y="15"/>
                  </a:cubicBezTo>
                  <a:close/>
                </a:path>
              </a:pathLst>
            </a:custGeom>
            <a:solidFill>
              <a:srgbClr val="6A90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40" name="Freeform 315"/>
            <p:cNvSpPr/>
            <p:nvPr userDrawn="1"/>
          </p:nvSpPr>
          <p:spPr bwMode="auto">
            <a:xfrm>
              <a:off x="5930106" y="2036763"/>
              <a:ext cx="357188" cy="322263"/>
            </a:xfrm>
            <a:custGeom>
              <a:avLst/>
              <a:gdLst>
                <a:gd name="T0" fmla="*/ 118 w 131"/>
                <a:gd name="T1" fmla="*/ 13 h 118"/>
                <a:gd name="T2" fmla="*/ 66 w 131"/>
                <a:gd name="T3" fmla="*/ 0 h 118"/>
                <a:gd name="T4" fmla="*/ 13 w 131"/>
                <a:gd name="T5" fmla="*/ 13 h 118"/>
                <a:gd name="T6" fmla="*/ 66 w 131"/>
                <a:gd name="T7" fmla="*/ 118 h 118"/>
                <a:gd name="T8" fmla="*/ 118 w 131"/>
                <a:gd name="T9" fmla="*/ 13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1" h="118">
                  <a:moveTo>
                    <a:pt x="118" y="13"/>
                  </a:moveTo>
                  <a:cubicBezTo>
                    <a:pt x="118" y="13"/>
                    <a:pt x="99" y="0"/>
                    <a:pt x="66" y="0"/>
                  </a:cubicBezTo>
                  <a:cubicBezTo>
                    <a:pt x="33" y="0"/>
                    <a:pt x="13" y="13"/>
                    <a:pt x="13" y="13"/>
                  </a:cubicBezTo>
                  <a:cubicBezTo>
                    <a:pt x="13" y="13"/>
                    <a:pt x="0" y="87"/>
                    <a:pt x="66" y="118"/>
                  </a:cubicBezTo>
                  <a:cubicBezTo>
                    <a:pt x="131" y="87"/>
                    <a:pt x="118" y="13"/>
                    <a:pt x="118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41" name="Freeform 316"/>
            <p:cNvSpPr/>
            <p:nvPr userDrawn="1"/>
          </p:nvSpPr>
          <p:spPr bwMode="auto">
            <a:xfrm>
              <a:off x="5947568" y="2047875"/>
              <a:ext cx="323850" cy="300038"/>
            </a:xfrm>
            <a:custGeom>
              <a:avLst/>
              <a:gdLst>
                <a:gd name="T0" fmla="*/ 108 w 119"/>
                <a:gd name="T1" fmla="*/ 13 h 110"/>
                <a:gd name="T2" fmla="*/ 60 w 119"/>
                <a:gd name="T3" fmla="*/ 0 h 110"/>
                <a:gd name="T4" fmla="*/ 12 w 119"/>
                <a:gd name="T5" fmla="*/ 13 h 110"/>
                <a:gd name="T6" fmla="*/ 60 w 119"/>
                <a:gd name="T7" fmla="*/ 110 h 110"/>
                <a:gd name="T8" fmla="*/ 108 w 119"/>
                <a:gd name="T9" fmla="*/ 13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9" h="110">
                  <a:moveTo>
                    <a:pt x="108" y="13"/>
                  </a:moveTo>
                  <a:cubicBezTo>
                    <a:pt x="108" y="13"/>
                    <a:pt x="90" y="0"/>
                    <a:pt x="60" y="0"/>
                  </a:cubicBezTo>
                  <a:cubicBezTo>
                    <a:pt x="29" y="0"/>
                    <a:pt x="12" y="13"/>
                    <a:pt x="12" y="13"/>
                  </a:cubicBezTo>
                  <a:cubicBezTo>
                    <a:pt x="12" y="13"/>
                    <a:pt x="0" y="81"/>
                    <a:pt x="60" y="110"/>
                  </a:cubicBezTo>
                  <a:cubicBezTo>
                    <a:pt x="119" y="81"/>
                    <a:pt x="108" y="13"/>
                    <a:pt x="108" y="13"/>
                  </a:cubicBezTo>
                  <a:close/>
                </a:path>
              </a:pathLst>
            </a:custGeom>
            <a:solidFill>
              <a:srgbClr val="5675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42" name="Freeform 317"/>
            <p:cNvSpPr/>
            <p:nvPr userDrawn="1"/>
          </p:nvSpPr>
          <p:spPr bwMode="auto">
            <a:xfrm>
              <a:off x="6039643" y="2132013"/>
              <a:ext cx="149225" cy="101600"/>
            </a:xfrm>
            <a:custGeom>
              <a:avLst/>
              <a:gdLst>
                <a:gd name="T0" fmla="*/ 23 w 55"/>
                <a:gd name="T1" fmla="*/ 37 h 37"/>
                <a:gd name="T2" fmla="*/ 20 w 55"/>
                <a:gd name="T3" fmla="*/ 35 h 37"/>
                <a:gd name="T4" fmla="*/ 2 w 55"/>
                <a:gd name="T5" fmla="*/ 17 h 37"/>
                <a:gd name="T6" fmla="*/ 2 w 55"/>
                <a:gd name="T7" fmla="*/ 11 h 37"/>
                <a:gd name="T8" fmla="*/ 8 w 55"/>
                <a:gd name="T9" fmla="*/ 11 h 37"/>
                <a:gd name="T10" fmla="*/ 23 w 55"/>
                <a:gd name="T11" fmla="*/ 25 h 37"/>
                <a:gd name="T12" fmla="*/ 47 w 55"/>
                <a:gd name="T13" fmla="*/ 2 h 37"/>
                <a:gd name="T14" fmla="*/ 53 w 55"/>
                <a:gd name="T15" fmla="*/ 2 h 37"/>
                <a:gd name="T16" fmla="*/ 53 w 55"/>
                <a:gd name="T17" fmla="*/ 8 h 37"/>
                <a:gd name="T18" fmla="*/ 26 w 55"/>
                <a:gd name="T19" fmla="*/ 35 h 37"/>
                <a:gd name="T20" fmla="*/ 23 w 55"/>
                <a:gd name="T21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5" h="37">
                  <a:moveTo>
                    <a:pt x="23" y="37"/>
                  </a:moveTo>
                  <a:cubicBezTo>
                    <a:pt x="22" y="37"/>
                    <a:pt x="21" y="36"/>
                    <a:pt x="20" y="35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0" y="15"/>
                    <a:pt x="0" y="13"/>
                    <a:pt x="2" y="11"/>
                  </a:cubicBezTo>
                  <a:cubicBezTo>
                    <a:pt x="4" y="9"/>
                    <a:pt x="7" y="9"/>
                    <a:pt x="8" y="11"/>
                  </a:cubicBezTo>
                  <a:cubicBezTo>
                    <a:pt x="23" y="25"/>
                    <a:pt x="23" y="25"/>
                    <a:pt x="23" y="25"/>
                  </a:cubicBezTo>
                  <a:cubicBezTo>
                    <a:pt x="47" y="2"/>
                    <a:pt x="47" y="2"/>
                    <a:pt x="47" y="2"/>
                  </a:cubicBezTo>
                  <a:cubicBezTo>
                    <a:pt x="49" y="0"/>
                    <a:pt x="52" y="0"/>
                    <a:pt x="53" y="2"/>
                  </a:cubicBezTo>
                  <a:cubicBezTo>
                    <a:pt x="55" y="4"/>
                    <a:pt x="55" y="7"/>
                    <a:pt x="53" y="8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6"/>
                    <a:pt x="24" y="37"/>
                    <a:pt x="23" y="3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43" name="Freeform 318"/>
            <p:cNvSpPr/>
            <p:nvPr userDrawn="1"/>
          </p:nvSpPr>
          <p:spPr bwMode="auto">
            <a:xfrm>
              <a:off x="7519193" y="3214688"/>
              <a:ext cx="484188" cy="508000"/>
            </a:xfrm>
            <a:custGeom>
              <a:avLst/>
              <a:gdLst>
                <a:gd name="T0" fmla="*/ 174 w 178"/>
                <a:gd name="T1" fmla="*/ 56 h 187"/>
                <a:gd name="T2" fmla="*/ 125 w 178"/>
                <a:gd name="T3" fmla="*/ 86 h 187"/>
                <a:gd name="T4" fmla="*/ 129 w 178"/>
                <a:gd name="T5" fmla="*/ 0 h 187"/>
                <a:gd name="T6" fmla="*/ 47 w 178"/>
                <a:gd name="T7" fmla="*/ 75 h 187"/>
                <a:gd name="T8" fmla="*/ 26 w 178"/>
                <a:gd name="T9" fmla="*/ 38 h 187"/>
                <a:gd name="T10" fmla="*/ 64 w 178"/>
                <a:gd name="T11" fmla="*/ 161 h 187"/>
                <a:gd name="T12" fmla="*/ 174 w 178"/>
                <a:gd name="T13" fmla="*/ 56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87">
                  <a:moveTo>
                    <a:pt x="174" y="56"/>
                  </a:moveTo>
                  <a:cubicBezTo>
                    <a:pt x="160" y="74"/>
                    <a:pt x="140" y="82"/>
                    <a:pt x="125" y="86"/>
                  </a:cubicBezTo>
                  <a:cubicBezTo>
                    <a:pt x="121" y="62"/>
                    <a:pt x="105" y="38"/>
                    <a:pt x="129" y="0"/>
                  </a:cubicBezTo>
                  <a:cubicBezTo>
                    <a:pt x="85" y="13"/>
                    <a:pt x="62" y="44"/>
                    <a:pt x="47" y="75"/>
                  </a:cubicBezTo>
                  <a:cubicBezTo>
                    <a:pt x="38" y="61"/>
                    <a:pt x="28" y="57"/>
                    <a:pt x="26" y="38"/>
                  </a:cubicBezTo>
                  <a:cubicBezTo>
                    <a:pt x="7" y="73"/>
                    <a:pt x="0" y="139"/>
                    <a:pt x="64" y="161"/>
                  </a:cubicBezTo>
                  <a:cubicBezTo>
                    <a:pt x="141" y="187"/>
                    <a:pt x="178" y="109"/>
                    <a:pt x="174" y="56"/>
                  </a:cubicBezTo>
                  <a:close/>
                </a:path>
              </a:pathLst>
            </a:custGeom>
            <a:solidFill>
              <a:srgbClr val="EB5C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44" name="Freeform 319"/>
            <p:cNvSpPr/>
            <p:nvPr userDrawn="1"/>
          </p:nvSpPr>
          <p:spPr bwMode="auto">
            <a:xfrm>
              <a:off x="7554118" y="3290888"/>
              <a:ext cx="419100" cy="411163"/>
            </a:xfrm>
            <a:custGeom>
              <a:avLst/>
              <a:gdLst>
                <a:gd name="T0" fmla="*/ 152 w 154"/>
                <a:gd name="T1" fmla="*/ 50 h 151"/>
                <a:gd name="T2" fmla="*/ 100 w 154"/>
                <a:gd name="T3" fmla="*/ 72 h 151"/>
                <a:gd name="T4" fmla="*/ 86 w 154"/>
                <a:gd name="T5" fmla="*/ 0 h 151"/>
                <a:gd name="T6" fmla="*/ 40 w 154"/>
                <a:gd name="T7" fmla="*/ 69 h 151"/>
                <a:gd name="T8" fmla="*/ 12 w 154"/>
                <a:gd name="T9" fmla="*/ 39 h 151"/>
                <a:gd name="T10" fmla="*/ 52 w 154"/>
                <a:gd name="T11" fmla="*/ 128 h 151"/>
                <a:gd name="T12" fmla="*/ 152 w 154"/>
                <a:gd name="T13" fmla="*/ 5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4" h="151">
                  <a:moveTo>
                    <a:pt x="152" y="50"/>
                  </a:moveTo>
                  <a:cubicBezTo>
                    <a:pt x="136" y="68"/>
                    <a:pt x="111" y="68"/>
                    <a:pt x="100" y="72"/>
                  </a:cubicBezTo>
                  <a:cubicBezTo>
                    <a:pt x="97" y="54"/>
                    <a:pt x="74" y="30"/>
                    <a:pt x="86" y="0"/>
                  </a:cubicBezTo>
                  <a:cubicBezTo>
                    <a:pt x="57" y="13"/>
                    <a:pt x="51" y="47"/>
                    <a:pt x="40" y="69"/>
                  </a:cubicBezTo>
                  <a:cubicBezTo>
                    <a:pt x="34" y="64"/>
                    <a:pt x="15" y="50"/>
                    <a:pt x="12" y="39"/>
                  </a:cubicBezTo>
                  <a:cubicBezTo>
                    <a:pt x="0" y="61"/>
                    <a:pt x="3" y="111"/>
                    <a:pt x="52" y="128"/>
                  </a:cubicBezTo>
                  <a:cubicBezTo>
                    <a:pt x="121" y="151"/>
                    <a:pt x="154" y="85"/>
                    <a:pt x="152" y="50"/>
                  </a:cubicBezTo>
                  <a:close/>
                </a:path>
              </a:pathLst>
            </a:custGeom>
            <a:solidFill>
              <a:srgbClr val="DC90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45" name="Freeform 320"/>
            <p:cNvSpPr/>
            <p:nvPr userDrawn="1"/>
          </p:nvSpPr>
          <p:spPr bwMode="auto">
            <a:xfrm>
              <a:off x="7576343" y="3375025"/>
              <a:ext cx="344488" cy="300038"/>
            </a:xfrm>
            <a:custGeom>
              <a:avLst/>
              <a:gdLst>
                <a:gd name="T0" fmla="*/ 127 w 127"/>
                <a:gd name="T1" fmla="*/ 44 h 110"/>
                <a:gd name="T2" fmla="*/ 79 w 127"/>
                <a:gd name="T3" fmla="*/ 56 h 110"/>
                <a:gd name="T4" fmla="*/ 62 w 127"/>
                <a:gd name="T5" fmla="*/ 0 h 110"/>
                <a:gd name="T6" fmla="*/ 34 w 127"/>
                <a:gd name="T7" fmla="*/ 50 h 110"/>
                <a:gd name="T8" fmla="*/ 8 w 127"/>
                <a:gd name="T9" fmla="*/ 28 h 110"/>
                <a:gd name="T10" fmla="*/ 47 w 127"/>
                <a:gd name="T11" fmla="*/ 93 h 110"/>
                <a:gd name="T12" fmla="*/ 127 w 127"/>
                <a:gd name="T13" fmla="*/ 44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7" h="110">
                  <a:moveTo>
                    <a:pt x="127" y="44"/>
                  </a:moveTo>
                  <a:cubicBezTo>
                    <a:pt x="120" y="53"/>
                    <a:pt x="86" y="54"/>
                    <a:pt x="79" y="56"/>
                  </a:cubicBezTo>
                  <a:cubicBezTo>
                    <a:pt x="77" y="44"/>
                    <a:pt x="55" y="21"/>
                    <a:pt x="62" y="0"/>
                  </a:cubicBezTo>
                  <a:cubicBezTo>
                    <a:pt x="45" y="14"/>
                    <a:pt x="41" y="34"/>
                    <a:pt x="34" y="50"/>
                  </a:cubicBezTo>
                  <a:cubicBezTo>
                    <a:pt x="29" y="46"/>
                    <a:pt x="12" y="38"/>
                    <a:pt x="8" y="28"/>
                  </a:cubicBezTo>
                  <a:cubicBezTo>
                    <a:pt x="0" y="44"/>
                    <a:pt x="7" y="79"/>
                    <a:pt x="47" y="93"/>
                  </a:cubicBezTo>
                  <a:cubicBezTo>
                    <a:pt x="95" y="110"/>
                    <a:pt x="123" y="71"/>
                    <a:pt x="127" y="44"/>
                  </a:cubicBezTo>
                  <a:close/>
                </a:path>
              </a:pathLst>
            </a:custGeom>
            <a:solidFill>
              <a:srgbClr val="F6D07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46" name="Freeform 321"/>
            <p:cNvSpPr/>
            <p:nvPr userDrawn="1"/>
          </p:nvSpPr>
          <p:spPr bwMode="auto">
            <a:xfrm>
              <a:off x="7843043" y="3249613"/>
              <a:ext cx="115888" cy="179388"/>
            </a:xfrm>
            <a:custGeom>
              <a:avLst/>
              <a:gdLst>
                <a:gd name="T0" fmla="*/ 33 w 43"/>
                <a:gd name="T1" fmla="*/ 0 h 66"/>
                <a:gd name="T2" fmla="*/ 3 w 43"/>
                <a:gd name="T3" fmla="*/ 31 h 66"/>
                <a:gd name="T4" fmla="*/ 9 w 43"/>
                <a:gd name="T5" fmla="*/ 66 h 66"/>
                <a:gd name="T6" fmla="*/ 35 w 43"/>
                <a:gd name="T7" fmla="*/ 54 h 66"/>
                <a:gd name="T8" fmla="*/ 33 w 43"/>
                <a:gd name="T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66">
                  <a:moveTo>
                    <a:pt x="33" y="0"/>
                  </a:moveTo>
                  <a:cubicBezTo>
                    <a:pt x="27" y="17"/>
                    <a:pt x="5" y="30"/>
                    <a:pt x="3" y="31"/>
                  </a:cubicBezTo>
                  <a:cubicBezTo>
                    <a:pt x="0" y="37"/>
                    <a:pt x="11" y="63"/>
                    <a:pt x="9" y="66"/>
                  </a:cubicBezTo>
                  <a:cubicBezTo>
                    <a:pt x="20" y="65"/>
                    <a:pt x="35" y="54"/>
                    <a:pt x="35" y="54"/>
                  </a:cubicBezTo>
                  <a:cubicBezTo>
                    <a:pt x="35" y="54"/>
                    <a:pt x="43" y="25"/>
                    <a:pt x="33" y="0"/>
                  </a:cubicBezTo>
                  <a:close/>
                </a:path>
              </a:pathLst>
            </a:custGeom>
            <a:solidFill>
              <a:srgbClr val="EB5C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47" name="Freeform 322"/>
            <p:cNvSpPr/>
            <p:nvPr userDrawn="1"/>
          </p:nvSpPr>
          <p:spPr bwMode="auto">
            <a:xfrm>
              <a:off x="7858918" y="3279775"/>
              <a:ext cx="95250" cy="139700"/>
            </a:xfrm>
            <a:custGeom>
              <a:avLst/>
              <a:gdLst>
                <a:gd name="T0" fmla="*/ 27 w 35"/>
                <a:gd name="T1" fmla="*/ 0 h 51"/>
                <a:gd name="T2" fmla="*/ 2 w 35"/>
                <a:gd name="T3" fmla="*/ 24 h 51"/>
                <a:gd name="T4" fmla="*/ 7 w 35"/>
                <a:gd name="T5" fmla="*/ 51 h 51"/>
                <a:gd name="T6" fmla="*/ 27 w 35"/>
                <a:gd name="T7" fmla="*/ 41 h 51"/>
                <a:gd name="T8" fmla="*/ 27 w 35"/>
                <a:gd name="T9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51">
                  <a:moveTo>
                    <a:pt x="27" y="0"/>
                  </a:moveTo>
                  <a:cubicBezTo>
                    <a:pt x="23" y="12"/>
                    <a:pt x="4" y="23"/>
                    <a:pt x="2" y="24"/>
                  </a:cubicBezTo>
                  <a:cubicBezTo>
                    <a:pt x="0" y="28"/>
                    <a:pt x="8" y="48"/>
                    <a:pt x="7" y="51"/>
                  </a:cubicBezTo>
                  <a:cubicBezTo>
                    <a:pt x="15" y="50"/>
                    <a:pt x="27" y="41"/>
                    <a:pt x="27" y="41"/>
                  </a:cubicBezTo>
                  <a:cubicBezTo>
                    <a:pt x="27" y="41"/>
                    <a:pt x="35" y="19"/>
                    <a:pt x="27" y="0"/>
                  </a:cubicBezTo>
                  <a:close/>
                </a:path>
              </a:pathLst>
            </a:custGeom>
            <a:solidFill>
              <a:srgbClr val="DC90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48" name="Freeform 323"/>
            <p:cNvSpPr/>
            <p:nvPr userDrawn="1"/>
          </p:nvSpPr>
          <p:spPr bwMode="auto">
            <a:xfrm>
              <a:off x="7873206" y="3324225"/>
              <a:ext cx="65088" cy="85725"/>
            </a:xfrm>
            <a:custGeom>
              <a:avLst/>
              <a:gdLst>
                <a:gd name="T0" fmla="*/ 19 w 24"/>
                <a:gd name="T1" fmla="*/ 0 h 32"/>
                <a:gd name="T2" fmla="*/ 2 w 24"/>
                <a:gd name="T3" fmla="*/ 15 h 32"/>
                <a:gd name="T4" fmla="*/ 5 w 24"/>
                <a:gd name="T5" fmla="*/ 32 h 32"/>
                <a:gd name="T6" fmla="*/ 16 w 24"/>
                <a:gd name="T7" fmla="*/ 27 h 32"/>
                <a:gd name="T8" fmla="*/ 19 w 24"/>
                <a:gd name="T9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32">
                  <a:moveTo>
                    <a:pt x="19" y="0"/>
                  </a:moveTo>
                  <a:cubicBezTo>
                    <a:pt x="16" y="8"/>
                    <a:pt x="3" y="15"/>
                    <a:pt x="2" y="15"/>
                  </a:cubicBezTo>
                  <a:cubicBezTo>
                    <a:pt x="0" y="18"/>
                    <a:pt x="5" y="30"/>
                    <a:pt x="5" y="32"/>
                  </a:cubicBezTo>
                  <a:cubicBezTo>
                    <a:pt x="10" y="32"/>
                    <a:pt x="16" y="27"/>
                    <a:pt x="16" y="27"/>
                  </a:cubicBezTo>
                  <a:cubicBezTo>
                    <a:pt x="16" y="27"/>
                    <a:pt x="24" y="12"/>
                    <a:pt x="19" y="0"/>
                  </a:cubicBezTo>
                  <a:close/>
                </a:path>
              </a:pathLst>
            </a:custGeom>
            <a:solidFill>
              <a:srgbClr val="EBB0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49" name="Freeform 324"/>
            <p:cNvSpPr/>
            <p:nvPr userDrawn="1"/>
          </p:nvSpPr>
          <p:spPr bwMode="auto">
            <a:xfrm>
              <a:off x="7611268" y="3236913"/>
              <a:ext cx="79375" cy="160338"/>
            </a:xfrm>
            <a:custGeom>
              <a:avLst/>
              <a:gdLst>
                <a:gd name="T0" fmla="*/ 29 w 29"/>
                <a:gd name="T1" fmla="*/ 0 h 59"/>
                <a:gd name="T2" fmla="*/ 29 w 29"/>
                <a:gd name="T3" fmla="*/ 34 h 59"/>
                <a:gd name="T4" fmla="*/ 11 w 29"/>
                <a:gd name="T5" fmla="*/ 59 h 59"/>
                <a:gd name="T6" fmla="*/ 0 w 29"/>
                <a:gd name="T7" fmla="*/ 43 h 59"/>
                <a:gd name="T8" fmla="*/ 29 w 29"/>
                <a:gd name="T9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59">
                  <a:moveTo>
                    <a:pt x="29" y="0"/>
                  </a:moveTo>
                  <a:cubicBezTo>
                    <a:pt x="25" y="19"/>
                    <a:pt x="29" y="34"/>
                    <a:pt x="29" y="34"/>
                  </a:cubicBezTo>
                  <a:cubicBezTo>
                    <a:pt x="29" y="34"/>
                    <a:pt x="16" y="48"/>
                    <a:pt x="11" y="59"/>
                  </a:cubicBezTo>
                  <a:cubicBezTo>
                    <a:pt x="9" y="54"/>
                    <a:pt x="1" y="49"/>
                    <a:pt x="0" y="43"/>
                  </a:cubicBezTo>
                  <a:cubicBezTo>
                    <a:pt x="1" y="30"/>
                    <a:pt x="19" y="7"/>
                    <a:pt x="29" y="0"/>
                  </a:cubicBezTo>
                  <a:close/>
                </a:path>
              </a:pathLst>
            </a:custGeom>
            <a:solidFill>
              <a:srgbClr val="EB5C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50" name="Freeform 325"/>
            <p:cNvSpPr/>
            <p:nvPr userDrawn="1"/>
          </p:nvSpPr>
          <p:spPr bwMode="auto">
            <a:xfrm>
              <a:off x="7619206" y="3260725"/>
              <a:ext cx="57150" cy="125413"/>
            </a:xfrm>
            <a:custGeom>
              <a:avLst/>
              <a:gdLst>
                <a:gd name="T0" fmla="*/ 20 w 21"/>
                <a:gd name="T1" fmla="*/ 0 h 46"/>
                <a:gd name="T2" fmla="*/ 21 w 21"/>
                <a:gd name="T3" fmla="*/ 27 h 46"/>
                <a:gd name="T4" fmla="*/ 7 w 21"/>
                <a:gd name="T5" fmla="*/ 46 h 46"/>
                <a:gd name="T6" fmla="*/ 0 w 21"/>
                <a:gd name="T7" fmla="*/ 35 h 46"/>
                <a:gd name="T8" fmla="*/ 20 w 21"/>
                <a:gd name="T9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46">
                  <a:moveTo>
                    <a:pt x="20" y="0"/>
                  </a:moveTo>
                  <a:cubicBezTo>
                    <a:pt x="17" y="14"/>
                    <a:pt x="21" y="27"/>
                    <a:pt x="21" y="27"/>
                  </a:cubicBezTo>
                  <a:cubicBezTo>
                    <a:pt x="21" y="27"/>
                    <a:pt x="11" y="38"/>
                    <a:pt x="7" y="46"/>
                  </a:cubicBezTo>
                  <a:cubicBezTo>
                    <a:pt x="6" y="42"/>
                    <a:pt x="1" y="40"/>
                    <a:pt x="0" y="35"/>
                  </a:cubicBezTo>
                  <a:cubicBezTo>
                    <a:pt x="1" y="25"/>
                    <a:pt x="12" y="5"/>
                    <a:pt x="20" y="0"/>
                  </a:cubicBezTo>
                  <a:close/>
                </a:path>
              </a:pathLst>
            </a:custGeom>
            <a:solidFill>
              <a:srgbClr val="DC90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51" name="Freeform 326"/>
            <p:cNvSpPr/>
            <p:nvPr userDrawn="1"/>
          </p:nvSpPr>
          <p:spPr bwMode="auto">
            <a:xfrm>
              <a:off x="7627143" y="3302000"/>
              <a:ext cx="33338" cy="73025"/>
            </a:xfrm>
            <a:custGeom>
              <a:avLst/>
              <a:gdLst>
                <a:gd name="T0" fmla="*/ 11 w 12"/>
                <a:gd name="T1" fmla="*/ 0 h 27"/>
                <a:gd name="T2" fmla="*/ 12 w 12"/>
                <a:gd name="T3" fmla="*/ 16 h 27"/>
                <a:gd name="T4" fmla="*/ 4 w 12"/>
                <a:gd name="T5" fmla="*/ 27 h 27"/>
                <a:gd name="T6" fmla="*/ 0 w 12"/>
                <a:gd name="T7" fmla="*/ 22 h 27"/>
                <a:gd name="T8" fmla="*/ 11 w 12"/>
                <a:gd name="T9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27">
                  <a:moveTo>
                    <a:pt x="11" y="0"/>
                  </a:moveTo>
                  <a:cubicBezTo>
                    <a:pt x="9" y="8"/>
                    <a:pt x="12" y="16"/>
                    <a:pt x="12" y="16"/>
                  </a:cubicBezTo>
                  <a:cubicBezTo>
                    <a:pt x="12" y="16"/>
                    <a:pt x="6" y="22"/>
                    <a:pt x="4" y="27"/>
                  </a:cubicBezTo>
                  <a:cubicBezTo>
                    <a:pt x="3" y="25"/>
                    <a:pt x="1" y="25"/>
                    <a:pt x="0" y="22"/>
                  </a:cubicBezTo>
                  <a:cubicBezTo>
                    <a:pt x="1" y="16"/>
                    <a:pt x="6" y="3"/>
                    <a:pt x="11" y="0"/>
                  </a:cubicBezTo>
                  <a:close/>
                </a:path>
              </a:pathLst>
            </a:custGeom>
            <a:solidFill>
              <a:srgbClr val="EBB0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</p:grp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t>2019/5/31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502444" y="847873"/>
            <a:ext cx="8137922" cy="3755889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t>2019/5/31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502444" y="2154043"/>
            <a:ext cx="8136728" cy="1519912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502445" y="4095198"/>
            <a:ext cx="8136728" cy="233194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790" smtClean="0">
                <a:solidFill>
                  <a:schemeClr val="tx2"/>
                </a:solidFill>
              </a:defRPr>
            </a:lvl1pPr>
            <a:lvl2pPr>
              <a:defRPr lang="zh-CN" altLang="en-US" sz="1125" smtClean="0"/>
            </a:lvl2pPr>
            <a:lvl3pPr>
              <a:defRPr lang="zh-CN" altLang="en-US" sz="1015" smtClean="0"/>
            </a:lvl3pPr>
            <a:lvl4pPr>
              <a:defRPr lang="zh-CN" altLang="en-US" sz="900" smtClean="0"/>
            </a:lvl4pPr>
            <a:lvl5pPr>
              <a:defRPr lang="zh-CN" altLang="en-US" sz="900"/>
            </a:lvl5pPr>
          </a:lstStyle>
          <a:p>
            <a:pPr marL="171450" marR="0" lvl="0" indent="-17145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502447" y="3872956"/>
            <a:ext cx="8136728" cy="222242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790" b="0">
                <a:solidFill>
                  <a:schemeClr val="tx2"/>
                </a:solidFill>
              </a:defRPr>
            </a:lvl1pPr>
            <a:lvl2pPr marL="257175" indent="0">
              <a:buNone/>
              <a:defRPr/>
            </a:lvl2pPr>
            <a:lvl3pPr marL="514350" indent="0">
              <a:buNone/>
              <a:defRPr/>
            </a:lvl3pPr>
            <a:lvl4pPr marL="771525" indent="0">
              <a:buNone/>
              <a:defRPr/>
            </a:lvl4pPr>
            <a:lvl5pPr marL="10287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grpSp>
        <p:nvGrpSpPr>
          <p:cNvPr id="333" name="组合 332"/>
          <p:cNvGrpSpPr/>
          <p:nvPr userDrawn="1"/>
        </p:nvGrpSpPr>
        <p:grpSpPr>
          <a:xfrm>
            <a:off x="2788643" y="1059115"/>
            <a:ext cx="3566714" cy="1776259"/>
            <a:chOff x="4182268" y="1357312"/>
            <a:chExt cx="3821113" cy="2536826"/>
          </a:xfrm>
        </p:grpSpPr>
        <p:sp>
          <p:nvSpPr>
            <p:cNvPr id="334" name="Freeform 6"/>
            <p:cNvSpPr/>
            <p:nvPr userDrawn="1"/>
          </p:nvSpPr>
          <p:spPr bwMode="auto">
            <a:xfrm>
              <a:off x="6661943" y="3721101"/>
              <a:ext cx="122238" cy="42863"/>
            </a:xfrm>
            <a:custGeom>
              <a:avLst/>
              <a:gdLst>
                <a:gd name="T0" fmla="*/ 16 w 45"/>
                <a:gd name="T1" fmla="*/ 0 h 16"/>
                <a:gd name="T2" fmla="*/ 44 w 45"/>
                <a:gd name="T3" fmla="*/ 11 h 16"/>
                <a:gd name="T4" fmla="*/ 44 w 45"/>
                <a:gd name="T5" fmla="*/ 16 h 16"/>
                <a:gd name="T6" fmla="*/ 0 w 45"/>
                <a:gd name="T7" fmla="*/ 16 h 16"/>
                <a:gd name="T8" fmla="*/ 0 w 45"/>
                <a:gd name="T9" fmla="*/ 0 h 16"/>
                <a:gd name="T10" fmla="*/ 16 w 45"/>
                <a:gd name="T11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5" h="16">
                  <a:moveTo>
                    <a:pt x="16" y="0"/>
                  </a:moveTo>
                  <a:cubicBezTo>
                    <a:pt x="16" y="0"/>
                    <a:pt x="43" y="10"/>
                    <a:pt x="44" y="11"/>
                  </a:cubicBezTo>
                  <a:cubicBezTo>
                    <a:pt x="45" y="12"/>
                    <a:pt x="44" y="16"/>
                    <a:pt x="44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6" y="0"/>
                  </a:lnTo>
                  <a:close/>
                </a:path>
              </a:pathLst>
            </a:custGeom>
            <a:solidFill>
              <a:srgbClr val="E6E6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35" name="Freeform 7"/>
            <p:cNvSpPr/>
            <p:nvPr userDrawn="1"/>
          </p:nvSpPr>
          <p:spPr bwMode="auto">
            <a:xfrm>
              <a:off x="6542881" y="3721101"/>
              <a:ext cx="119063" cy="42863"/>
            </a:xfrm>
            <a:custGeom>
              <a:avLst/>
              <a:gdLst>
                <a:gd name="T0" fmla="*/ 29 w 44"/>
                <a:gd name="T1" fmla="*/ 0 h 16"/>
                <a:gd name="T2" fmla="*/ 1 w 44"/>
                <a:gd name="T3" fmla="*/ 11 h 16"/>
                <a:gd name="T4" fmla="*/ 1 w 44"/>
                <a:gd name="T5" fmla="*/ 16 h 16"/>
                <a:gd name="T6" fmla="*/ 44 w 44"/>
                <a:gd name="T7" fmla="*/ 16 h 16"/>
                <a:gd name="T8" fmla="*/ 44 w 44"/>
                <a:gd name="T9" fmla="*/ 0 h 16"/>
                <a:gd name="T10" fmla="*/ 29 w 44"/>
                <a:gd name="T11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" h="16">
                  <a:moveTo>
                    <a:pt x="29" y="0"/>
                  </a:moveTo>
                  <a:cubicBezTo>
                    <a:pt x="29" y="0"/>
                    <a:pt x="2" y="10"/>
                    <a:pt x="1" y="11"/>
                  </a:cubicBezTo>
                  <a:cubicBezTo>
                    <a:pt x="0" y="12"/>
                    <a:pt x="1" y="16"/>
                    <a:pt x="1" y="16"/>
                  </a:cubicBezTo>
                  <a:cubicBezTo>
                    <a:pt x="44" y="16"/>
                    <a:pt x="44" y="16"/>
                    <a:pt x="44" y="16"/>
                  </a:cubicBezTo>
                  <a:cubicBezTo>
                    <a:pt x="44" y="0"/>
                    <a:pt x="44" y="0"/>
                    <a:pt x="44" y="0"/>
                  </a:cubicBezTo>
                  <a:lnTo>
                    <a:pt x="29" y="0"/>
                  </a:lnTo>
                  <a:close/>
                </a:path>
              </a:pathLst>
            </a:custGeom>
            <a:solidFill>
              <a:srgbClr val="E6E6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36" name="Freeform 8"/>
            <p:cNvSpPr/>
            <p:nvPr userDrawn="1"/>
          </p:nvSpPr>
          <p:spPr bwMode="auto">
            <a:xfrm>
              <a:off x="6566693" y="3078163"/>
              <a:ext cx="196850" cy="642938"/>
            </a:xfrm>
            <a:custGeom>
              <a:avLst/>
              <a:gdLst>
                <a:gd name="T0" fmla="*/ 7 w 124"/>
                <a:gd name="T1" fmla="*/ 84 h 405"/>
                <a:gd name="T2" fmla="*/ 35 w 124"/>
                <a:gd name="T3" fmla="*/ 405 h 405"/>
                <a:gd name="T4" fmla="*/ 60 w 124"/>
                <a:gd name="T5" fmla="*/ 405 h 405"/>
                <a:gd name="T6" fmla="*/ 88 w 124"/>
                <a:gd name="T7" fmla="*/ 405 h 405"/>
                <a:gd name="T8" fmla="*/ 117 w 124"/>
                <a:gd name="T9" fmla="*/ 86 h 405"/>
                <a:gd name="T10" fmla="*/ 124 w 124"/>
                <a:gd name="T11" fmla="*/ 0 h 405"/>
                <a:gd name="T12" fmla="*/ 0 w 124"/>
                <a:gd name="T13" fmla="*/ 0 h 405"/>
                <a:gd name="T14" fmla="*/ 7 w 124"/>
                <a:gd name="T15" fmla="*/ 84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4" h="405">
                  <a:moveTo>
                    <a:pt x="7" y="84"/>
                  </a:moveTo>
                  <a:lnTo>
                    <a:pt x="35" y="405"/>
                  </a:lnTo>
                  <a:lnTo>
                    <a:pt x="60" y="405"/>
                  </a:lnTo>
                  <a:lnTo>
                    <a:pt x="88" y="405"/>
                  </a:lnTo>
                  <a:lnTo>
                    <a:pt x="117" y="86"/>
                  </a:lnTo>
                  <a:lnTo>
                    <a:pt x="124" y="0"/>
                  </a:lnTo>
                  <a:lnTo>
                    <a:pt x="0" y="0"/>
                  </a:lnTo>
                  <a:lnTo>
                    <a:pt x="7" y="84"/>
                  </a:lnTo>
                  <a:close/>
                </a:path>
              </a:pathLst>
            </a:custGeom>
            <a:solidFill>
              <a:srgbClr val="D99C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37" name="Freeform 9"/>
            <p:cNvSpPr/>
            <p:nvPr userDrawn="1"/>
          </p:nvSpPr>
          <p:spPr bwMode="auto">
            <a:xfrm>
              <a:off x="6509543" y="3078163"/>
              <a:ext cx="320675" cy="414338"/>
            </a:xfrm>
            <a:custGeom>
              <a:avLst/>
              <a:gdLst>
                <a:gd name="T0" fmla="*/ 12 w 202"/>
                <a:gd name="T1" fmla="*/ 74 h 261"/>
                <a:gd name="T2" fmla="*/ 0 w 202"/>
                <a:gd name="T3" fmla="*/ 261 h 261"/>
                <a:gd name="T4" fmla="*/ 202 w 202"/>
                <a:gd name="T5" fmla="*/ 261 h 261"/>
                <a:gd name="T6" fmla="*/ 185 w 202"/>
                <a:gd name="T7" fmla="*/ 72 h 261"/>
                <a:gd name="T8" fmla="*/ 160 w 202"/>
                <a:gd name="T9" fmla="*/ 0 h 261"/>
                <a:gd name="T10" fmla="*/ 36 w 202"/>
                <a:gd name="T11" fmla="*/ 0 h 261"/>
                <a:gd name="T12" fmla="*/ 12 w 202"/>
                <a:gd name="T13" fmla="*/ 74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2" h="261">
                  <a:moveTo>
                    <a:pt x="12" y="74"/>
                  </a:moveTo>
                  <a:lnTo>
                    <a:pt x="0" y="261"/>
                  </a:lnTo>
                  <a:lnTo>
                    <a:pt x="202" y="261"/>
                  </a:lnTo>
                  <a:lnTo>
                    <a:pt x="185" y="72"/>
                  </a:lnTo>
                  <a:lnTo>
                    <a:pt x="160" y="0"/>
                  </a:lnTo>
                  <a:lnTo>
                    <a:pt x="36" y="0"/>
                  </a:lnTo>
                  <a:lnTo>
                    <a:pt x="12" y="74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38" name="Rectangle 10"/>
            <p:cNvSpPr>
              <a:spLocks noChangeArrowheads="1"/>
            </p:cNvSpPr>
            <p:nvPr userDrawn="1"/>
          </p:nvSpPr>
          <p:spPr bwMode="auto">
            <a:xfrm>
              <a:off x="6634956" y="2689226"/>
              <a:ext cx="57150" cy="82550"/>
            </a:xfrm>
            <a:prstGeom prst="rect">
              <a:avLst/>
            </a:prstGeom>
            <a:solidFill>
              <a:srgbClr val="BD89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39" name="Freeform 11"/>
            <p:cNvSpPr/>
            <p:nvPr userDrawn="1"/>
          </p:nvSpPr>
          <p:spPr bwMode="auto">
            <a:xfrm>
              <a:off x="6474618" y="2935288"/>
              <a:ext cx="79375" cy="293688"/>
            </a:xfrm>
            <a:custGeom>
              <a:avLst/>
              <a:gdLst>
                <a:gd name="T0" fmla="*/ 18 w 29"/>
                <a:gd name="T1" fmla="*/ 93 h 108"/>
                <a:gd name="T2" fmla="*/ 20 w 29"/>
                <a:gd name="T3" fmla="*/ 90 h 108"/>
                <a:gd name="T4" fmla="*/ 16 w 29"/>
                <a:gd name="T5" fmla="*/ 83 h 108"/>
                <a:gd name="T6" fmla="*/ 20 w 29"/>
                <a:gd name="T7" fmla="*/ 24 h 108"/>
                <a:gd name="T8" fmla="*/ 29 w 29"/>
                <a:gd name="T9" fmla="*/ 0 h 108"/>
                <a:gd name="T10" fmla="*/ 8 w 29"/>
                <a:gd name="T11" fmla="*/ 1 h 108"/>
                <a:gd name="T12" fmla="*/ 5 w 29"/>
                <a:gd name="T13" fmla="*/ 25 h 108"/>
                <a:gd name="T14" fmla="*/ 5 w 29"/>
                <a:gd name="T15" fmla="*/ 83 h 108"/>
                <a:gd name="T16" fmla="*/ 1 w 29"/>
                <a:gd name="T17" fmla="*/ 98 h 108"/>
                <a:gd name="T18" fmla="*/ 11 w 29"/>
                <a:gd name="T19" fmla="*/ 108 h 108"/>
                <a:gd name="T20" fmla="*/ 21 w 29"/>
                <a:gd name="T21" fmla="*/ 99 h 108"/>
                <a:gd name="T22" fmla="*/ 18 w 29"/>
                <a:gd name="T23" fmla="*/ 9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9" h="108">
                  <a:moveTo>
                    <a:pt x="18" y="93"/>
                  </a:moveTo>
                  <a:cubicBezTo>
                    <a:pt x="18" y="93"/>
                    <a:pt x="19" y="92"/>
                    <a:pt x="20" y="90"/>
                  </a:cubicBezTo>
                  <a:cubicBezTo>
                    <a:pt x="20" y="87"/>
                    <a:pt x="16" y="83"/>
                    <a:pt x="16" y="83"/>
                  </a:cubicBezTo>
                  <a:cubicBezTo>
                    <a:pt x="20" y="24"/>
                    <a:pt x="20" y="24"/>
                    <a:pt x="20" y="24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5" y="25"/>
                    <a:pt x="5" y="25"/>
                    <a:pt x="5" y="25"/>
                  </a:cubicBezTo>
                  <a:cubicBezTo>
                    <a:pt x="5" y="83"/>
                    <a:pt x="5" y="83"/>
                    <a:pt x="5" y="83"/>
                  </a:cubicBezTo>
                  <a:cubicBezTo>
                    <a:pt x="4" y="89"/>
                    <a:pt x="0" y="95"/>
                    <a:pt x="1" y="98"/>
                  </a:cubicBezTo>
                  <a:cubicBezTo>
                    <a:pt x="3" y="101"/>
                    <a:pt x="8" y="108"/>
                    <a:pt x="11" y="108"/>
                  </a:cubicBezTo>
                  <a:cubicBezTo>
                    <a:pt x="15" y="106"/>
                    <a:pt x="20" y="104"/>
                    <a:pt x="21" y="99"/>
                  </a:cubicBezTo>
                  <a:cubicBezTo>
                    <a:pt x="21" y="96"/>
                    <a:pt x="18" y="93"/>
                    <a:pt x="18" y="93"/>
                  </a:cubicBezTo>
                  <a:close/>
                </a:path>
              </a:pathLst>
            </a:custGeom>
            <a:solidFill>
              <a:srgbClr val="E8A7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40" name="Freeform 12"/>
            <p:cNvSpPr/>
            <p:nvPr userDrawn="1"/>
          </p:nvSpPr>
          <p:spPr bwMode="auto">
            <a:xfrm>
              <a:off x="6496843" y="2935288"/>
              <a:ext cx="57150" cy="26988"/>
            </a:xfrm>
            <a:custGeom>
              <a:avLst/>
              <a:gdLst>
                <a:gd name="T0" fmla="*/ 29 w 36"/>
                <a:gd name="T1" fmla="*/ 17 h 17"/>
                <a:gd name="T2" fmla="*/ 36 w 36"/>
                <a:gd name="T3" fmla="*/ 0 h 17"/>
                <a:gd name="T4" fmla="*/ 0 w 36"/>
                <a:gd name="T5" fmla="*/ 1 h 17"/>
                <a:gd name="T6" fmla="*/ 0 w 36"/>
                <a:gd name="T7" fmla="*/ 7 h 17"/>
                <a:gd name="T8" fmla="*/ 29 w 36"/>
                <a:gd name="T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17">
                  <a:moveTo>
                    <a:pt x="29" y="17"/>
                  </a:moveTo>
                  <a:lnTo>
                    <a:pt x="36" y="0"/>
                  </a:lnTo>
                  <a:lnTo>
                    <a:pt x="0" y="1"/>
                  </a:lnTo>
                  <a:lnTo>
                    <a:pt x="0" y="7"/>
                  </a:lnTo>
                  <a:lnTo>
                    <a:pt x="29" y="17"/>
                  </a:lnTo>
                  <a:close/>
                </a:path>
              </a:pathLst>
            </a:custGeom>
            <a:solidFill>
              <a:srgbClr val="BD89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41" name="Freeform 13"/>
            <p:cNvSpPr/>
            <p:nvPr userDrawn="1"/>
          </p:nvSpPr>
          <p:spPr bwMode="auto">
            <a:xfrm>
              <a:off x="6493668" y="2757488"/>
              <a:ext cx="90488" cy="196850"/>
            </a:xfrm>
            <a:custGeom>
              <a:avLst/>
              <a:gdLst>
                <a:gd name="T0" fmla="*/ 23 w 33"/>
                <a:gd name="T1" fmla="*/ 0 h 72"/>
                <a:gd name="T2" fmla="*/ 0 w 33"/>
                <a:gd name="T3" fmla="*/ 67 h 72"/>
                <a:gd name="T4" fmla="*/ 21 w 33"/>
                <a:gd name="T5" fmla="*/ 72 h 72"/>
                <a:gd name="T6" fmla="*/ 33 w 33"/>
                <a:gd name="T7" fmla="*/ 34 h 72"/>
                <a:gd name="T8" fmla="*/ 23 w 33"/>
                <a:gd name="T9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72">
                  <a:moveTo>
                    <a:pt x="23" y="0"/>
                  </a:moveTo>
                  <a:cubicBezTo>
                    <a:pt x="14" y="0"/>
                    <a:pt x="0" y="67"/>
                    <a:pt x="0" y="67"/>
                  </a:cubicBezTo>
                  <a:cubicBezTo>
                    <a:pt x="21" y="72"/>
                    <a:pt x="21" y="72"/>
                    <a:pt x="21" y="72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4"/>
                    <a:pt x="30" y="0"/>
                    <a:pt x="23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42" name="Freeform 14"/>
            <p:cNvSpPr/>
            <p:nvPr userDrawn="1"/>
          </p:nvSpPr>
          <p:spPr bwMode="auto">
            <a:xfrm>
              <a:off x="6779418" y="2935288"/>
              <a:ext cx="73025" cy="293688"/>
            </a:xfrm>
            <a:custGeom>
              <a:avLst/>
              <a:gdLst>
                <a:gd name="T0" fmla="*/ 9 w 27"/>
                <a:gd name="T1" fmla="*/ 93 h 108"/>
                <a:gd name="T2" fmla="*/ 7 w 27"/>
                <a:gd name="T3" fmla="*/ 90 h 108"/>
                <a:gd name="T4" fmla="*/ 11 w 27"/>
                <a:gd name="T5" fmla="*/ 83 h 108"/>
                <a:gd name="T6" fmla="*/ 12 w 27"/>
                <a:gd name="T7" fmla="*/ 83 h 108"/>
                <a:gd name="T8" fmla="*/ 6 w 27"/>
                <a:gd name="T9" fmla="*/ 22 h 108"/>
                <a:gd name="T10" fmla="*/ 0 w 27"/>
                <a:gd name="T11" fmla="*/ 3 h 108"/>
                <a:gd name="T12" fmla="*/ 18 w 27"/>
                <a:gd name="T13" fmla="*/ 0 h 108"/>
                <a:gd name="T14" fmla="*/ 22 w 27"/>
                <a:gd name="T15" fmla="*/ 21 h 108"/>
                <a:gd name="T16" fmla="*/ 22 w 27"/>
                <a:gd name="T17" fmla="*/ 83 h 108"/>
                <a:gd name="T18" fmla="*/ 26 w 27"/>
                <a:gd name="T19" fmla="*/ 98 h 108"/>
                <a:gd name="T20" fmla="*/ 16 w 27"/>
                <a:gd name="T21" fmla="*/ 108 h 108"/>
                <a:gd name="T22" fmla="*/ 5 w 27"/>
                <a:gd name="T23" fmla="*/ 99 h 108"/>
                <a:gd name="T24" fmla="*/ 9 w 27"/>
                <a:gd name="T25" fmla="*/ 9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" h="108">
                  <a:moveTo>
                    <a:pt x="9" y="93"/>
                  </a:moveTo>
                  <a:cubicBezTo>
                    <a:pt x="9" y="93"/>
                    <a:pt x="7" y="92"/>
                    <a:pt x="7" y="90"/>
                  </a:cubicBezTo>
                  <a:cubicBezTo>
                    <a:pt x="6" y="87"/>
                    <a:pt x="11" y="83"/>
                    <a:pt x="11" y="83"/>
                  </a:cubicBezTo>
                  <a:cubicBezTo>
                    <a:pt x="12" y="83"/>
                    <a:pt x="12" y="83"/>
                    <a:pt x="12" y="83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2" y="83"/>
                    <a:pt x="22" y="83"/>
                    <a:pt x="22" y="83"/>
                  </a:cubicBezTo>
                  <a:cubicBezTo>
                    <a:pt x="22" y="89"/>
                    <a:pt x="27" y="95"/>
                    <a:pt x="26" y="98"/>
                  </a:cubicBezTo>
                  <a:cubicBezTo>
                    <a:pt x="23" y="101"/>
                    <a:pt x="19" y="108"/>
                    <a:pt x="16" y="108"/>
                  </a:cubicBezTo>
                  <a:cubicBezTo>
                    <a:pt x="12" y="106"/>
                    <a:pt x="7" y="104"/>
                    <a:pt x="5" y="99"/>
                  </a:cubicBezTo>
                  <a:cubicBezTo>
                    <a:pt x="6" y="96"/>
                    <a:pt x="9" y="93"/>
                    <a:pt x="9" y="93"/>
                  </a:cubicBezTo>
                  <a:close/>
                </a:path>
              </a:pathLst>
            </a:custGeom>
            <a:solidFill>
              <a:srgbClr val="E8A7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43" name="Freeform 15"/>
            <p:cNvSpPr/>
            <p:nvPr userDrawn="1"/>
          </p:nvSpPr>
          <p:spPr bwMode="auto">
            <a:xfrm>
              <a:off x="6779418" y="2935288"/>
              <a:ext cx="50800" cy="19050"/>
            </a:xfrm>
            <a:custGeom>
              <a:avLst/>
              <a:gdLst>
                <a:gd name="T0" fmla="*/ 2 w 32"/>
                <a:gd name="T1" fmla="*/ 12 h 12"/>
                <a:gd name="T2" fmla="*/ 0 w 32"/>
                <a:gd name="T3" fmla="*/ 5 h 12"/>
                <a:gd name="T4" fmla="*/ 31 w 32"/>
                <a:gd name="T5" fmla="*/ 0 h 12"/>
                <a:gd name="T6" fmla="*/ 32 w 32"/>
                <a:gd name="T7" fmla="*/ 7 h 12"/>
                <a:gd name="T8" fmla="*/ 2 w 32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2">
                  <a:moveTo>
                    <a:pt x="2" y="12"/>
                  </a:moveTo>
                  <a:lnTo>
                    <a:pt x="0" y="5"/>
                  </a:lnTo>
                  <a:lnTo>
                    <a:pt x="31" y="0"/>
                  </a:lnTo>
                  <a:lnTo>
                    <a:pt x="32" y="7"/>
                  </a:lnTo>
                  <a:lnTo>
                    <a:pt x="2" y="12"/>
                  </a:lnTo>
                  <a:close/>
                </a:path>
              </a:pathLst>
            </a:custGeom>
            <a:solidFill>
              <a:srgbClr val="BD89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44" name="Freeform 16"/>
            <p:cNvSpPr/>
            <p:nvPr userDrawn="1"/>
          </p:nvSpPr>
          <p:spPr bwMode="auto">
            <a:xfrm>
              <a:off x="6744493" y="2757488"/>
              <a:ext cx="85725" cy="188913"/>
            </a:xfrm>
            <a:custGeom>
              <a:avLst/>
              <a:gdLst>
                <a:gd name="T0" fmla="*/ 9 w 32"/>
                <a:gd name="T1" fmla="*/ 0 h 69"/>
                <a:gd name="T2" fmla="*/ 32 w 32"/>
                <a:gd name="T3" fmla="*/ 65 h 69"/>
                <a:gd name="T4" fmla="*/ 11 w 32"/>
                <a:gd name="T5" fmla="*/ 69 h 69"/>
                <a:gd name="T6" fmla="*/ 0 w 32"/>
                <a:gd name="T7" fmla="*/ 34 h 69"/>
                <a:gd name="T8" fmla="*/ 9 w 32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69">
                  <a:moveTo>
                    <a:pt x="9" y="0"/>
                  </a:moveTo>
                  <a:cubicBezTo>
                    <a:pt x="19" y="0"/>
                    <a:pt x="32" y="65"/>
                    <a:pt x="32" y="65"/>
                  </a:cubicBezTo>
                  <a:cubicBezTo>
                    <a:pt x="11" y="69"/>
                    <a:pt x="11" y="69"/>
                    <a:pt x="11" y="69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34"/>
                    <a:pt x="3" y="0"/>
                    <a:pt x="9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45" name="Freeform 17"/>
            <p:cNvSpPr/>
            <p:nvPr userDrawn="1"/>
          </p:nvSpPr>
          <p:spPr bwMode="auto">
            <a:xfrm>
              <a:off x="6580981" y="2616201"/>
              <a:ext cx="31750" cy="44450"/>
            </a:xfrm>
            <a:custGeom>
              <a:avLst/>
              <a:gdLst>
                <a:gd name="T0" fmla="*/ 8 w 12"/>
                <a:gd name="T1" fmla="*/ 15 h 16"/>
                <a:gd name="T2" fmla="*/ 1 w 12"/>
                <a:gd name="T3" fmla="*/ 9 h 16"/>
                <a:gd name="T4" fmla="*/ 5 w 12"/>
                <a:gd name="T5" fmla="*/ 1 h 16"/>
                <a:gd name="T6" fmla="*/ 8 w 12"/>
                <a:gd name="T7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6">
                  <a:moveTo>
                    <a:pt x="8" y="15"/>
                  </a:moveTo>
                  <a:cubicBezTo>
                    <a:pt x="5" y="16"/>
                    <a:pt x="1" y="13"/>
                    <a:pt x="1" y="9"/>
                  </a:cubicBezTo>
                  <a:cubicBezTo>
                    <a:pt x="0" y="6"/>
                    <a:pt x="2" y="2"/>
                    <a:pt x="5" y="1"/>
                  </a:cubicBezTo>
                  <a:cubicBezTo>
                    <a:pt x="9" y="0"/>
                    <a:pt x="12" y="14"/>
                    <a:pt x="8" y="15"/>
                  </a:cubicBezTo>
                  <a:close/>
                </a:path>
              </a:pathLst>
            </a:custGeom>
            <a:solidFill>
              <a:srgbClr val="E8A7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46" name="Freeform 18"/>
            <p:cNvSpPr/>
            <p:nvPr userDrawn="1"/>
          </p:nvSpPr>
          <p:spPr bwMode="auto">
            <a:xfrm>
              <a:off x="6714331" y="2616201"/>
              <a:ext cx="31750" cy="44450"/>
            </a:xfrm>
            <a:custGeom>
              <a:avLst/>
              <a:gdLst>
                <a:gd name="T0" fmla="*/ 4 w 12"/>
                <a:gd name="T1" fmla="*/ 15 h 16"/>
                <a:gd name="T2" fmla="*/ 11 w 12"/>
                <a:gd name="T3" fmla="*/ 9 h 16"/>
                <a:gd name="T4" fmla="*/ 6 w 12"/>
                <a:gd name="T5" fmla="*/ 1 h 16"/>
                <a:gd name="T6" fmla="*/ 4 w 12"/>
                <a:gd name="T7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6">
                  <a:moveTo>
                    <a:pt x="4" y="15"/>
                  </a:moveTo>
                  <a:cubicBezTo>
                    <a:pt x="7" y="16"/>
                    <a:pt x="10" y="13"/>
                    <a:pt x="11" y="9"/>
                  </a:cubicBezTo>
                  <a:cubicBezTo>
                    <a:pt x="12" y="6"/>
                    <a:pt x="10" y="2"/>
                    <a:pt x="6" y="1"/>
                  </a:cubicBezTo>
                  <a:cubicBezTo>
                    <a:pt x="3" y="0"/>
                    <a:pt x="0" y="14"/>
                    <a:pt x="4" y="15"/>
                  </a:cubicBezTo>
                  <a:close/>
                </a:path>
              </a:pathLst>
            </a:custGeom>
            <a:solidFill>
              <a:srgbClr val="E8A7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47" name="Freeform 19"/>
            <p:cNvSpPr/>
            <p:nvPr userDrawn="1"/>
          </p:nvSpPr>
          <p:spPr bwMode="auto">
            <a:xfrm>
              <a:off x="6574631" y="2551113"/>
              <a:ext cx="182563" cy="176213"/>
            </a:xfrm>
            <a:custGeom>
              <a:avLst/>
              <a:gdLst>
                <a:gd name="T0" fmla="*/ 33 w 67"/>
                <a:gd name="T1" fmla="*/ 65 h 65"/>
                <a:gd name="T2" fmla="*/ 57 w 67"/>
                <a:gd name="T3" fmla="*/ 16 h 65"/>
                <a:gd name="T4" fmla="*/ 33 w 67"/>
                <a:gd name="T5" fmla="*/ 0 h 65"/>
                <a:gd name="T6" fmla="*/ 9 w 67"/>
                <a:gd name="T7" fmla="*/ 16 h 65"/>
                <a:gd name="T8" fmla="*/ 33 w 67"/>
                <a:gd name="T9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" h="65">
                  <a:moveTo>
                    <a:pt x="33" y="65"/>
                  </a:moveTo>
                  <a:cubicBezTo>
                    <a:pt x="67" y="51"/>
                    <a:pt x="57" y="16"/>
                    <a:pt x="57" y="16"/>
                  </a:cubicBezTo>
                  <a:cubicBezTo>
                    <a:pt x="57" y="16"/>
                    <a:pt x="55" y="0"/>
                    <a:pt x="33" y="0"/>
                  </a:cubicBezTo>
                  <a:cubicBezTo>
                    <a:pt x="14" y="0"/>
                    <a:pt x="9" y="16"/>
                    <a:pt x="9" y="16"/>
                  </a:cubicBezTo>
                  <a:cubicBezTo>
                    <a:pt x="9" y="16"/>
                    <a:pt x="0" y="52"/>
                    <a:pt x="33" y="65"/>
                  </a:cubicBezTo>
                  <a:close/>
                </a:path>
              </a:pathLst>
            </a:custGeom>
            <a:solidFill>
              <a:srgbClr val="E8A7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48" name="Freeform 20"/>
            <p:cNvSpPr/>
            <p:nvPr userDrawn="1"/>
          </p:nvSpPr>
          <p:spPr bwMode="auto">
            <a:xfrm>
              <a:off x="6573043" y="2528888"/>
              <a:ext cx="184150" cy="106363"/>
            </a:xfrm>
            <a:custGeom>
              <a:avLst/>
              <a:gdLst>
                <a:gd name="T0" fmla="*/ 7 w 68"/>
                <a:gd name="T1" fmla="*/ 34 h 39"/>
                <a:gd name="T2" fmla="*/ 12 w 68"/>
                <a:gd name="T3" fmla="*/ 37 h 39"/>
                <a:gd name="T4" fmla="*/ 13 w 68"/>
                <a:gd name="T5" fmla="*/ 21 h 39"/>
                <a:gd name="T6" fmla="*/ 51 w 68"/>
                <a:gd name="T7" fmla="*/ 33 h 39"/>
                <a:gd name="T8" fmla="*/ 54 w 68"/>
                <a:gd name="T9" fmla="*/ 20 h 39"/>
                <a:gd name="T10" fmla="*/ 56 w 68"/>
                <a:gd name="T11" fmla="*/ 38 h 39"/>
                <a:gd name="T12" fmla="*/ 61 w 68"/>
                <a:gd name="T13" fmla="*/ 34 h 39"/>
                <a:gd name="T14" fmla="*/ 34 w 68"/>
                <a:gd name="T15" fmla="*/ 0 h 39"/>
                <a:gd name="T16" fmla="*/ 7 w 68"/>
                <a:gd name="T17" fmla="*/ 3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" h="39">
                  <a:moveTo>
                    <a:pt x="7" y="34"/>
                  </a:moveTo>
                  <a:cubicBezTo>
                    <a:pt x="9" y="33"/>
                    <a:pt x="12" y="37"/>
                    <a:pt x="12" y="37"/>
                  </a:cubicBezTo>
                  <a:cubicBezTo>
                    <a:pt x="13" y="21"/>
                    <a:pt x="13" y="21"/>
                    <a:pt x="13" y="21"/>
                  </a:cubicBezTo>
                  <a:cubicBezTo>
                    <a:pt x="13" y="21"/>
                    <a:pt x="25" y="37"/>
                    <a:pt x="51" y="33"/>
                  </a:cubicBezTo>
                  <a:cubicBezTo>
                    <a:pt x="46" y="22"/>
                    <a:pt x="54" y="20"/>
                    <a:pt x="54" y="20"/>
                  </a:cubicBezTo>
                  <a:cubicBezTo>
                    <a:pt x="54" y="20"/>
                    <a:pt x="56" y="39"/>
                    <a:pt x="56" y="38"/>
                  </a:cubicBezTo>
                  <a:cubicBezTo>
                    <a:pt x="57" y="34"/>
                    <a:pt x="61" y="34"/>
                    <a:pt x="61" y="34"/>
                  </a:cubicBezTo>
                  <a:cubicBezTo>
                    <a:pt x="61" y="34"/>
                    <a:pt x="68" y="0"/>
                    <a:pt x="34" y="0"/>
                  </a:cubicBezTo>
                  <a:cubicBezTo>
                    <a:pt x="0" y="0"/>
                    <a:pt x="7" y="33"/>
                    <a:pt x="7" y="3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49" name="Freeform 21"/>
            <p:cNvSpPr/>
            <p:nvPr userDrawn="1"/>
          </p:nvSpPr>
          <p:spPr bwMode="auto">
            <a:xfrm>
              <a:off x="6646068" y="2684463"/>
              <a:ext cx="34925" cy="15875"/>
            </a:xfrm>
            <a:custGeom>
              <a:avLst/>
              <a:gdLst>
                <a:gd name="T0" fmla="*/ 6 w 13"/>
                <a:gd name="T1" fmla="*/ 6 h 6"/>
                <a:gd name="T2" fmla="*/ 13 w 13"/>
                <a:gd name="T3" fmla="*/ 3 h 6"/>
                <a:gd name="T4" fmla="*/ 8 w 13"/>
                <a:gd name="T5" fmla="*/ 0 h 6"/>
                <a:gd name="T6" fmla="*/ 6 w 13"/>
                <a:gd name="T7" fmla="*/ 1 h 6"/>
                <a:gd name="T8" fmla="*/ 4 w 13"/>
                <a:gd name="T9" fmla="*/ 0 h 6"/>
                <a:gd name="T10" fmla="*/ 0 w 13"/>
                <a:gd name="T11" fmla="*/ 3 h 6"/>
                <a:gd name="T12" fmla="*/ 6 w 13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6">
                  <a:moveTo>
                    <a:pt x="6" y="6"/>
                  </a:moveTo>
                  <a:cubicBezTo>
                    <a:pt x="10" y="6"/>
                    <a:pt x="13" y="3"/>
                    <a:pt x="13" y="3"/>
                  </a:cubicBezTo>
                  <a:cubicBezTo>
                    <a:pt x="13" y="2"/>
                    <a:pt x="9" y="0"/>
                    <a:pt x="8" y="0"/>
                  </a:cubicBezTo>
                  <a:cubicBezTo>
                    <a:pt x="8" y="0"/>
                    <a:pt x="7" y="1"/>
                    <a:pt x="6" y="1"/>
                  </a:cubicBezTo>
                  <a:cubicBezTo>
                    <a:pt x="6" y="1"/>
                    <a:pt x="5" y="0"/>
                    <a:pt x="4" y="0"/>
                  </a:cubicBezTo>
                  <a:cubicBezTo>
                    <a:pt x="3" y="0"/>
                    <a:pt x="0" y="2"/>
                    <a:pt x="0" y="3"/>
                  </a:cubicBezTo>
                  <a:cubicBezTo>
                    <a:pt x="0" y="3"/>
                    <a:pt x="3" y="6"/>
                    <a:pt x="6" y="6"/>
                  </a:cubicBezTo>
                  <a:close/>
                </a:path>
              </a:pathLst>
            </a:custGeom>
            <a:solidFill>
              <a:srgbClr val="C267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50" name="Freeform 22"/>
            <p:cNvSpPr/>
            <p:nvPr userDrawn="1"/>
          </p:nvSpPr>
          <p:spPr bwMode="auto">
            <a:xfrm>
              <a:off x="6546056" y="2736851"/>
              <a:ext cx="238125" cy="382588"/>
            </a:xfrm>
            <a:custGeom>
              <a:avLst/>
              <a:gdLst>
                <a:gd name="T0" fmla="*/ 7 w 88"/>
                <a:gd name="T1" fmla="*/ 118 h 141"/>
                <a:gd name="T2" fmla="*/ 0 w 88"/>
                <a:gd name="T3" fmla="*/ 141 h 141"/>
                <a:gd name="T4" fmla="*/ 88 w 88"/>
                <a:gd name="T5" fmla="*/ 141 h 141"/>
                <a:gd name="T6" fmla="*/ 80 w 88"/>
                <a:gd name="T7" fmla="*/ 115 h 141"/>
                <a:gd name="T8" fmla="*/ 76 w 88"/>
                <a:gd name="T9" fmla="*/ 54 h 141"/>
                <a:gd name="T10" fmla="*/ 81 w 88"/>
                <a:gd name="T11" fmla="*/ 40 h 141"/>
                <a:gd name="T12" fmla="*/ 77 w 88"/>
                <a:gd name="T13" fmla="*/ 29 h 141"/>
                <a:gd name="T14" fmla="*/ 83 w 88"/>
                <a:gd name="T15" fmla="*/ 8 h 141"/>
                <a:gd name="T16" fmla="*/ 57 w 88"/>
                <a:gd name="T17" fmla="*/ 0 h 141"/>
                <a:gd name="T18" fmla="*/ 57 w 88"/>
                <a:gd name="T19" fmla="*/ 0 h 141"/>
                <a:gd name="T20" fmla="*/ 55 w 88"/>
                <a:gd name="T21" fmla="*/ 0 h 141"/>
                <a:gd name="T22" fmla="*/ 45 w 88"/>
                <a:gd name="T23" fmla="*/ 12 h 141"/>
                <a:gd name="T24" fmla="*/ 44 w 88"/>
                <a:gd name="T25" fmla="*/ 13 h 141"/>
                <a:gd name="T26" fmla="*/ 42 w 88"/>
                <a:gd name="T27" fmla="*/ 12 h 141"/>
                <a:gd name="T28" fmla="*/ 32 w 88"/>
                <a:gd name="T29" fmla="*/ 0 h 141"/>
                <a:gd name="T30" fmla="*/ 30 w 88"/>
                <a:gd name="T31" fmla="*/ 0 h 141"/>
                <a:gd name="T32" fmla="*/ 30 w 88"/>
                <a:gd name="T33" fmla="*/ 0 h 141"/>
                <a:gd name="T34" fmla="*/ 4 w 88"/>
                <a:gd name="T35" fmla="*/ 8 h 141"/>
                <a:gd name="T36" fmla="*/ 9 w 88"/>
                <a:gd name="T37" fmla="*/ 30 h 141"/>
                <a:gd name="T38" fmla="*/ 6 w 88"/>
                <a:gd name="T39" fmla="*/ 40 h 141"/>
                <a:gd name="T40" fmla="*/ 11 w 88"/>
                <a:gd name="T41" fmla="*/ 54 h 141"/>
                <a:gd name="T42" fmla="*/ 7 w 88"/>
                <a:gd name="T43" fmla="*/ 118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8" h="141">
                  <a:moveTo>
                    <a:pt x="7" y="118"/>
                  </a:moveTo>
                  <a:cubicBezTo>
                    <a:pt x="0" y="141"/>
                    <a:pt x="0" y="141"/>
                    <a:pt x="0" y="141"/>
                  </a:cubicBezTo>
                  <a:cubicBezTo>
                    <a:pt x="88" y="141"/>
                    <a:pt x="88" y="141"/>
                    <a:pt x="88" y="141"/>
                  </a:cubicBezTo>
                  <a:cubicBezTo>
                    <a:pt x="80" y="115"/>
                    <a:pt x="80" y="115"/>
                    <a:pt x="80" y="115"/>
                  </a:cubicBezTo>
                  <a:cubicBezTo>
                    <a:pt x="80" y="115"/>
                    <a:pt x="75" y="85"/>
                    <a:pt x="76" y="54"/>
                  </a:cubicBezTo>
                  <a:cubicBezTo>
                    <a:pt x="79" y="50"/>
                    <a:pt x="81" y="45"/>
                    <a:pt x="81" y="40"/>
                  </a:cubicBezTo>
                  <a:cubicBezTo>
                    <a:pt x="81" y="36"/>
                    <a:pt x="80" y="33"/>
                    <a:pt x="77" y="29"/>
                  </a:cubicBezTo>
                  <a:cubicBezTo>
                    <a:pt x="79" y="21"/>
                    <a:pt x="80" y="14"/>
                    <a:pt x="83" y="8"/>
                  </a:cubicBezTo>
                  <a:cubicBezTo>
                    <a:pt x="81" y="6"/>
                    <a:pt x="58" y="0"/>
                    <a:pt x="57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6" y="0"/>
                    <a:pt x="56" y="0"/>
                    <a:pt x="55" y="0"/>
                  </a:cubicBezTo>
                  <a:cubicBezTo>
                    <a:pt x="45" y="12"/>
                    <a:pt x="45" y="12"/>
                    <a:pt x="45" y="12"/>
                  </a:cubicBezTo>
                  <a:cubicBezTo>
                    <a:pt x="45" y="13"/>
                    <a:pt x="44" y="13"/>
                    <a:pt x="44" y="13"/>
                  </a:cubicBezTo>
                  <a:cubicBezTo>
                    <a:pt x="43" y="13"/>
                    <a:pt x="43" y="13"/>
                    <a:pt x="42" y="12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1" y="0"/>
                    <a:pt x="31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29" y="0"/>
                    <a:pt x="6" y="6"/>
                    <a:pt x="4" y="8"/>
                  </a:cubicBezTo>
                  <a:cubicBezTo>
                    <a:pt x="7" y="15"/>
                    <a:pt x="8" y="22"/>
                    <a:pt x="9" y="30"/>
                  </a:cubicBezTo>
                  <a:cubicBezTo>
                    <a:pt x="7" y="33"/>
                    <a:pt x="6" y="37"/>
                    <a:pt x="6" y="40"/>
                  </a:cubicBezTo>
                  <a:cubicBezTo>
                    <a:pt x="6" y="45"/>
                    <a:pt x="8" y="50"/>
                    <a:pt x="11" y="54"/>
                  </a:cubicBezTo>
                  <a:cubicBezTo>
                    <a:pt x="13" y="88"/>
                    <a:pt x="7" y="118"/>
                    <a:pt x="7" y="118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51" name="Oval 23"/>
            <p:cNvSpPr>
              <a:spLocks noChangeArrowheads="1"/>
            </p:cNvSpPr>
            <p:nvPr userDrawn="1"/>
          </p:nvSpPr>
          <p:spPr bwMode="auto">
            <a:xfrm>
              <a:off x="6660356" y="2779713"/>
              <a:ext cx="9525" cy="14288"/>
            </a:xfrm>
            <a:prstGeom prst="ellipse">
              <a:avLst/>
            </a:prstGeom>
            <a:solidFill>
              <a:srgbClr val="5765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52" name="Oval 24"/>
            <p:cNvSpPr>
              <a:spLocks noChangeArrowheads="1"/>
            </p:cNvSpPr>
            <p:nvPr userDrawn="1"/>
          </p:nvSpPr>
          <p:spPr bwMode="auto">
            <a:xfrm>
              <a:off x="6680993" y="2776538"/>
              <a:ext cx="14288" cy="11113"/>
            </a:xfrm>
            <a:prstGeom prst="ellipse">
              <a:avLst/>
            </a:prstGeom>
            <a:solidFill>
              <a:srgbClr val="5765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53" name="Oval 25"/>
            <p:cNvSpPr>
              <a:spLocks noChangeArrowheads="1"/>
            </p:cNvSpPr>
            <p:nvPr userDrawn="1"/>
          </p:nvSpPr>
          <p:spPr bwMode="auto">
            <a:xfrm>
              <a:off x="6698456" y="2760663"/>
              <a:ext cx="9525" cy="11113"/>
            </a:xfrm>
            <a:prstGeom prst="ellipse">
              <a:avLst/>
            </a:prstGeom>
            <a:solidFill>
              <a:srgbClr val="5765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54" name="Oval 26"/>
            <p:cNvSpPr>
              <a:spLocks noChangeArrowheads="1"/>
            </p:cNvSpPr>
            <p:nvPr userDrawn="1"/>
          </p:nvSpPr>
          <p:spPr bwMode="auto">
            <a:xfrm>
              <a:off x="6703218" y="2741613"/>
              <a:ext cx="12700" cy="11113"/>
            </a:xfrm>
            <a:prstGeom prst="ellipse">
              <a:avLst/>
            </a:prstGeom>
            <a:solidFill>
              <a:srgbClr val="5765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55" name="Oval 27"/>
            <p:cNvSpPr>
              <a:spLocks noChangeArrowheads="1"/>
            </p:cNvSpPr>
            <p:nvPr userDrawn="1"/>
          </p:nvSpPr>
          <p:spPr bwMode="auto">
            <a:xfrm>
              <a:off x="6634956" y="2776538"/>
              <a:ext cx="14288" cy="11113"/>
            </a:xfrm>
            <a:prstGeom prst="ellipse">
              <a:avLst/>
            </a:prstGeom>
            <a:solidFill>
              <a:srgbClr val="5765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56" name="Oval 28"/>
            <p:cNvSpPr>
              <a:spLocks noChangeArrowheads="1"/>
            </p:cNvSpPr>
            <p:nvPr userDrawn="1"/>
          </p:nvSpPr>
          <p:spPr bwMode="auto">
            <a:xfrm>
              <a:off x="6622256" y="2760663"/>
              <a:ext cx="9525" cy="11113"/>
            </a:xfrm>
            <a:prstGeom prst="ellipse">
              <a:avLst/>
            </a:prstGeom>
            <a:solidFill>
              <a:srgbClr val="5765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57" name="Oval 29"/>
            <p:cNvSpPr>
              <a:spLocks noChangeArrowheads="1"/>
            </p:cNvSpPr>
            <p:nvPr userDrawn="1"/>
          </p:nvSpPr>
          <p:spPr bwMode="auto">
            <a:xfrm>
              <a:off x="6612731" y="2741613"/>
              <a:ext cx="14288" cy="11113"/>
            </a:xfrm>
            <a:prstGeom prst="ellipse">
              <a:avLst/>
            </a:prstGeom>
            <a:solidFill>
              <a:srgbClr val="5765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58" name="Freeform 30"/>
            <p:cNvSpPr/>
            <p:nvPr userDrawn="1"/>
          </p:nvSpPr>
          <p:spPr bwMode="auto">
            <a:xfrm>
              <a:off x="6615906" y="2738438"/>
              <a:ext cx="98425" cy="49213"/>
            </a:xfrm>
            <a:custGeom>
              <a:avLst/>
              <a:gdLst>
                <a:gd name="T0" fmla="*/ 18 w 36"/>
                <a:gd name="T1" fmla="*/ 18 h 18"/>
                <a:gd name="T2" fmla="*/ 0 w 36"/>
                <a:gd name="T3" fmla="*/ 0 h 18"/>
                <a:gd name="T4" fmla="*/ 0 w 36"/>
                <a:gd name="T5" fmla="*/ 0 h 18"/>
                <a:gd name="T6" fmla="*/ 1 w 36"/>
                <a:gd name="T7" fmla="*/ 0 h 18"/>
                <a:gd name="T8" fmla="*/ 18 w 36"/>
                <a:gd name="T9" fmla="*/ 17 h 18"/>
                <a:gd name="T10" fmla="*/ 35 w 36"/>
                <a:gd name="T11" fmla="*/ 0 h 18"/>
                <a:gd name="T12" fmla="*/ 35 w 36"/>
                <a:gd name="T13" fmla="*/ 0 h 18"/>
                <a:gd name="T14" fmla="*/ 36 w 36"/>
                <a:gd name="T15" fmla="*/ 0 h 18"/>
                <a:gd name="T16" fmla="*/ 18 w 36"/>
                <a:gd name="T1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18">
                  <a:moveTo>
                    <a:pt x="18" y="18"/>
                  </a:moveTo>
                  <a:cubicBezTo>
                    <a:pt x="2" y="18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3" y="17"/>
                    <a:pt x="18" y="17"/>
                  </a:cubicBezTo>
                  <a:cubicBezTo>
                    <a:pt x="33" y="17"/>
                    <a:pt x="35" y="0"/>
                    <a:pt x="35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6" y="0"/>
                    <a:pt x="34" y="18"/>
                    <a:pt x="18" y="18"/>
                  </a:cubicBezTo>
                  <a:close/>
                </a:path>
              </a:pathLst>
            </a:custGeom>
            <a:solidFill>
              <a:srgbClr val="5765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59" name="Freeform 31"/>
            <p:cNvSpPr/>
            <p:nvPr userDrawn="1"/>
          </p:nvSpPr>
          <p:spPr bwMode="auto">
            <a:xfrm>
              <a:off x="5636418" y="3713163"/>
              <a:ext cx="174625" cy="58738"/>
            </a:xfrm>
            <a:custGeom>
              <a:avLst/>
              <a:gdLst>
                <a:gd name="T0" fmla="*/ 32 w 64"/>
                <a:gd name="T1" fmla="*/ 0 h 22"/>
                <a:gd name="T2" fmla="*/ 62 w 64"/>
                <a:gd name="T3" fmla="*/ 15 h 22"/>
                <a:gd name="T4" fmla="*/ 62 w 64"/>
                <a:gd name="T5" fmla="*/ 22 h 22"/>
                <a:gd name="T6" fmla="*/ 0 w 64"/>
                <a:gd name="T7" fmla="*/ 22 h 22"/>
                <a:gd name="T8" fmla="*/ 0 w 64"/>
                <a:gd name="T9" fmla="*/ 0 h 22"/>
                <a:gd name="T10" fmla="*/ 32 w 64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4" h="22">
                  <a:moveTo>
                    <a:pt x="32" y="0"/>
                  </a:moveTo>
                  <a:cubicBezTo>
                    <a:pt x="32" y="0"/>
                    <a:pt x="61" y="13"/>
                    <a:pt x="62" y="15"/>
                  </a:cubicBezTo>
                  <a:cubicBezTo>
                    <a:pt x="64" y="16"/>
                    <a:pt x="62" y="22"/>
                    <a:pt x="62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32" y="0"/>
                  </a:lnTo>
                  <a:close/>
                </a:path>
              </a:pathLst>
            </a:custGeom>
            <a:solidFill>
              <a:srgbClr val="2B2B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60" name="Freeform 32"/>
            <p:cNvSpPr/>
            <p:nvPr userDrawn="1"/>
          </p:nvSpPr>
          <p:spPr bwMode="auto">
            <a:xfrm>
              <a:off x="5463381" y="3713163"/>
              <a:ext cx="173038" cy="58738"/>
            </a:xfrm>
            <a:custGeom>
              <a:avLst/>
              <a:gdLst>
                <a:gd name="T0" fmla="*/ 31 w 64"/>
                <a:gd name="T1" fmla="*/ 0 h 22"/>
                <a:gd name="T2" fmla="*/ 1 w 64"/>
                <a:gd name="T3" fmla="*/ 15 h 22"/>
                <a:gd name="T4" fmla="*/ 1 w 64"/>
                <a:gd name="T5" fmla="*/ 22 h 22"/>
                <a:gd name="T6" fmla="*/ 64 w 64"/>
                <a:gd name="T7" fmla="*/ 22 h 22"/>
                <a:gd name="T8" fmla="*/ 64 w 64"/>
                <a:gd name="T9" fmla="*/ 0 h 22"/>
                <a:gd name="T10" fmla="*/ 31 w 64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4" h="22">
                  <a:moveTo>
                    <a:pt x="31" y="0"/>
                  </a:moveTo>
                  <a:cubicBezTo>
                    <a:pt x="31" y="0"/>
                    <a:pt x="3" y="13"/>
                    <a:pt x="1" y="15"/>
                  </a:cubicBezTo>
                  <a:cubicBezTo>
                    <a:pt x="0" y="16"/>
                    <a:pt x="1" y="22"/>
                    <a:pt x="1" y="22"/>
                  </a:cubicBezTo>
                  <a:cubicBezTo>
                    <a:pt x="64" y="22"/>
                    <a:pt x="64" y="22"/>
                    <a:pt x="64" y="22"/>
                  </a:cubicBezTo>
                  <a:cubicBezTo>
                    <a:pt x="64" y="0"/>
                    <a:pt x="64" y="0"/>
                    <a:pt x="64" y="0"/>
                  </a:cubicBezTo>
                  <a:lnTo>
                    <a:pt x="31" y="0"/>
                  </a:lnTo>
                  <a:close/>
                </a:path>
              </a:pathLst>
            </a:custGeom>
            <a:solidFill>
              <a:srgbClr val="2B2B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61" name="Freeform 33"/>
            <p:cNvSpPr/>
            <p:nvPr userDrawn="1"/>
          </p:nvSpPr>
          <p:spPr bwMode="auto">
            <a:xfrm>
              <a:off x="5506243" y="3024188"/>
              <a:ext cx="261938" cy="688975"/>
            </a:xfrm>
            <a:custGeom>
              <a:avLst/>
              <a:gdLst>
                <a:gd name="T0" fmla="*/ 0 w 165"/>
                <a:gd name="T1" fmla="*/ 79 h 434"/>
                <a:gd name="T2" fmla="*/ 24 w 165"/>
                <a:gd name="T3" fmla="*/ 434 h 434"/>
                <a:gd name="T4" fmla="*/ 82 w 165"/>
                <a:gd name="T5" fmla="*/ 434 h 434"/>
                <a:gd name="T6" fmla="*/ 137 w 165"/>
                <a:gd name="T7" fmla="*/ 434 h 434"/>
                <a:gd name="T8" fmla="*/ 165 w 165"/>
                <a:gd name="T9" fmla="*/ 79 h 434"/>
                <a:gd name="T10" fmla="*/ 149 w 165"/>
                <a:gd name="T11" fmla="*/ 0 h 434"/>
                <a:gd name="T12" fmla="*/ 16 w 165"/>
                <a:gd name="T13" fmla="*/ 0 h 434"/>
                <a:gd name="T14" fmla="*/ 0 w 165"/>
                <a:gd name="T15" fmla="*/ 79 h 4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5" h="434">
                  <a:moveTo>
                    <a:pt x="0" y="79"/>
                  </a:moveTo>
                  <a:lnTo>
                    <a:pt x="24" y="434"/>
                  </a:lnTo>
                  <a:lnTo>
                    <a:pt x="82" y="434"/>
                  </a:lnTo>
                  <a:lnTo>
                    <a:pt x="137" y="434"/>
                  </a:lnTo>
                  <a:lnTo>
                    <a:pt x="165" y="79"/>
                  </a:lnTo>
                  <a:lnTo>
                    <a:pt x="149" y="0"/>
                  </a:lnTo>
                  <a:lnTo>
                    <a:pt x="16" y="0"/>
                  </a:lnTo>
                  <a:lnTo>
                    <a:pt x="0" y="79"/>
                  </a:lnTo>
                  <a:close/>
                </a:path>
              </a:pathLst>
            </a:custGeom>
            <a:solidFill>
              <a:srgbClr val="6650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62" name="Rectangle 34"/>
            <p:cNvSpPr>
              <a:spLocks noChangeArrowheads="1"/>
            </p:cNvSpPr>
            <p:nvPr userDrawn="1"/>
          </p:nvSpPr>
          <p:spPr bwMode="auto">
            <a:xfrm>
              <a:off x="5607843" y="2627313"/>
              <a:ext cx="61913" cy="109538"/>
            </a:xfrm>
            <a:prstGeom prst="rect">
              <a:avLst/>
            </a:prstGeom>
            <a:solidFill>
              <a:srgbClr val="B380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63" name="Freeform 35"/>
            <p:cNvSpPr/>
            <p:nvPr userDrawn="1"/>
          </p:nvSpPr>
          <p:spPr bwMode="auto">
            <a:xfrm>
              <a:off x="5437981" y="2859088"/>
              <a:ext cx="68263" cy="371475"/>
            </a:xfrm>
            <a:custGeom>
              <a:avLst/>
              <a:gdLst>
                <a:gd name="T0" fmla="*/ 20 w 25"/>
                <a:gd name="T1" fmla="*/ 119 h 137"/>
                <a:gd name="T2" fmla="*/ 23 w 25"/>
                <a:gd name="T3" fmla="*/ 115 h 137"/>
                <a:gd name="T4" fmla="*/ 18 w 25"/>
                <a:gd name="T5" fmla="*/ 108 h 137"/>
                <a:gd name="T6" fmla="*/ 17 w 25"/>
                <a:gd name="T7" fmla="*/ 108 h 137"/>
                <a:gd name="T8" fmla="*/ 18 w 25"/>
                <a:gd name="T9" fmla="*/ 108 h 137"/>
                <a:gd name="T10" fmla="*/ 19 w 25"/>
                <a:gd name="T11" fmla="*/ 47 h 137"/>
                <a:gd name="T12" fmla="*/ 19 w 25"/>
                <a:gd name="T13" fmla="*/ 34 h 137"/>
                <a:gd name="T14" fmla="*/ 24 w 25"/>
                <a:gd name="T15" fmla="*/ 5 h 137"/>
                <a:gd name="T16" fmla="*/ 4 w 25"/>
                <a:gd name="T17" fmla="*/ 0 h 137"/>
                <a:gd name="T18" fmla="*/ 0 w 25"/>
                <a:gd name="T19" fmla="*/ 36 h 137"/>
                <a:gd name="T20" fmla="*/ 5 w 25"/>
                <a:gd name="T21" fmla="*/ 107 h 137"/>
                <a:gd name="T22" fmla="*/ 0 w 25"/>
                <a:gd name="T23" fmla="*/ 125 h 137"/>
                <a:gd name="T24" fmla="*/ 13 w 25"/>
                <a:gd name="T25" fmla="*/ 137 h 137"/>
                <a:gd name="T26" fmla="*/ 25 w 25"/>
                <a:gd name="T27" fmla="*/ 126 h 137"/>
                <a:gd name="T28" fmla="*/ 20 w 25"/>
                <a:gd name="T29" fmla="*/ 119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5" h="137">
                  <a:moveTo>
                    <a:pt x="20" y="119"/>
                  </a:moveTo>
                  <a:cubicBezTo>
                    <a:pt x="20" y="119"/>
                    <a:pt x="22" y="118"/>
                    <a:pt x="23" y="115"/>
                  </a:cubicBezTo>
                  <a:cubicBezTo>
                    <a:pt x="23" y="112"/>
                    <a:pt x="18" y="108"/>
                    <a:pt x="18" y="108"/>
                  </a:cubicBezTo>
                  <a:cubicBezTo>
                    <a:pt x="17" y="108"/>
                    <a:pt x="17" y="108"/>
                    <a:pt x="17" y="108"/>
                  </a:cubicBezTo>
                  <a:cubicBezTo>
                    <a:pt x="18" y="108"/>
                    <a:pt x="18" y="108"/>
                    <a:pt x="18" y="108"/>
                  </a:cubicBezTo>
                  <a:cubicBezTo>
                    <a:pt x="19" y="47"/>
                    <a:pt x="19" y="47"/>
                    <a:pt x="19" y="47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24" y="5"/>
                    <a:pt x="24" y="5"/>
                    <a:pt x="24" y="5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5" y="107"/>
                    <a:pt x="5" y="107"/>
                    <a:pt x="5" y="107"/>
                  </a:cubicBezTo>
                  <a:cubicBezTo>
                    <a:pt x="5" y="114"/>
                    <a:pt x="0" y="121"/>
                    <a:pt x="0" y="125"/>
                  </a:cubicBezTo>
                  <a:cubicBezTo>
                    <a:pt x="3" y="129"/>
                    <a:pt x="8" y="137"/>
                    <a:pt x="13" y="137"/>
                  </a:cubicBezTo>
                  <a:cubicBezTo>
                    <a:pt x="17" y="135"/>
                    <a:pt x="23" y="132"/>
                    <a:pt x="25" y="126"/>
                  </a:cubicBezTo>
                  <a:cubicBezTo>
                    <a:pt x="24" y="122"/>
                    <a:pt x="20" y="119"/>
                    <a:pt x="20" y="119"/>
                  </a:cubicBezTo>
                  <a:close/>
                </a:path>
              </a:pathLst>
            </a:custGeom>
            <a:solidFill>
              <a:srgbClr val="D99C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64" name="Freeform 36"/>
            <p:cNvSpPr/>
            <p:nvPr userDrawn="1"/>
          </p:nvSpPr>
          <p:spPr bwMode="auto">
            <a:xfrm>
              <a:off x="5441156" y="2859088"/>
              <a:ext cx="61913" cy="77788"/>
            </a:xfrm>
            <a:custGeom>
              <a:avLst/>
              <a:gdLst>
                <a:gd name="T0" fmla="*/ 39 w 39"/>
                <a:gd name="T1" fmla="*/ 8 h 49"/>
                <a:gd name="T2" fmla="*/ 33 w 39"/>
                <a:gd name="T3" fmla="*/ 49 h 49"/>
                <a:gd name="T4" fmla="*/ 0 w 39"/>
                <a:gd name="T5" fmla="*/ 43 h 49"/>
                <a:gd name="T6" fmla="*/ 5 w 39"/>
                <a:gd name="T7" fmla="*/ 0 h 49"/>
                <a:gd name="T8" fmla="*/ 39 w 39"/>
                <a:gd name="T9" fmla="*/ 8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49">
                  <a:moveTo>
                    <a:pt x="39" y="8"/>
                  </a:moveTo>
                  <a:lnTo>
                    <a:pt x="33" y="49"/>
                  </a:lnTo>
                  <a:lnTo>
                    <a:pt x="0" y="43"/>
                  </a:lnTo>
                  <a:lnTo>
                    <a:pt x="5" y="0"/>
                  </a:lnTo>
                  <a:lnTo>
                    <a:pt x="39" y="8"/>
                  </a:lnTo>
                  <a:close/>
                </a:path>
              </a:pathLst>
            </a:custGeom>
            <a:solidFill>
              <a:srgbClr val="C991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65" name="Freeform 37"/>
            <p:cNvSpPr/>
            <p:nvPr userDrawn="1"/>
          </p:nvSpPr>
          <p:spPr bwMode="auto">
            <a:xfrm>
              <a:off x="5769768" y="2867026"/>
              <a:ext cx="68263" cy="369888"/>
            </a:xfrm>
            <a:custGeom>
              <a:avLst/>
              <a:gdLst>
                <a:gd name="T0" fmla="*/ 5 w 25"/>
                <a:gd name="T1" fmla="*/ 118 h 136"/>
                <a:gd name="T2" fmla="*/ 2 w 25"/>
                <a:gd name="T3" fmla="*/ 114 h 136"/>
                <a:gd name="T4" fmla="*/ 7 w 25"/>
                <a:gd name="T5" fmla="*/ 107 h 136"/>
                <a:gd name="T6" fmla="*/ 8 w 25"/>
                <a:gd name="T7" fmla="*/ 107 h 136"/>
                <a:gd name="T8" fmla="*/ 7 w 25"/>
                <a:gd name="T9" fmla="*/ 107 h 136"/>
                <a:gd name="T10" fmla="*/ 6 w 25"/>
                <a:gd name="T11" fmla="*/ 46 h 136"/>
                <a:gd name="T12" fmla="*/ 6 w 25"/>
                <a:gd name="T13" fmla="*/ 33 h 136"/>
                <a:gd name="T14" fmla="*/ 1 w 25"/>
                <a:gd name="T15" fmla="*/ 4 h 136"/>
                <a:gd name="T16" fmla="*/ 20 w 25"/>
                <a:gd name="T17" fmla="*/ 0 h 136"/>
                <a:gd name="T18" fmla="*/ 25 w 25"/>
                <a:gd name="T19" fmla="*/ 36 h 136"/>
                <a:gd name="T20" fmla="*/ 20 w 25"/>
                <a:gd name="T21" fmla="*/ 107 h 136"/>
                <a:gd name="T22" fmla="*/ 24 w 25"/>
                <a:gd name="T23" fmla="*/ 124 h 136"/>
                <a:gd name="T24" fmla="*/ 12 w 25"/>
                <a:gd name="T25" fmla="*/ 136 h 136"/>
                <a:gd name="T26" fmla="*/ 0 w 25"/>
                <a:gd name="T27" fmla="*/ 125 h 136"/>
                <a:gd name="T28" fmla="*/ 5 w 25"/>
                <a:gd name="T29" fmla="*/ 11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5" h="136">
                  <a:moveTo>
                    <a:pt x="5" y="118"/>
                  </a:moveTo>
                  <a:cubicBezTo>
                    <a:pt x="5" y="118"/>
                    <a:pt x="3" y="117"/>
                    <a:pt x="2" y="114"/>
                  </a:cubicBezTo>
                  <a:cubicBezTo>
                    <a:pt x="2" y="112"/>
                    <a:pt x="7" y="107"/>
                    <a:pt x="7" y="107"/>
                  </a:cubicBezTo>
                  <a:cubicBezTo>
                    <a:pt x="7" y="107"/>
                    <a:pt x="7" y="107"/>
                    <a:pt x="8" y="107"/>
                  </a:cubicBezTo>
                  <a:cubicBezTo>
                    <a:pt x="7" y="107"/>
                    <a:pt x="7" y="107"/>
                    <a:pt x="7" y="107"/>
                  </a:cubicBezTo>
                  <a:cubicBezTo>
                    <a:pt x="6" y="46"/>
                    <a:pt x="6" y="46"/>
                    <a:pt x="6" y="46"/>
                  </a:cubicBezTo>
                  <a:cubicBezTo>
                    <a:pt x="6" y="33"/>
                    <a:pt x="6" y="33"/>
                    <a:pt x="6" y="3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0" y="107"/>
                    <a:pt x="20" y="107"/>
                    <a:pt x="20" y="107"/>
                  </a:cubicBezTo>
                  <a:cubicBezTo>
                    <a:pt x="20" y="114"/>
                    <a:pt x="25" y="120"/>
                    <a:pt x="24" y="124"/>
                  </a:cubicBezTo>
                  <a:cubicBezTo>
                    <a:pt x="21" y="128"/>
                    <a:pt x="16" y="136"/>
                    <a:pt x="12" y="136"/>
                  </a:cubicBezTo>
                  <a:cubicBezTo>
                    <a:pt x="8" y="134"/>
                    <a:pt x="2" y="131"/>
                    <a:pt x="0" y="125"/>
                  </a:cubicBezTo>
                  <a:cubicBezTo>
                    <a:pt x="1" y="122"/>
                    <a:pt x="5" y="118"/>
                    <a:pt x="5" y="118"/>
                  </a:cubicBezTo>
                  <a:close/>
                </a:path>
              </a:pathLst>
            </a:custGeom>
            <a:solidFill>
              <a:srgbClr val="D99C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66" name="Freeform 38"/>
            <p:cNvSpPr/>
            <p:nvPr userDrawn="1"/>
          </p:nvSpPr>
          <p:spPr bwMode="auto">
            <a:xfrm>
              <a:off x="5772943" y="2867026"/>
              <a:ext cx="61913" cy="76200"/>
            </a:xfrm>
            <a:custGeom>
              <a:avLst/>
              <a:gdLst>
                <a:gd name="T0" fmla="*/ 0 w 39"/>
                <a:gd name="T1" fmla="*/ 7 h 48"/>
                <a:gd name="T2" fmla="*/ 7 w 39"/>
                <a:gd name="T3" fmla="*/ 48 h 48"/>
                <a:gd name="T4" fmla="*/ 39 w 39"/>
                <a:gd name="T5" fmla="*/ 41 h 48"/>
                <a:gd name="T6" fmla="*/ 33 w 39"/>
                <a:gd name="T7" fmla="*/ 0 h 48"/>
                <a:gd name="T8" fmla="*/ 0 w 39"/>
                <a:gd name="T9" fmla="*/ 7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48">
                  <a:moveTo>
                    <a:pt x="0" y="7"/>
                  </a:moveTo>
                  <a:lnTo>
                    <a:pt x="7" y="48"/>
                  </a:lnTo>
                  <a:lnTo>
                    <a:pt x="39" y="41"/>
                  </a:lnTo>
                  <a:lnTo>
                    <a:pt x="33" y="0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C991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67" name="Freeform 39"/>
            <p:cNvSpPr/>
            <p:nvPr userDrawn="1"/>
          </p:nvSpPr>
          <p:spPr bwMode="auto">
            <a:xfrm>
              <a:off x="5437981" y="2687638"/>
              <a:ext cx="396875" cy="442913"/>
            </a:xfrm>
            <a:custGeom>
              <a:avLst/>
              <a:gdLst>
                <a:gd name="T0" fmla="*/ 142 w 146"/>
                <a:gd name="T1" fmla="*/ 53 h 163"/>
                <a:gd name="T2" fmla="*/ 132 w 146"/>
                <a:gd name="T3" fmla="*/ 16 h 163"/>
                <a:gd name="T4" fmla="*/ 85 w 146"/>
                <a:gd name="T5" fmla="*/ 1 h 163"/>
                <a:gd name="T6" fmla="*/ 73 w 146"/>
                <a:gd name="T7" fmla="*/ 16 h 163"/>
                <a:gd name="T8" fmla="*/ 62 w 146"/>
                <a:gd name="T9" fmla="*/ 1 h 163"/>
                <a:gd name="T10" fmla="*/ 14 w 146"/>
                <a:gd name="T11" fmla="*/ 16 h 163"/>
                <a:gd name="T12" fmla="*/ 5 w 146"/>
                <a:gd name="T13" fmla="*/ 53 h 163"/>
                <a:gd name="T14" fmla="*/ 5 w 146"/>
                <a:gd name="T15" fmla="*/ 53 h 163"/>
                <a:gd name="T16" fmla="*/ 5 w 146"/>
                <a:gd name="T17" fmla="*/ 53 h 163"/>
                <a:gd name="T18" fmla="*/ 5 w 146"/>
                <a:gd name="T19" fmla="*/ 53 h 163"/>
                <a:gd name="T20" fmla="*/ 0 w 146"/>
                <a:gd name="T21" fmla="*/ 83 h 163"/>
                <a:gd name="T22" fmla="*/ 25 w 146"/>
                <a:gd name="T23" fmla="*/ 89 h 163"/>
                <a:gd name="T24" fmla="*/ 28 w 146"/>
                <a:gd name="T25" fmla="*/ 53 h 163"/>
                <a:gd name="T26" fmla="*/ 28 w 146"/>
                <a:gd name="T27" fmla="*/ 53 h 163"/>
                <a:gd name="T28" fmla="*/ 28 w 146"/>
                <a:gd name="T29" fmla="*/ 159 h 163"/>
                <a:gd name="T30" fmla="*/ 119 w 146"/>
                <a:gd name="T31" fmla="*/ 163 h 163"/>
                <a:gd name="T32" fmla="*/ 118 w 146"/>
                <a:gd name="T33" fmla="*/ 53 h 163"/>
                <a:gd name="T34" fmla="*/ 118 w 146"/>
                <a:gd name="T35" fmla="*/ 53 h 163"/>
                <a:gd name="T36" fmla="*/ 124 w 146"/>
                <a:gd name="T37" fmla="*/ 92 h 163"/>
                <a:gd name="T38" fmla="*/ 146 w 146"/>
                <a:gd name="T39" fmla="*/ 88 h 163"/>
                <a:gd name="T40" fmla="*/ 142 w 146"/>
                <a:gd name="T41" fmla="*/ 5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46" h="163">
                  <a:moveTo>
                    <a:pt x="142" y="53"/>
                  </a:moveTo>
                  <a:cubicBezTo>
                    <a:pt x="141" y="28"/>
                    <a:pt x="132" y="16"/>
                    <a:pt x="132" y="16"/>
                  </a:cubicBezTo>
                  <a:cubicBezTo>
                    <a:pt x="131" y="8"/>
                    <a:pt x="85" y="0"/>
                    <a:pt x="85" y="1"/>
                  </a:cubicBezTo>
                  <a:cubicBezTo>
                    <a:pt x="73" y="16"/>
                    <a:pt x="73" y="16"/>
                    <a:pt x="73" y="16"/>
                  </a:cubicBezTo>
                  <a:cubicBezTo>
                    <a:pt x="62" y="1"/>
                    <a:pt x="62" y="1"/>
                    <a:pt x="62" y="1"/>
                  </a:cubicBezTo>
                  <a:cubicBezTo>
                    <a:pt x="61" y="0"/>
                    <a:pt x="15" y="8"/>
                    <a:pt x="14" y="16"/>
                  </a:cubicBezTo>
                  <a:cubicBezTo>
                    <a:pt x="14" y="16"/>
                    <a:pt x="9" y="27"/>
                    <a:pt x="5" y="53"/>
                  </a:cubicBezTo>
                  <a:cubicBezTo>
                    <a:pt x="5" y="53"/>
                    <a:pt x="5" y="53"/>
                    <a:pt x="5" y="53"/>
                  </a:cubicBezTo>
                  <a:cubicBezTo>
                    <a:pt x="5" y="53"/>
                    <a:pt x="5" y="53"/>
                    <a:pt x="5" y="53"/>
                  </a:cubicBezTo>
                  <a:cubicBezTo>
                    <a:pt x="5" y="53"/>
                    <a:pt x="5" y="53"/>
                    <a:pt x="5" y="53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25" y="89"/>
                    <a:pt x="25" y="89"/>
                    <a:pt x="25" y="89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8" y="159"/>
                    <a:pt x="28" y="159"/>
                    <a:pt x="28" y="159"/>
                  </a:cubicBezTo>
                  <a:cubicBezTo>
                    <a:pt x="119" y="163"/>
                    <a:pt x="119" y="163"/>
                    <a:pt x="119" y="163"/>
                  </a:cubicBezTo>
                  <a:cubicBezTo>
                    <a:pt x="118" y="53"/>
                    <a:pt x="118" y="53"/>
                    <a:pt x="118" y="53"/>
                  </a:cubicBezTo>
                  <a:cubicBezTo>
                    <a:pt x="118" y="53"/>
                    <a:pt x="118" y="53"/>
                    <a:pt x="118" y="53"/>
                  </a:cubicBezTo>
                  <a:cubicBezTo>
                    <a:pt x="124" y="92"/>
                    <a:pt x="124" y="92"/>
                    <a:pt x="124" y="92"/>
                  </a:cubicBezTo>
                  <a:cubicBezTo>
                    <a:pt x="146" y="88"/>
                    <a:pt x="146" y="88"/>
                    <a:pt x="146" y="88"/>
                  </a:cubicBezTo>
                  <a:lnTo>
                    <a:pt x="142" y="53"/>
                  </a:lnTo>
                  <a:close/>
                </a:path>
              </a:pathLst>
            </a:custGeom>
            <a:solidFill>
              <a:srgbClr val="8DD9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68" name="Freeform 40"/>
            <p:cNvSpPr/>
            <p:nvPr userDrawn="1"/>
          </p:nvSpPr>
          <p:spPr bwMode="auto">
            <a:xfrm>
              <a:off x="5476081" y="2687638"/>
              <a:ext cx="320675" cy="446088"/>
            </a:xfrm>
            <a:custGeom>
              <a:avLst/>
              <a:gdLst>
                <a:gd name="T0" fmla="*/ 118 w 118"/>
                <a:gd name="T1" fmla="*/ 16 h 164"/>
                <a:gd name="T2" fmla="*/ 71 w 118"/>
                <a:gd name="T3" fmla="*/ 1 h 164"/>
                <a:gd name="T4" fmla="*/ 59 w 118"/>
                <a:gd name="T5" fmla="*/ 19 h 164"/>
                <a:gd name="T6" fmla="*/ 48 w 118"/>
                <a:gd name="T7" fmla="*/ 1 h 164"/>
                <a:gd name="T8" fmla="*/ 0 w 118"/>
                <a:gd name="T9" fmla="*/ 16 h 164"/>
                <a:gd name="T10" fmla="*/ 14 w 118"/>
                <a:gd name="T11" fmla="*/ 53 h 164"/>
                <a:gd name="T12" fmla="*/ 14 w 118"/>
                <a:gd name="T13" fmla="*/ 53 h 164"/>
                <a:gd name="T14" fmla="*/ 12 w 118"/>
                <a:gd name="T15" fmla="*/ 162 h 164"/>
                <a:gd name="T16" fmla="*/ 106 w 118"/>
                <a:gd name="T17" fmla="*/ 164 h 164"/>
                <a:gd name="T18" fmla="*/ 104 w 118"/>
                <a:gd name="T19" fmla="*/ 53 h 164"/>
                <a:gd name="T20" fmla="*/ 104 w 118"/>
                <a:gd name="T21" fmla="*/ 53 h 164"/>
                <a:gd name="T22" fmla="*/ 118 w 118"/>
                <a:gd name="T23" fmla="*/ 16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8" h="164">
                  <a:moveTo>
                    <a:pt x="118" y="16"/>
                  </a:moveTo>
                  <a:cubicBezTo>
                    <a:pt x="117" y="6"/>
                    <a:pt x="71" y="0"/>
                    <a:pt x="71" y="1"/>
                  </a:cubicBezTo>
                  <a:cubicBezTo>
                    <a:pt x="71" y="1"/>
                    <a:pt x="79" y="19"/>
                    <a:pt x="59" y="19"/>
                  </a:cubicBezTo>
                  <a:cubicBezTo>
                    <a:pt x="40" y="19"/>
                    <a:pt x="48" y="1"/>
                    <a:pt x="48" y="1"/>
                  </a:cubicBezTo>
                  <a:cubicBezTo>
                    <a:pt x="47" y="0"/>
                    <a:pt x="1" y="6"/>
                    <a:pt x="0" y="16"/>
                  </a:cubicBezTo>
                  <a:cubicBezTo>
                    <a:pt x="14" y="53"/>
                    <a:pt x="14" y="53"/>
                    <a:pt x="14" y="53"/>
                  </a:cubicBezTo>
                  <a:cubicBezTo>
                    <a:pt x="14" y="53"/>
                    <a:pt x="14" y="53"/>
                    <a:pt x="14" y="53"/>
                  </a:cubicBezTo>
                  <a:cubicBezTo>
                    <a:pt x="12" y="162"/>
                    <a:pt x="12" y="162"/>
                    <a:pt x="12" y="162"/>
                  </a:cubicBezTo>
                  <a:cubicBezTo>
                    <a:pt x="106" y="164"/>
                    <a:pt x="106" y="164"/>
                    <a:pt x="106" y="164"/>
                  </a:cubicBezTo>
                  <a:cubicBezTo>
                    <a:pt x="104" y="53"/>
                    <a:pt x="104" y="53"/>
                    <a:pt x="104" y="53"/>
                  </a:cubicBezTo>
                  <a:cubicBezTo>
                    <a:pt x="104" y="53"/>
                    <a:pt x="104" y="53"/>
                    <a:pt x="104" y="53"/>
                  </a:cubicBezTo>
                  <a:lnTo>
                    <a:pt x="118" y="16"/>
                  </a:lnTo>
                  <a:close/>
                </a:path>
              </a:pathLst>
            </a:custGeom>
            <a:solidFill>
              <a:srgbClr val="583C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69" name="Freeform 41"/>
            <p:cNvSpPr/>
            <p:nvPr userDrawn="1"/>
          </p:nvSpPr>
          <p:spPr bwMode="auto">
            <a:xfrm>
              <a:off x="5547518" y="2520951"/>
              <a:ext cx="184150" cy="131763"/>
            </a:xfrm>
            <a:custGeom>
              <a:avLst/>
              <a:gdLst>
                <a:gd name="T0" fmla="*/ 5 w 68"/>
                <a:gd name="T1" fmla="*/ 11 h 48"/>
                <a:gd name="T2" fmla="*/ 17 w 68"/>
                <a:gd name="T3" fmla="*/ 48 h 48"/>
                <a:gd name="T4" fmla="*/ 49 w 68"/>
                <a:gd name="T5" fmla="*/ 48 h 48"/>
                <a:gd name="T6" fmla="*/ 62 w 68"/>
                <a:gd name="T7" fmla="*/ 11 h 48"/>
                <a:gd name="T8" fmla="*/ 36 w 68"/>
                <a:gd name="T9" fmla="*/ 0 h 48"/>
                <a:gd name="T10" fmla="*/ 5 w 68"/>
                <a:gd name="T11" fmla="*/ 11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8" h="48">
                  <a:moveTo>
                    <a:pt x="5" y="11"/>
                  </a:moveTo>
                  <a:cubicBezTo>
                    <a:pt x="0" y="19"/>
                    <a:pt x="10" y="48"/>
                    <a:pt x="17" y="48"/>
                  </a:cubicBezTo>
                  <a:cubicBezTo>
                    <a:pt x="24" y="48"/>
                    <a:pt x="43" y="48"/>
                    <a:pt x="49" y="48"/>
                  </a:cubicBezTo>
                  <a:cubicBezTo>
                    <a:pt x="56" y="48"/>
                    <a:pt x="68" y="17"/>
                    <a:pt x="62" y="11"/>
                  </a:cubicBezTo>
                  <a:cubicBezTo>
                    <a:pt x="54" y="6"/>
                    <a:pt x="36" y="0"/>
                    <a:pt x="36" y="0"/>
                  </a:cubicBezTo>
                  <a:cubicBezTo>
                    <a:pt x="36" y="0"/>
                    <a:pt x="10" y="6"/>
                    <a:pt x="5" y="11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70" name="Freeform 42"/>
            <p:cNvSpPr/>
            <p:nvPr userDrawn="1"/>
          </p:nvSpPr>
          <p:spPr bwMode="auto">
            <a:xfrm>
              <a:off x="5544343" y="2551113"/>
              <a:ext cx="34925" cy="49213"/>
            </a:xfrm>
            <a:custGeom>
              <a:avLst/>
              <a:gdLst>
                <a:gd name="T0" fmla="*/ 9 w 13"/>
                <a:gd name="T1" fmla="*/ 17 h 18"/>
                <a:gd name="T2" fmla="*/ 1 w 13"/>
                <a:gd name="T3" fmla="*/ 10 h 18"/>
                <a:gd name="T4" fmla="*/ 6 w 13"/>
                <a:gd name="T5" fmla="*/ 1 h 18"/>
                <a:gd name="T6" fmla="*/ 9 w 13"/>
                <a:gd name="T7" fmla="*/ 17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18">
                  <a:moveTo>
                    <a:pt x="9" y="17"/>
                  </a:moveTo>
                  <a:cubicBezTo>
                    <a:pt x="5" y="18"/>
                    <a:pt x="2" y="15"/>
                    <a:pt x="1" y="10"/>
                  </a:cubicBezTo>
                  <a:cubicBezTo>
                    <a:pt x="0" y="6"/>
                    <a:pt x="2" y="2"/>
                    <a:pt x="6" y="1"/>
                  </a:cubicBezTo>
                  <a:cubicBezTo>
                    <a:pt x="10" y="0"/>
                    <a:pt x="13" y="16"/>
                    <a:pt x="9" y="17"/>
                  </a:cubicBezTo>
                  <a:close/>
                </a:path>
              </a:pathLst>
            </a:custGeom>
            <a:solidFill>
              <a:srgbClr val="D99C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71" name="Freeform 43"/>
            <p:cNvSpPr/>
            <p:nvPr userDrawn="1"/>
          </p:nvSpPr>
          <p:spPr bwMode="auto">
            <a:xfrm>
              <a:off x="5693568" y="2551113"/>
              <a:ext cx="36513" cy="49213"/>
            </a:xfrm>
            <a:custGeom>
              <a:avLst/>
              <a:gdLst>
                <a:gd name="T0" fmla="*/ 4 w 13"/>
                <a:gd name="T1" fmla="*/ 17 h 18"/>
                <a:gd name="T2" fmla="*/ 12 w 13"/>
                <a:gd name="T3" fmla="*/ 10 h 18"/>
                <a:gd name="T4" fmla="*/ 7 w 13"/>
                <a:gd name="T5" fmla="*/ 1 h 18"/>
                <a:gd name="T6" fmla="*/ 4 w 13"/>
                <a:gd name="T7" fmla="*/ 17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18">
                  <a:moveTo>
                    <a:pt x="4" y="17"/>
                  </a:moveTo>
                  <a:cubicBezTo>
                    <a:pt x="7" y="18"/>
                    <a:pt x="11" y="15"/>
                    <a:pt x="12" y="10"/>
                  </a:cubicBezTo>
                  <a:cubicBezTo>
                    <a:pt x="13" y="6"/>
                    <a:pt x="11" y="2"/>
                    <a:pt x="7" y="1"/>
                  </a:cubicBezTo>
                  <a:cubicBezTo>
                    <a:pt x="3" y="0"/>
                    <a:pt x="0" y="16"/>
                    <a:pt x="4" y="17"/>
                  </a:cubicBezTo>
                </a:path>
              </a:pathLst>
            </a:custGeom>
            <a:solidFill>
              <a:srgbClr val="D99C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72" name="Freeform 44"/>
            <p:cNvSpPr/>
            <p:nvPr userDrawn="1"/>
          </p:nvSpPr>
          <p:spPr bwMode="auto">
            <a:xfrm>
              <a:off x="5558631" y="2478088"/>
              <a:ext cx="160338" cy="195263"/>
            </a:xfrm>
            <a:custGeom>
              <a:avLst/>
              <a:gdLst>
                <a:gd name="T0" fmla="*/ 29 w 59"/>
                <a:gd name="T1" fmla="*/ 72 h 72"/>
                <a:gd name="T2" fmla="*/ 56 w 59"/>
                <a:gd name="T3" fmla="*/ 18 h 72"/>
                <a:gd name="T4" fmla="*/ 30 w 59"/>
                <a:gd name="T5" fmla="*/ 0 h 72"/>
                <a:gd name="T6" fmla="*/ 3 w 59"/>
                <a:gd name="T7" fmla="*/ 18 h 72"/>
                <a:gd name="T8" fmla="*/ 29 w 59"/>
                <a:gd name="T9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72">
                  <a:moveTo>
                    <a:pt x="29" y="72"/>
                  </a:moveTo>
                  <a:cubicBezTo>
                    <a:pt x="59" y="72"/>
                    <a:pt x="56" y="18"/>
                    <a:pt x="56" y="18"/>
                  </a:cubicBezTo>
                  <a:cubicBezTo>
                    <a:pt x="56" y="18"/>
                    <a:pt x="54" y="0"/>
                    <a:pt x="30" y="0"/>
                  </a:cubicBezTo>
                  <a:cubicBezTo>
                    <a:pt x="8" y="0"/>
                    <a:pt x="3" y="18"/>
                    <a:pt x="3" y="18"/>
                  </a:cubicBezTo>
                  <a:cubicBezTo>
                    <a:pt x="3" y="18"/>
                    <a:pt x="0" y="72"/>
                    <a:pt x="29" y="72"/>
                  </a:cubicBezTo>
                </a:path>
              </a:pathLst>
            </a:custGeom>
            <a:solidFill>
              <a:srgbClr val="D99C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73" name="Freeform 45"/>
            <p:cNvSpPr/>
            <p:nvPr userDrawn="1"/>
          </p:nvSpPr>
          <p:spPr bwMode="auto">
            <a:xfrm>
              <a:off x="5533231" y="2452688"/>
              <a:ext cx="207963" cy="120650"/>
            </a:xfrm>
            <a:custGeom>
              <a:avLst/>
              <a:gdLst>
                <a:gd name="T0" fmla="*/ 9 w 76"/>
                <a:gd name="T1" fmla="*/ 38 h 44"/>
                <a:gd name="T2" fmla="*/ 14 w 76"/>
                <a:gd name="T3" fmla="*/ 42 h 44"/>
                <a:gd name="T4" fmla="*/ 15 w 76"/>
                <a:gd name="T5" fmla="*/ 23 h 44"/>
                <a:gd name="T6" fmla="*/ 51 w 76"/>
                <a:gd name="T7" fmla="*/ 17 h 44"/>
                <a:gd name="T8" fmla="*/ 61 w 76"/>
                <a:gd name="T9" fmla="*/ 23 h 44"/>
                <a:gd name="T10" fmla="*/ 63 w 76"/>
                <a:gd name="T11" fmla="*/ 43 h 44"/>
                <a:gd name="T12" fmla="*/ 68 w 76"/>
                <a:gd name="T13" fmla="*/ 38 h 44"/>
                <a:gd name="T14" fmla="*/ 38 w 76"/>
                <a:gd name="T15" fmla="*/ 0 h 44"/>
                <a:gd name="T16" fmla="*/ 9 w 76"/>
                <a:gd name="T17" fmla="*/ 38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" h="44">
                  <a:moveTo>
                    <a:pt x="9" y="38"/>
                  </a:moveTo>
                  <a:cubicBezTo>
                    <a:pt x="11" y="37"/>
                    <a:pt x="14" y="42"/>
                    <a:pt x="14" y="42"/>
                  </a:cubicBezTo>
                  <a:cubicBezTo>
                    <a:pt x="14" y="42"/>
                    <a:pt x="14" y="25"/>
                    <a:pt x="15" y="23"/>
                  </a:cubicBezTo>
                  <a:cubicBezTo>
                    <a:pt x="23" y="7"/>
                    <a:pt x="33" y="35"/>
                    <a:pt x="51" y="17"/>
                  </a:cubicBezTo>
                  <a:cubicBezTo>
                    <a:pt x="59" y="14"/>
                    <a:pt x="61" y="23"/>
                    <a:pt x="61" y="23"/>
                  </a:cubicBezTo>
                  <a:cubicBezTo>
                    <a:pt x="61" y="23"/>
                    <a:pt x="63" y="44"/>
                    <a:pt x="63" y="43"/>
                  </a:cubicBezTo>
                  <a:cubicBezTo>
                    <a:pt x="64" y="38"/>
                    <a:pt x="68" y="38"/>
                    <a:pt x="68" y="38"/>
                  </a:cubicBezTo>
                  <a:cubicBezTo>
                    <a:pt x="68" y="38"/>
                    <a:pt x="76" y="0"/>
                    <a:pt x="38" y="0"/>
                  </a:cubicBezTo>
                  <a:cubicBezTo>
                    <a:pt x="0" y="0"/>
                    <a:pt x="9" y="37"/>
                    <a:pt x="9" y="3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74" name="Freeform 46"/>
            <p:cNvSpPr/>
            <p:nvPr userDrawn="1"/>
          </p:nvSpPr>
          <p:spPr bwMode="auto">
            <a:xfrm>
              <a:off x="5604668" y="2608263"/>
              <a:ext cx="31750" cy="19050"/>
            </a:xfrm>
            <a:custGeom>
              <a:avLst/>
              <a:gdLst>
                <a:gd name="T0" fmla="*/ 12 w 12"/>
                <a:gd name="T1" fmla="*/ 5 h 7"/>
                <a:gd name="T2" fmla="*/ 0 w 12"/>
                <a:gd name="T3" fmla="*/ 7 h 7"/>
                <a:gd name="T4" fmla="*/ 0 w 12"/>
                <a:gd name="T5" fmla="*/ 6 h 7"/>
                <a:gd name="T6" fmla="*/ 7 w 12"/>
                <a:gd name="T7" fmla="*/ 1 h 7"/>
                <a:gd name="T8" fmla="*/ 12 w 12"/>
                <a:gd name="T9" fmla="*/ 0 h 7"/>
                <a:gd name="T10" fmla="*/ 12 w 12"/>
                <a:gd name="T11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7">
                  <a:moveTo>
                    <a:pt x="12" y="5"/>
                  </a:moveTo>
                  <a:cubicBezTo>
                    <a:pt x="11" y="7"/>
                    <a:pt x="0" y="7"/>
                    <a:pt x="0" y="7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1" y="3"/>
                    <a:pt x="4" y="1"/>
                    <a:pt x="7" y="1"/>
                  </a:cubicBezTo>
                  <a:cubicBezTo>
                    <a:pt x="12" y="0"/>
                    <a:pt x="12" y="0"/>
                    <a:pt x="12" y="0"/>
                  </a:cubicBezTo>
                  <a:lnTo>
                    <a:pt x="12" y="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75" name="Freeform 47"/>
            <p:cNvSpPr/>
            <p:nvPr userDrawn="1"/>
          </p:nvSpPr>
          <p:spPr bwMode="auto">
            <a:xfrm>
              <a:off x="5636418" y="2608263"/>
              <a:ext cx="36513" cy="19050"/>
            </a:xfrm>
            <a:custGeom>
              <a:avLst/>
              <a:gdLst>
                <a:gd name="T0" fmla="*/ 0 w 13"/>
                <a:gd name="T1" fmla="*/ 5 h 7"/>
                <a:gd name="T2" fmla="*/ 13 w 13"/>
                <a:gd name="T3" fmla="*/ 7 h 7"/>
                <a:gd name="T4" fmla="*/ 13 w 13"/>
                <a:gd name="T5" fmla="*/ 5 h 7"/>
                <a:gd name="T6" fmla="*/ 6 w 13"/>
                <a:gd name="T7" fmla="*/ 0 h 7"/>
                <a:gd name="T8" fmla="*/ 0 w 13"/>
                <a:gd name="T9" fmla="*/ 0 h 7"/>
                <a:gd name="T10" fmla="*/ 0 w 13"/>
                <a:gd name="T11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7">
                  <a:moveTo>
                    <a:pt x="0" y="5"/>
                  </a:moveTo>
                  <a:cubicBezTo>
                    <a:pt x="2" y="7"/>
                    <a:pt x="13" y="7"/>
                    <a:pt x="13" y="7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2" y="2"/>
                    <a:pt x="9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76" name="Freeform 48"/>
            <p:cNvSpPr/>
            <p:nvPr userDrawn="1"/>
          </p:nvSpPr>
          <p:spPr bwMode="auto">
            <a:xfrm>
              <a:off x="5571331" y="2543176"/>
              <a:ext cx="65088" cy="30163"/>
            </a:xfrm>
            <a:custGeom>
              <a:avLst/>
              <a:gdLst>
                <a:gd name="T0" fmla="*/ 22 w 24"/>
                <a:gd name="T1" fmla="*/ 2 h 11"/>
                <a:gd name="T2" fmla="*/ 1 w 24"/>
                <a:gd name="T3" fmla="*/ 4 h 11"/>
                <a:gd name="T4" fmla="*/ 1 w 24"/>
                <a:gd name="T5" fmla="*/ 11 h 11"/>
                <a:gd name="T6" fmla="*/ 1 w 24"/>
                <a:gd name="T7" fmla="*/ 11 h 11"/>
                <a:gd name="T8" fmla="*/ 2 w 24"/>
                <a:gd name="T9" fmla="*/ 6 h 11"/>
                <a:gd name="T10" fmla="*/ 21 w 24"/>
                <a:gd name="T11" fmla="*/ 4 h 11"/>
                <a:gd name="T12" fmla="*/ 22 w 24"/>
                <a:gd name="T13" fmla="*/ 10 h 11"/>
                <a:gd name="T14" fmla="*/ 22 w 24"/>
                <a:gd name="T15" fmla="*/ 10 h 11"/>
                <a:gd name="T16" fmla="*/ 22 w 24"/>
                <a:gd name="T17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11">
                  <a:moveTo>
                    <a:pt x="22" y="2"/>
                  </a:moveTo>
                  <a:cubicBezTo>
                    <a:pt x="21" y="0"/>
                    <a:pt x="2" y="2"/>
                    <a:pt x="1" y="4"/>
                  </a:cubicBezTo>
                  <a:cubicBezTo>
                    <a:pt x="0" y="6"/>
                    <a:pt x="1" y="11"/>
                    <a:pt x="1" y="11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1" y="9"/>
                    <a:pt x="1" y="7"/>
                    <a:pt x="2" y="6"/>
                  </a:cubicBezTo>
                  <a:cubicBezTo>
                    <a:pt x="3" y="3"/>
                    <a:pt x="19" y="2"/>
                    <a:pt x="21" y="4"/>
                  </a:cubicBezTo>
                  <a:cubicBezTo>
                    <a:pt x="22" y="5"/>
                    <a:pt x="22" y="7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4" y="6"/>
                    <a:pt x="22" y="2"/>
                  </a:cubicBezTo>
                </a:path>
              </a:pathLst>
            </a:custGeom>
            <a:solidFill>
              <a:srgbClr val="4535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77" name="Freeform 49"/>
            <p:cNvSpPr/>
            <p:nvPr userDrawn="1"/>
          </p:nvSpPr>
          <p:spPr bwMode="auto">
            <a:xfrm>
              <a:off x="5574506" y="2551113"/>
              <a:ext cx="57150" cy="49213"/>
            </a:xfrm>
            <a:custGeom>
              <a:avLst/>
              <a:gdLst>
                <a:gd name="T0" fmla="*/ 15 w 21"/>
                <a:gd name="T1" fmla="*/ 0 h 18"/>
                <a:gd name="T2" fmla="*/ 15 w 21"/>
                <a:gd name="T3" fmla="*/ 0 h 18"/>
                <a:gd name="T4" fmla="*/ 1 w 21"/>
                <a:gd name="T5" fmla="*/ 3 h 18"/>
                <a:gd name="T6" fmla="*/ 1 w 21"/>
                <a:gd name="T7" fmla="*/ 3 h 18"/>
                <a:gd name="T8" fmla="*/ 1 w 21"/>
                <a:gd name="T9" fmla="*/ 3 h 18"/>
                <a:gd name="T10" fmla="*/ 0 w 21"/>
                <a:gd name="T11" fmla="*/ 6 h 18"/>
                <a:gd name="T12" fmla="*/ 0 w 21"/>
                <a:gd name="T13" fmla="*/ 8 h 18"/>
                <a:gd name="T14" fmla="*/ 6 w 21"/>
                <a:gd name="T15" fmla="*/ 17 h 18"/>
                <a:gd name="T16" fmla="*/ 9 w 21"/>
                <a:gd name="T17" fmla="*/ 18 h 18"/>
                <a:gd name="T18" fmla="*/ 21 w 21"/>
                <a:gd name="T19" fmla="*/ 7 h 18"/>
                <a:gd name="T20" fmla="*/ 21 w 21"/>
                <a:gd name="T21" fmla="*/ 4 h 18"/>
                <a:gd name="T22" fmla="*/ 20 w 21"/>
                <a:gd name="T23" fmla="*/ 1 h 18"/>
                <a:gd name="T24" fmla="*/ 20 w 21"/>
                <a:gd name="T25" fmla="*/ 1 h 18"/>
                <a:gd name="T26" fmla="*/ 15 w 21"/>
                <a:gd name="T27" fmla="*/ 0 h 18"/>
                <a:gd name="T28" fmla="*/ 15 w 21"/>
                <a:gd name="T2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" h="18">
                  <a:moveTo>
                    <a:pt x="1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9" y="0"/>
                    <a:pt x="2" y="1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0" y="5"/>
                    <a:pt x="0" y="6"/>
                  </a:cubicBezTo>
                  <a:cubicBezTo>
                    <a:pt x="0" y="7"/>
                    <a:pt x="0" y="7"/>
                    <a:pt x="0" y="8"/>
                  </a:cubicBezTo>
                  <a:cubicBezTo>
                    <a:pt x="1" y="11"/>
                    <a:pt x="2" y="16"/>
                    <a:pt x="6" y="17"/>
                  </a:cubicBezTo>
                  <a:cubicBezTo>
                    <a:pt x="7" y="18"/>
                    <a:pt x="8" y="18"/>
                    <a:pt x="9" y="18"/>
                  </a:cubicBezTo>
                  <a:cubicBezTo>
                    <a:pt x="16" y="18"/>
                    <a:pt x="20" y="12"/>
                    <a:pt x="21" y="7"/>
                  </a:cubicBezTo>
                  <a:cubicBezTo>
                    <a:pt x="21" y="6"/>
                    <a:pt x="21" y="5"/>
                    <a:pt x="21" y="4"/>
                  </a:cubicBezTo>
                  <a:cubicBezTo>
                    <a:pt x="21" y="2"/>
                    <a:pt x="21" y="1"/>
                    <a:pt x="20" y="1"/>
                  </a:cubicBezTo>
                  <a:cubicBezTo>
                    <a:pt x="20" y="1"/>
                    <a:pt x="20" y="1"/>
                    <a:pt x="20" y="1"/>
                  </a:cubicBezTo>
                  <a:cubicBezTo>
                    <a:pt x="20" y="0"/>
                    <a:pt x="18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</a:path>
              </a:pathLst>
            </a:custGeom>
            <a:solidFill>
              <a:srgbClr val="ECC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78" name="Freeform 50"/>
            <p:cNvSpPr>
              <a:spLocks noEditPoints="1"/>
            </p:cNvSpPr>
            <p:nvPr userDrawn="1"/>
          </p:nvSpPr>
          <p:spPr bwMode="auto">
            <a:xfrm>
              <a:off x="5574506" y="2551113"/>
              <a:ext cx="57150" cy="15875"/>
            </a:xfrm>
            <a:custGeom>
              <a:avLst/>
              <a:gdLst>
                <a:gd name="T0" fmla="*/ 1 w 21"/>
                <a:gd name="T1" fmla="*/ 3 h 6"/>
                <a:gd name="T2" fmla="*/ 1 w 21"/>
                <a:gd name="T3" fmla="*/ 3 h 6"/>
                <a:gd name="T4" fmla="*/ 0 w 21"/>
                <a:gd name="T5" fmla="*/ 6 h 6"/>
                <a:gd name="T6" fmla="*/ 1 w 21"/>
                <a:gd name="T7" fmla="*/ 3 h 6"/>
                <a:gd name="T8" fmla="*/ 1 w 21"/>
                <a:gd name="T9" fmla="*/ 3 h 6"/>
                <a:gd name="T10" fmla="*/ 20 w 21"/>
                <a:gd name="T11" fmla="*/ 1 h 6"/>
                <a:gd name="T12" fmla="*/ 20 w 21"/>
                <a:gd name="T13" fmla="*/ 1 h 6"/>
                <a:gd name="T14" fmla="*/ 21 w 21"/>
                <a:gd name="T15" fmla="*/ 4 h 6"/>
                <a:gd name="T16" fmla="*/ 20 w 21"/>
                <a:gd name="T17" fmla="*/ 1 h 6"/>
                <a:gd name="T18" fmla="*/ 20 w 21"/>
                <a:gd name="T19" fmla="*/ 1 h 6"/>
                <a:gd name="T20" fmla="*/ 15 w 21"/>
                <a:gd name="T21" fmla="*/ 0 h 6"/>
                <a:gd name="T22" fmla="*/ 1 w 21"/>
                <a:gd name="T23" fmla="*/ 3 h 6"/>
                <a:gd name="T24" fmla="*/ 15 w 21"/>
                <a:gd name="T25" fmla="*/ 0 h 6"/>
                <a:gd name="T26" fmla="*/ 15 w 21"/>
                <a:gd name="T27" fmla="*/ 0 h 6"/>
                <a:gd name="T28" fmla="*/ 15 w 21"/>
                <a:gd name="T29" fmla="*/ 0 h 6"/>
                <a:gd name="T30" fmla="*/ 15 w 21"/>
                <a:gd name="T31" fmla="*/ 0 h 6"/>
                <a:gd name="T32" fmla="*/ 15 w 21"/>
                <a:gd name="T3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1" h="6">
                  <a:moveTo>
                    <a:pt x="1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0" y="5"/>
                    <a:pt x="0" y="6"/>
                  </a:cubicBezTo>
                  <a:cubicBezTo>
                    <a:pt x="0" y="5"/>
                    <a:pt x="1" y="4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moveTo>
                    <a:pt x="20" y="1"/>
                  </a:moveTo>
                  <a:cubicBezTo>
                    <a:pt x="20" y="1"/>
                    <a:pt x="20" y="1"/>
                    <a:pt x="20" y="1"/>
                  </a:cubicBezTo>
                  <a:cubicBezTo>
                    <a:pt x="21" y="1"/>
                    <a:pt x="21" y="2"/>
                    <a:pt x="21" y="4"/>
                  </a:cubicBezTo>
                  <a:cubicBezTo>
                    <a:pt x="21" y="2"/>
                    <a:pt x="21" y="1"/>
                    <a:pt x="20" y="1"/>
                  </a:cubicBezTo>
                  <a:cubicBezTo>
                    <a:pt x="20" y="1"/>
                    <a:pt x="20" y="1"/>
                    <a:pt x="20" y="1"/>
                  </a:cubicBezTo>
                  <a:moveTo>
                    <a:pt x="15" y="0"/>
                  </a:moveTo>
                  <a:cubicBezTo>
                    <a:pt x="9" y="0"/>
                    <a:pt x="2" y="1"/>
                    <a:pt x="1" y="3"/>
                  </a:cubicBezTo>
                  <a:cubicBezTo>
                    <a:pt x="2" y="1"/>
                    <a:pt x="9" y="0"/>
                    <a:pt x="15" y="0"/>
                  </a:cubicBezTo>
                  <a:moveTo>
                    <a:pt x="1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79" name="Freeform 51"/>
            <p:cNvSpPr/>
            <p:nvPr userDrawn="1"/>
          </p:nvSpPr>
          <p:spPr bwMode="auto">
            <a:xfrm>
              <a:off x="5628481" y="2570163"/>
              <a:ext cx="6350" cy="7938"/>
            </a:xfrm>
            <a:custGeom>
              <a:avLst/>
              <a:gdLst>
                <a:gd name="T0" fmla="*/ 2 w 2"/>
                <a:gd name="T1" fmla="*/ 2 h 3"/>
                <a:gd name="T2" fmla="*/ 1 w 2"/>
                <a:gd name="T3" fmla="*/ 3 h 3"/>
                <a:gd name="T4" fmla="*/ 0 w 2"/>
                <a:gd name="T5" fmla="*/ 1 h 3"/>
                <a:gd name="T6" fmla="*/ 1 w 2"/>
                <a:gd name="T7" fmla="*/ 0 h 3"/>
                <a:gd name="T8" fmla="*/ 2 w 2"/>
                <a:gd name="T9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3">
                  <a:moveTo>
                    <a:pt x="2" y="2"/>
                  </a:moveTo>
                  <a:cubicBezTo>
                    <a:pt x="2" y="3"/>
                    <a:pt x="1" y="3"/>
                    <a:pt x="1" y="3"/>
                  </a:cubicBezTo>
                  <a:cubicBezTo>
                    <a:pt x="0" y="3"/>
                    <a:pt x="0" y="2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2" y="0"/>
                    <a:pt x="2" y="1"/>
                    <a:pt x="2" y="2"/>
                  </a:cubicBezTo>
                  <a:close/>
                </a:path>
              </a:pathLst>
            </a:custGeom>
            <a:solidFill>
              <a:srgbClr val="E8E8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80" name="Freeform 52"/>
            <p:cNvSpPr/>
            <p:nvPr userDrawn="1"/>
          </p:nvSpPr>
          <p:spPr bwMode="auto">
            <a:xfrm>
              <a:off x="5569743" y="2557463"/>
              <a:ext cx="4763" cy="7938"/>
            </a:xfrm>
            <a:custGeom>
              <a:avLst/>
              <a:gdLst>
                <a:gd name="T0" fmla="*/ 3 w 3"/>
                <a:gd name="T1" fmla="*/ 5 h 5"/>
                <a:gd name="T2" fmla="*/ 0 w 3"/>
                <a:gd name="T3" fmla="*/ 5 h 5"/>
                <a:gd name="T4" fmla="*/ 0 w 3"/>
                <a:gd name="T5" fmla="*/ 1 h 5"/>
                <a:gd name="T6" fmla="*/ 3 w 3"/>
                <a:gd name="T7" fmla="*/ 0 h 5"/>
                <a:gd name="T8" fmla="*/ 3 w 3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5">
                  <a:moveTo>
                    <a:pt x="3" y="5"/>
                  </a:moveTo>
                  <a:lnTo>
                    <a:pt x="0" y="5"/>
                  </a:lnTo>
                  <a:lnTo>
                    <a:pt x="0" y="1"/>
                  </a:lnTo>
                  <a:lnTo>
                    <a:pt x="3" y="0"/>
                  </a:lnTo>
                  <a:lnTo>
                    <a:pt x="3" y="5"/>
                  </a:lnTo>
                  <a:close/>
                </a:path>
              </a:pathLst>
            </a:custGeom>
            <a:solidFill>
              <a:srgbClr val="4535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81" name="Freeform 53"/>
            <p:cNvSpPr/>
            <p:nvPr userDrawn="1"/>
          </p:nvSpPr>
          <p:spPr bwMode="auto">
            <a:xfrm>
              <a:off x="5636418" y="2543176"/>
              <a:ext cx="68263" cy="30163"/>
            </a:xfrm>
            <a:custGeom>
              <a:avLst/>
              <a:gdLst>
                <a:gd name="T0" fmla="*/ 24 w 25"/>
                <a:gd name="T1" fmla="*/ 4 h 11"/>
                <a:gd name="T2" fmla="*/ 3 w 25"/>
                <a:gd name="T3" fmla="*/ 2 h 11"/>
                <a:gd name="T4" fmla="*/ 3 w 25"/>
                <a:gd name="T5" fmla="*/ 10 h 11"/>
                <a:gd name="T6" fmla="*/ 3 w 25"/>
                <a:gd name="T7" fmla="*/ 10 h 11"/>
                <a:gd name="T8" fmla="*/ 3 w 25"/>
                <a:gd name="T9" fmla="*/ 4 h 11"/>
                <a:gd name="T10" fmla="*/ 23 w 25"/>
                <a:gd name="T11" fmla="*/ 6 h 11"/>
                <a:gd name="T12" fmla="*/ 23 w 25"/>
                <a:gd name="T13" fmla="*/ 11 h 11"/>
                <a:gd name="T14" fmla="*/ 23 w 25"/>
                <a:gd name="T15" fmla="*/ 11 h 11"/>
                <a:gd name="T16" fmla="*/ 24 w 25"/>
                <a:gd name="T17" fmla="*/ 4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" h="11">
                  <a:moveTo>
                    <a:pt x="24" y="4"/>
                  </a:moveTo>
                  <a:cubicBezTo>
                    <a:pt x="23" y="2"/>
                    <a:pt x="4" y="0"/>
                    <a:pt x="3" y="2"/>
                  </a:cubicBezTo>
                  <a:cubicBezTo>
                    <a:pt x="0" y="6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2" y="7"/>
                    <a:pt x="3" y="5"/>
                    <a:pt x="3" y="4"/>
                  </a:cubicBezTo>
                  <a:cubicBezTo>
                    <a:pt x="6" y="2"/>
                    <a:pt x="22" y="4"/>
                    <a:pt x="23" y="6"/>
                  </a:cubicBezTo>
                  <a:cubicBezTo>
                    <a:pt x="23" y="7"/>
                    <a:pt x="23" y="9"/>
                    <a:pt x="23" y="11"/>
                  </a:cubicBezTo>
                  <a:cubicBezTo>
                    <a:pt x="23" y="11"/>
                    <a:pt x="23" y="11"/>
                    <a:pt x="23" y="11"/>
                  </a:cubicBezTo>
                  <a:cubicBezTo>
                    <a:pt x="23" y="11"/>
                    <a:pt x="25" y="6"/>
                    <a:pt x="24" y="4"/>
                  </a:cubicBezTo>
                </a:path>
              </a:pathLst>
            </a:custGeom>
            <a:solidFill>
              <a:srgbClr val="4535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82" name="Freeform 54"/>
            <p:cNvSpPr/>
            <p:nvPr userDrawn="1"/>
          </p:nvSpPr>
          <p:spPr bwMode="auto">
            <a:xfrm>
              <a:off x="5645943" y="2551113"/>
              <a:ext cx="53975" cy="49213"/>
            </a:xfrm>
            <a:custGeom>
              <a:avLst/>
              <a:gdLst>
                <a:gd name="T0" fmla="*/ 6 w 20"/>
                <a:gd name="T1" fmla="*/ 0 h 18"/>
                <a:gd name="T2" fmla="*/ 6 w 20"/>
                <a:gd name="T3" fmla="*/ 0 h 18"/>
                <a:gd name="T4" fmla="*/ 1 w 20"/>
                <a:gd name="T5" fmla="*/ 1 h 18"/>
                <a:gd name="T6" fmla="*/ 0 w 20"/>
                <a:gd name="T7" fmla="*/ 1 h 18"/>
                <a:gd name="T8" fmla="*/ 0 w 20"/>
                <a:gd name="T9" fmla="*/ 1 h 18"/>
                <a:gd name="T10" fmla="*/ 0 w 20"/>
                <a:gd name="T11" fmla="*/ 4 h 18"/>
                <a:gd name="T12" fmla="*/ 0 w 20"/>
                <a:gd name="T13" fmla="*/ 7 h 18"/>
                <a:gd name="T14" fmla="*/ 12 w 20"/>
                <a:gd name="T15" fmla="*/ 18 h 18"/>
                <a:gd name="T16" fmla="*/ 14 w 20"/>
                <a:gd name="T17" fmla="*/ 18 h 18"/>
                <a:gd name="T18" fmla="*/ 20 w 20"/>
                <a:gd name="T19" fmla="*/ 8 h 18"/>
                <a:gd name="T20" fmla="*/ 20 w 20"/>
                <a:gd name="T21" fmla="*/ 6 h 18"/>
                <a:gd name="T22" fmla="*/ 20 w 20"/>
                <a:gd name="T23" fmla="*/ 3 h 18"/>
                <a:gd name="T24" fmla="*/ 20 w 20"/>
                <a:gd name="T25" fmla="*/ 3 h 18"/>
                <a:gd name="T26" fmla="*/ 20 w 20"/>
                <a:gd name="T27" fmla="*/ 3 h 18"/>
                <a:gd name="T28" fmla="*/ 20 w 20"/>
                <a:gd name="T29" fmla="*/ 3 h 18"/>
                <a:gd name="T30" fmla="*/ 20 w 20"/>
                <a:gd name="T31" fmla="*/ 3 h 18"/>
                <a:gd name="T32" fmla="*/ 20 w 20"/>
                <a:gd name="T33" fmla="*/ 3 h 18"/>
                <a:gd name="T34" fmla="*/ 6 w 20"/>
                <a:gd name="T35" fmla="*/ 0 h 18"/>
                <a:gd name="T36" fmla="*/ 6 w 20"/>
                <a:gd name="T3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0" h="18"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1" y="0"/>
                    <a:pt x="1" y="1"/>
                  </a:cubicBezTo>
                  <a:cubicBezTo>
                    <a:pt x="1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4"/>
                  </a:cubicBezTo>
                  <a:cubicBezTo>
                    <a:pt x="0" y="5"/>
                    <a:pt x="0" y="6"/>
                    <a:pt x="0" y="7"/>
                  </a:cubicBezTo>
                  <a:cubicBezTo>
                    <a:pt x="1" y="12"/>
                    <a:pt x="5" y="18"/>
                    <a:pt x="12" y="18"/>
                  </a:cubicBezTo>
                  <a:cubicBezTo>
                    <a:pt x="13" y="18"/>
                    <a:pt x="14" y="18"/>
                    <a:pt x="14" y="18"/>
                  </a:cubicBezTo>
                  <a:cubicBezTo>
                    <a:pt x="19" y="16"/>
                    <a:pt x="20" y="11"/>
                    <a:pt x="20" y="8"/>
                  </a:cubicBezTo>
                  <a:cubicBezTo>
                    <a:pt x="20" y="7"/>
                    <a:pt x="20" y="7"/>
                    <a:pt x="20" y="6"/>
                  </a:cubicBezTo>
                  <a:cubicBezTo>
                    <a:pt x="20" y="5"/>
                    <a:pt x="20" y="4"/>
                    <a:pt x="20" y="3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19" y="1"/>
                    <a:pt x="11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</a:path>
              </a:pathLst>
            </a:custGeom>
            <a:solidFill>
              <a:srgbClr val="ECCE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83" name="Freeform 55"/>
            <p:cNvSpPr>
              <a:spLocks noEditPoints="1"/>
            </p:cNvSpPr>
            <p:nvPr userDrawn="1"/>
          </p:nvSpPr>
          <p:spPr bwMode="auto">
            <a:xfrm>
              <a:off x="5645943" y="2551113"/>
              <a:ext cx="53975" cy="15875"/>
            </a:xfrm>
            <a:custGeom>
              <a:avLst/>
              <a:gdLst>
                <a:gd name="T0" fmla="*/ 20 w 20"/>
                <a:gd name="T1" fmla="*/ 3 h 6"/>
                <a:gd name="T2" fmla="*/ 20 w 20"/>
                <a:gd name="T3" fmla="*/ 3 h 6"/>
                <a:gd name="T4" fmla="*/ 20 w 20"/>
                <a:gd name="T5" fmla="*/ 6 h 6"/>
                <a:gd name="T6" fmla="*/ 20 w 20"/>
                <a:gd name="T7" fmla="*/ 3 h 6"/>
                <a:gd name="T8" fmla="*/ 20 w 20"/>
                <a:gd name="T9" fmla="*/ 3 h 6"/>
                <a:gd name="T10" fmla="*/ 20 w 20"/>
                <a:gd name="T11" fmla="*/ 3 h 6"/>
                <a:gd name="T12" fmla="*/ 20 w 20"/>
                <a:gd name="T13" fmla="*/ 3 h 6"/>
                <a:gd name="T14" fmla="*/ 20 w 20"/>
                <a:gd name="T15" fmla="*/ 3 h 6"/>
                <a:gd name="T16" fmla="*/ 20 w 20"/>
                <a:gd name="T17" fmla="*/ 3 h 6"/>
                <a:gd name="T18" fmla="*/ 20 w 20"/>
                <a:gd name="T19" fmla="*/ 3 h 6"/>
                <a:gd name="T20" fmla="*/ 20 w 20"/>
                <a:gd name="T21" fmla="*/ 3 h 6"/>
                <a:gd name="T22" fmla="*/ 0 w 20"/>
                <a:gd name="T23" fmla="*/ 1 h 6"/>
                <a:gd name="T24" fmla="*/ 0 w 20"/>
                <a:gd name="T25" fmla="*/ 1 h 6"/>
                <a:gd name="T26" fmla="*/ 0 w 20"/>
                <a:gd name="T27" fmla="*/ 4 h 6"/>
                <a:gd name="T28" fmla="*/ 0 w 20"/>
                <a:gd name="T29" fmla="*/ 1 h 6"/>
                <a:gd name="T30" fmla="*/ 0 w 20"/>
                <a:gd name="T31" fmla="*/ 1 h 6"/>
                <a:gd name="T32" fmla="*/ 6 w 20"/>
                <a:gd name="T33" fmla="*/ 0 h 6"/>
                <a:gd name="T34" fmla="*/ 1 w 20"/>
                <a:gd name="T35" fmla="*/ 1 h 6"/>
                <a:gd name="T36" fmla="*/ 6 w 20"/>
                <a:gd name="T37" fmla="*/ 0 h 6"/>
                <a:gd name="T38" fmla="*/ 6 w 20"/>
                <a:gd name="T39" fmla="*/ 0 h 6"/>
                <a:gd name="T40" fmla="*/ 6 w 20"/>
                <a:gd name="T41" fmla="*/ 0 h 6"/>
                <a:gd name="T42" fmla="*/ 6 w 20"/>
                <a:gd name="T43" fmla="*/ 0 h 6"/>
                <a:gd name="T44" fmla="*/ 6 w 20"/>
                <a:gd name="T4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0" h="6">
                  <a:moveTo>
                    <a:pt x="20" y="3"/>
                  </a:moveTo>
                  <a:cubicBezTo>
                    <a:pt x="20" y="3"/>
                    <a:pt x="20" y="3"/>
                    <a:pt x="20" y="3"/>
                  </a:cubicBezTo>
                  <a:cubicBezTo>
                    <a:pt x="20" y="4"/>
                    <a:pt x="20" y="5"/>
                    <a:pt x="20" y="6"/>
                  </a:cubicBezTo>
                  <a:cubicBezTo>
                    <a:pt x="20" y="5"/>
                    <a:pt x="20" y="4"/>
                    <a:pt x="20" y="3"/>
                  </a:cubicBezTo>
                  <a:cubicBezTo>
                    <a:pt x="20" y="3"/>
                    <a:pt x="20" y="3"/>
                    <a:pt x="20" y="3"/>
                  </a:cubicBezTo>
                  <a:moveTo>
                    <a:pt x="20" y="3"/>
                  </a:moveTo>
                  <a:cubicBezTo>
                    <a:pt x="20" y="3"/>
                    <a:pt x="20" y="3"/>
                    <a:pt x="20" y="3"/>
                  </a:cubicBezTo>
                  <a:cubicBezTo>
                    <a:pt x="20" y="3"/>
                    <a:pt x="20" y="3"/>
                    <a:pt x="20" y="3"/>
                  </a:cubicBezTo>
                  <a:moveTo>
                    <a:pt x="20" y="3"/>
                  </a:moveTo>
                  <a:cubicBezTo>
                    <a:pt x="20" y="3"/>
                    <a:pt x="20" y="3"/>
                    <a:pt x="20" y="3"/>
                  </a:cubicBezTo>
                  <a:cubicBezTo>
                    <a:pt x="20" y="3"/>
                    <a:pt x="20" y="3"/>
                    <a:pt x="20" y="3"/>
                  </a:cubicBezTo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4"/>
                  </a:cubicBezTo>
                  <a:cubicBezTo>
                    <a:pt x="0" y="2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moveTo>
                    <a:pt x="6" y="0"/>
                  </a:moveTo>
                  <a:cubicBezTo>
                    <a:pt x="3" y="0"/>
                    <a:pt x="1" y="0"/>
                    <a:pt x="1" y="1"/>
                  </a:cubicBezTo>
                  <a:cubicBezTo>
                    <a:pt x="1" y="0"/>
                    <a:pt x="3" y="0"/>
                    <a:pt x="6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84" name="Freeform 56"/>
            <p:cNvSpPr/>
            <p:nvPr userDrawn="1"/>
          </p:nvSpPr>
          <p:spPr bwMode="auto">
            <a:xfrm>
              <a:off x="5639593" y="2566988"/>
              <a:ext cx="7938" cy="11113"/>
            </a:xfrm>
            <a:custGeom>
              <a:avLst/>
              <a:gdLst>
                <a:gd name="T0" fmla="*/ 1 w 3"/>
                <a:gd name="T1" fmla="*/ 3 h 4"/>
                <a:gd name="T2" fmla="*/ 2 w 3"/>
                <a:gd name="T3" fmla="*/ 4 h 4"/>
                <a:gd name="T4" fmla="*/ 3 w 3"/>
                <a:gd name="T5" fmla="*/ 2 h 4"/>
                <a:gd name="T6" fmla="*/ 1 w 3"/>
                <a:gd name="T7" fmla="*/ 1 h 4"/>
                <a:gd name="T8" fmla="*/ 1 w 3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4">
                  <a:moveTo>
                    <a:pt x="1" y="3"/>
                  </a:moveTo>
                  <a:cubicBezTo>
                    <a:pt x="1" y="4"/>
                    <a:pt x="2" y="4"/>
                    <a:pt x="2" y="4"/>
                  </a:cubicBezTo>
                  <a:cubicBezTo>
                    <a:pt x="3" y="4"/>
                    <a:pt x="3" y="3"/>
                    <a:pt x="3" y="2"/>
                  </a:cubicBezTo>
                  <a:cubicBezTo>
                    <a:pt x="2" y="1"/>
                    <a:pt x="2" y="0"/>
                    <a:pt x="1" y="1"/>
                  </a:cubicBezTo>
                  <a:cubicBezTo>
                    <a:pt x="1" y="1"/>
                    <a:pt x="0" y="2"/>
                    <a:pt x="1" y="3"/>
                  </a:cubicBezTo>
                  <a:close/>
                </a:path>
              </a:pathLst>
            </a:custGeom>
            <a:solidFill>
              <a:srgbClr val="E8E8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85" name="Freeform 57"/>
            <p:cNvSpPr/>
            <p:nvPr userDrawn="1"/>
          </p:nvSpPr>
          <p:spPr bwMode="auto">
            <a:xfrm>
              <a:off x="5703093" y="2557463"/>
              <a:ext cx="4763" cy="7938"/>
            </a:xfrm>
            <a:custGeom>
              <a:avLst/>
              <a:gdLst>
                <a:gd name="T0" fmla="*/ 0 w 3"/>
                <a:gd name="T1" fmla="*/ 5 h 5"/>
                <a:gd name="T2" fmla="*/ 3 w 3"/>
                <a:gd name="T3" fmla="*/ 5 h 5"/>
                <a:gd name="T4" fmla="*/ 3 w 3"/>
                <a:gd name="T5" fmla="*/ 1 h 5"/>
                <a:gd name="T6" fmla="*/ 0 w 3"/>
                <a:gd name="T7" fmla="*/ 0 h 5"/>
                <a:gd name="T8" fmla="*/ 0 w 3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5">
                  <a:moveTo>
                    <a:pt x="0" y="5"/>
                  </a:moveTo>
                  <a:lnTo>
                    <a:pt x="3" y="5"/>
                  </a:lnTo>
                  <a:lnTo>
                    <a:pt x="3" y="1"/>
                  </a:lnTo>
                  <a:lnTo>
                    <a:pt x="0" y="0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4535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86" name="Rectangle 58"/>
            <p:cNvSpPr>
              <a:spLocks noChangeArrowheads="1"/>
            </p:cNvSpPr>
            <p:nvPr userDrawn="1"/>
          </p:nvSpPr>
          <p:spPr bwMode="auto">
            <a:xfrm>
              <a:off x="5631656" y="2562226"/>
              <a:ext cx="14288" cy="4763"/>
            </a:xfrm>
            <a:prstGeom prst="rect">
              <a:avLst/>
            </a:prstGeom>
            <a:solidFill>
              <a:srgbClr val="4535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87" name="Rectangle 59"/>
            <p:cNvSpPr>
              <a:spLocks noChangeArrowheads="1"/>
            </p:cNvSpPr>
            <p:nvPr userDrawn="1"/>
          </p:nvSpPr>
          <p:spPr bwMode="auto">
            <a:xfrm>
              <a:off x="5631656" y="2554288"/>
              <a:ext cx="14288" cy="7938"/>
            </a:xfrm>
            <a:prstGeom prst="rect">
              <a:avLst/>
            </a:prstGeom>
            <a:solidFill>
              <a:srgbClr val="4535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88" name="Freeform 60"/>
            <p:cNvSpPr/>
            <p:nvPr userDrawn="1"/>
          </p:nvSpPr>
          <p:spPr bwMode="auto">
            <a:xfrm>
              <a:off x="5914231" y="3702051"/>
              <a:ext cx="187325" cy="61913"/>
            </a:xfrm>
            <a:custGeom>
              <a:avLst/>
              <a:gdLst>
                <a:gd name="T0" fmla="*/ 35 w 69"/>
                <a:gd name="T1" fmla="*/ 0 h 23"/>
                <a:gd name="T2" fmla="*/ 68 w 69"/>
                <a:gd name="T3" fmla="*/ 16 h 23"/>
                <a:gd name="T4" fmla="*/ 68 w 69"/>
                <a:gd name="T5" fmla="*/ 23 h 23"/>
                <a:gd name="T6" fmla="*/ 0 w 69"/>
                <a:gd name="T7" fmla="*/ 23 h 23"/>
                <a:gd name="T8" fmla="*/ 0 w 69"/>
                <a:gd name="T9" fmla="*/ 0 h 23"/>
                <a:gd name="T10" fmla="*/ 35 w 69"/>
                <a:gd name="T11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9" h="23">
                  <a:moveTo>
                    <a:pt x="35" y="0"/>
                  </a:moveTo>
                  <a:cubicBezTo>
                    <a:pt x="35" y="0"/>
                    <a:pt x="66" y="14"/>
                    <a:pt x="68" y="16"/>
                  </a:cubicBezTo>
                  <a:cubicBezTo>
                    <a:pt x="69" y="18"/>
                    <a:pt x="68" y="23"/>
                    <a:pt x="68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35" y="0"/>
                  </a:lnTo>
                  <a:close/>
                </a:path>
              </a:pathLst>
            </a:custGeom>
            <a:solidFill>
              <a:srgbClr val="2B2B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89" name="Freeform 61"/>
            <p:cNvSpPr/>
            <p:nvPr userDrawn="1"/>
          </p:nvSpPr>
          <p:spPr bwMode="auto">
            <a:xfrm>
              <a:off x="5726906" y="3702051"/>
              <a:ext cx="187325" cy="61913"/>
            </a:xfrm>
            <a:custGeom>
              <a:avLst/>
              <a:gdLst>
                <a:gd name="T0" fmla="*/ 34 w 69"/>
                <a:gd name="T1" fmla="*/ 0 h 23"/>
                <a:gd name="T2" fmla="*/ 1 w 69"/>
                <a:gd name="T3" fmla="*/ 16 h 23"/>
                <a:gd name="T4" fmla="*/ 1 w 69"/>
                <a:gd name="T5" fmla="*/ 23 h 23"/>
                <a:gd name="T6" fmla="*/ 69 w 69"/>
                <a:gd name="T7" fmla="*/ 23 h 23"/>
                <a:gd name="T8" fmla="*/ 69 w 69"/>
                <a:gd name="T9" fmla="*/ 0 h 23"/>
                <a:gd name="T10" fmla="*/ 34 w 69"/>
                <a:gd name="T11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9" h="23">
                  <a:moveTo>
                    <a:pt x="34" y="0"/>
                  </a:moveTo>
                  <a:cubicBezTo>
                    <a:pt x="34" y="0"/>
                    <a:pt x="3" y="14"/>
                    <a:pt x="1" y="16"/>
                  </a:cubicBezTo>
                  <a:cubicBezTo>
                    <a:pt x="0" y="18"/>
                    <a:pt x="1" y="23"/>
                    <a:pt x="1" y="23"/>
                  </a:cubicBezTo>
                  <a:cubicBezTo>
                    <a:pt x="69" y="23"/>
                    <a:pt x="69" y="23"/>
                    <a:pt x="69" y="23"/>
                  </a:cubicBezTo>
                  <a:cubicBezTo>
                    <a:pt x="69" y="0"/>
                    <a:pt x="69" y="0"/>
                    <a:pt x="69" y="0"/>
                  </a:cubicBezTo>
                  <a:lnTo>
                    <a:pt x="34" y="0"/>
                  </a:lnTo>
                  <a:close/>
                </a:path>
              </a:pathLst>
            </a:custGeom>
            <a:solidFill>
              <a:srgbClr val="2B2B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90" name="Freeform 62"/>
            <p:cNvSpPr/>
            <p:nvPr userDrawn="1"/>
          </p:nvSpPr>
          <p:spPr bwMode="auto">
            <a:xfrm>
              <a:off x="5772943" y="2954338"/>
              <a:ext cx="282575" cy="747713"/>
            </a:xfrm>
            <a:custGeom>
              <a:avLst/>
              <a:gdLst>
                <a:gd name="T0" fmla="*/ 0 w 178"/>
                <a:gd name="T1" fmla="*/ 85 h 471"/>
                <a:gd name="T2" fmla="*/ 27 w 178"/>
                <a:gd name="T3" fmla="*/ 471 h 471"/>
                <a:gd name="T4" fmla="*/ 89 w 178"/>
                <a:gd name="T5" fmla="*/ 471 h 471"/>
                <a:gd name="T6" fmla="*/ 149 w 178"/>
                <a:gd name="T7" fmla="*/ 471 h 471"/>
                <a:gd name="T8" fmla="*/ 178 w 178"/>
                <a:gd name="T9" fmla="*/ 85 h 471"/>
                <a:gd name="T10" fmla="*/ 161 w 178"/>
                <a:gd name="T11" fmla="*/ 0 h 471"/>
                <a:gd name="T12" fmla="*/ 17 w 178"/>
                <a:gd name="T13" fmla="*/ 0 h 471"/>
                <a:gd name="T14" fmla="*/ 0 w 178"/>
                <a:gd name="T15" fmla="*/ 85 h 4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8" h="471">
                  <a:moveTo>
                    <a:pt x="0" y="85"/>
                  </a:moveTo>
                  <a:lnTo>
                    <a:pt x="27" y="471"/>
                  </a:lnTo>
                  <a:lnTo>
                    <a:pt x="89" y="471"/>
                  </a:lnTo>
                  <a:lnTo>
                    <a:pt x="149" y="471"/>
                  </a:lnTo>
                  <a:lnTo>
                    <a:pt x="178" y="85"/>
                  </a:lnTo>
                  <a:lnTo>
                    <a:pt x="161" y="0"/>
                  </a:lnTo>
                  <a:lnTo>
                    <a:pt x="17" y="0"/>
                  </a:lnTo>
                  <a:lnTo>
                    <a:pt x="0" y="85"/>
                  </a:lnTo>
                  <a:close/>
                </a:path>
              </a:pathLst>
            </a:custGeom>
            <a:solidFill>
              <a:srgbClr val="333C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91" name="Rectangle 63"/>
            <p:cNvSpPr>
              <a:spLocks noChangeArrowheads="1"/>
            </p:cNvSpPr>
            <p:nvPr userDrawn="1"/>
          </p:nvSpPr>
          <p:spPr bwMode="auto">
            <a:xfrm>
              <a:off x="5884068" y="2524126"/>
              <a:ext cx="60325" cy="122238"/>
            </a:xfrm>
            <a:prstGeom prst="rect">
              <a:avLst/>
            </a:prstGeom>
            <a:solidFill>
              <a:srgbClr val="BD87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92" name="Freeform 64"/>
            <p:cNvSpPr/>
            <p:nvPr userDrawn="1"/>
          </p:nvSpPr>
          <p:spPr bwMode="auto">
            <a:xfrm>
              <a:off x="5696743" y="2774951"/>
              <a:ext cx="76200" cy="401638"/>
            </a:xfrm>
            <a:custGeom>
              <a:avLst/>
              <a:gdLst>
                <a:gd name="T0" fmla="*/ 23 w 28"/>
                <a:gd name="T1" fmla="*/ 129 h 148"/>
                <a:gd name="T2" fmla="*/ 26 w 28"/>
                <a:gd name="T3" fmla="*/ 125 h 148"/>
                <a:gd name="T4" fmla="*/ 20 w 28"/>
                <a:gd name="T5" fmla="*/ 117 h 148"/>
                <a:gd name="T6" fmla="*/ 20 w 28"/>
                <a:gd name="T7" fmla="*/ 117 h 148"/>
                <a:gd name="T8" fmla="*/ 20 w 28"/>
                <a:gd name="T9" fmla="*/ 117 h 148"/>
                <a:gd name="T10" fmla="*/ 22 w 28"/>
                <a:gd name="T11" fmla="*/ 50 h 148"/>
                <a:gd name="T12" fmla="*/ 22 w 28"/>
                <a:gd name="T13" fmla="*/ 37 h 148"/>
                <a:gd name="T14" fmla="*/ 27 w 28"/>
                <a:gd name="T15" fmla="*/ 5 h 148"/>
                <a:gd name="T16" fmla="*/ 6 w 28"/>
                <a:gd name="T17" fmla="*/ 0 h 148"/>
                <a:gd name="T18" fmla="*/ 0 w 28"/>
                <a:gd name="T19" fmla="*/ 39 h 148"/>
                <a:gd name="T20" fmla="*/ 6 w 28"/>
                <a:gd name="T21" fmla="*/ 116 h 148"/>
                <a:gd name="T22" fmla="*/ 1 w 28"/>
                <a:gd name="T23" fmla="*/ 135 h 148"/>
                <a:gd name="T24" fmla="*/ 15 w 28"/>
                <a:gd name="T25" fmla="*/ 148 h 148"/>
                <a:gd name="T26" fmla="*/ 28 w 28"/>
                <a:gd name="T27" fmla="*/ 136 h 148"/>
                <a:gd name="T28" fmla="*/ 23 w 28"/>
                <a:gd name="T29" fmla="*/ 129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148">
                  <a:moveTo>
                    <a:pt x="23" y="129"/>
                  </a:moveTo>
                  <a:cubicBezTo>
                    <a:pt x="23" y="129"/>
                    <a:pt x="25" y="128"/>
                    <a:pt x="26" y="125"/>
                  </a:cubicBezTo>
                  <a:cubicBezTo>
                    <a:pt x="26" y="122"/>
                    <a:pt x="20" y="117"/>
                    <a:pt x="20" y="117"/>
                  </a:cubicBezTo>
                  <a:cubicBezTo>
                    <a:pt x="20" y="117"/>
                    <a:pt x="20" y="117"/>
                    <a:pt x="20" y="117"/>
                  </a:cubicBezTo>
                  <a:cubicBezTo>
                    <a:pt x="20" y="117"/>
                    <a:pt x="20" y="117"/>
                    <a:pt x="20" y="117"/>
                  </a:cubicBezTo>
                  <a:cubicBezTo>
                    <a:pt x="22" y="50"/>
                    <a:pt x="22" y="50"/>
                    <a:pt x="22" y="50"/>
                  </a:cubicBezTo>
                  <a:cubicBezTo>
                    <a:pt x="22" y="37"/>
                    <a:pt x="22" y="37"/>
                    <a:pt x="22" y="37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6" y="116"/>
                    <a:pt x="6" y="116"/>
                    <a:pt x="6" y="116"/>
                  </a:cubicBezTo>
                  <a:cubicBezTo>
                    <a:pt x="6" y="124"/>
                    <a:pt x="0" y="131"/>
                    <a:pt x="1" y="135"/>
                  </a:cubicBezTo>
                  <a:cubicBezTo>
                    <a:pt x="5" y="140"/>
                    <a:pt x="10" y="148"/>
                    <a:pt x="15" y="148"/>
                  </a:cubicBezTo>
                  <a:cubicBezTo>
                    <a:pt x="19" y="146"/>
                    <a:pt x="25" y="143"/>
                    <a:pt x="28" y="136"/>
                  </a:cubicBezTo>
                  <a:cubicBezTo>
                    <a:pt x="27" y="132"/>
                    <a:pt x="23" y="129"/>
                    <a:pt x="23" y="129"/>
                  </a:cubicBezTo>
                  <a:close/>
                </a:path>
              </a:pathLst>
            </a:custGeom>
            <a:solidFill>
              <a:srgbClr val="FFB7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93" name="Freeform 65"/>
            <p:cNvSpPr/>
            <p:nvPr userDrawn="1"/>
          </p:nvSpPr>
          <p:spPr bwMode="auto">
            <a:xfrm>
              <a:off x="5703093" y="2774951"/>
              <a:ext cx="66675" cy="84138"/>
            </a:xfrm>
            <a:custGeom>
              <a:avLst/>
              <a:gdLst>
                <a:gd name="T0" fmla="*/ 42 w 42"/>
                <a:gd name="T1" fmla="*/ 8 h 53"/>
                <a:gd name="T2" fmla="*/ 36 w 42"/>
                <a:gd name="T3" fmla="*/ 53 h 53"/>
                <a:gd name="T4" fmla="*/ 0 w 42"/>
                <a:gd name="T5" fmla="*/ 44 h 53"/>
                <a:gd name="T6" fmla="*/ 6 w 42"/>
                <a:gd name="T7" fmla="*/ 0 h 53"/>
                <a:gd name="T8" fmla="*/ 42 w 42"/>
                <a:gd name="T9" fmla="*/ 8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53">
                  <a:moveTo>
                    <a:pt x="42" y="8"/>
                  </a:moveTo>
                  <a:lnTo>
                    <a:pt x="36" y="53"/>
                  </a:lnTo>
                  <a:lnTo>
                    <a:pt x="0" y="44"/>
                  </a:lnTo>
                  <a:lnTo>
                    <a:pt x="6" y="0"/>
                  </a:lnTo>
                  <a:lnTo>
                    <a:pt x="42" y="8"/>
                  </a:lnTo>
                  <a:close/>
                </a:path>
              </a:pathLst>
            </a:custGeom>
            <a:solidFill>
              <a:srgbClr val="C991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94" name="Freeform 66"/>
            <p:cNvSpPr/>
            <p:nvPr userDrawn="1"/>
          </p:nvSpPr>
          <p:spPr bwMode="auto">
            <a:xfrm>
              <a:off x="6058693" y="2782888"/>
              <a:ext cx="76200" cy="401638"/>
            </a:xfrm>
            <a:custGeom>
              <a:avLst/>
              <a:gdLst>
                <a:gd name="T0" fmla="*/ 5 w 28"/>
                <a:gd name="T1" fmla="*/ 128 h 148"/>
                <a:gd name="T2" fmla="*/ 3 w 28"/>
                <a:gd name="T3" fmla="*/ 124 h 148"/>
                <a:gd name="T4" fmla="*/ 8 w 28"/>
                <a:gd name="T5" fmla="*/ 116 h 148"/>
                <a:gd name="T6" fmla="*/ 9 w 28"/>
                <a:gd name="T7" fmla="*/ 116 h 148"/>
                <a:gd name="T8" fmla="*/ 8 w 28"/>
                <a:gd name="T9" fmla="*/ 116 h 148"/>
                <a:gd name="T10" fmla="*/ 6 w 28"/>
                <a:gd name="T11" fmla="*/ 50 h 148"/>
                <a:gd name="T12" fmla="*/ 6 w 28"/>
                <a:gd name="T13" fmla="*/ 36 h 148"/>
                <a:gd name="T14" fmla="*/ 2 w 28"/>
                <a:gd name="T15" fmla="*/ 5 h 148"/>
                <a:gd name="T16" fmla="*/ 23 w 28"/>
                <a:gd name="T17" fmla="*/ 0 h 148"/>
                <a:gd name="T18" fmla="*/ 28 w 28"/>
                <a:gd name="T19" fmla="*/ 39 h 148"/>
                <a:gd name="T20" fmla="*/ 22 w 28"/>
                <a:gd name="T21" fmla="*/ 116 h 148"/>
                <a:gd name="T22" fmla="*/ 27 w 28"/>
                <a:gd name="T23" fmla="*/ 135 h 148"/>
                <a:gd name="T24" fmla="*/ 14 w 28"/>
                <a:gd name="T25" fmla="*/ 148 h 148"/>
                <a:gd name="T26" fmla="*/ 0 w 28"/>
                <a:gd name="T27" fmla="*/ 136 h 148"/>
                <a:gd name="T28" fmla="*/ 5 w 28"/>
                <a:gd name="T29" fmla="*/ 12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148">
                  <a:moveTo>
                    <a:pt x="5" y="128"/>
                  </a:moveTo>
                  <a:cubicBezTo>
                    <a:pt x="5" y="128"/>
                    <a:pt x="3" y="127"/>
                    <a:pt x="3" y="124"/>
                  </a:cubicBezTo>
                  <a:cubicBezTo>
                    <a:pt x="2" y="121"/>
                    <a:pt x="8" y="116"/>
                    <a:pt x="8" y="116"/>
                  </a:cubicBezTo>
                  <a:cubicBezTo>
                    <a:pt x="8" y="116"/>
                    <a:pt x="8" y="116"/>
                    <a:pt x="9" y="116"/>
                  </a:cubicBezTo>
                  <a:cubicBezTo>
                    <a:pt x="8" y="116"/>
                    <a:pt x="8" y="116"/>
                    <a:pt x="8" y="116"/>
                  </a:cubicBezTo>
                  <a:cubicBezTo>
                    <a:pt x="6" y="50"/>
                    <a:pt x="6" y="50"/>
                    <a:pt x="6" y="50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8" y="39"/>
                    <a:pt x="28" y="39"/>
                    <a:pt x="28" y="39"/>
                  </a:cubicBezTo>
                  <a:cubicBezTo>
                    <a:pt x="22" y="116"/>
                    <a:pt x="22" y="116"/>
                    <a:pt x="22" y="116"/>
                  </a:cubicBezTo>
                  <a:cubicBezTo>
                    <a:pt x="22" y="123"/>
                    <a:pt x="28" y="131"/>
                    <a:pt x="27" y="135"/>
                  </a:cubicBezTo>
                  <a:cubicBezTo>
                    <a:pt x="24" y="139"/>
                    <a:pt x="18" y="148"/>
                    <a:pt x="14" y="148"/>
                  </a:cubicBezTo>
                  <a:cubicBezTo>
                    <a:pt x="9" y="146"/>
                    <a:pt x="3" y="142"/>
                    <a:pt x="0" y="136"/>
                  </a:cubicBezTo>
                  <a:cubicBezTo>
                    <a:pt x="1" y="132"/>
                    <a:pt x="5" y="128"/>
                    <a:pt x="5" y="128"/>
                  </a:cubicBezTo>
                  <a:close/>
                </a:path>
              </a:pathLst>
            </a:custGeom>
            <a:solidFill>
              <a:srgbClr val="FFB7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95" name="Freeform 67"/>
            <p:cNvSpPr/>
            <p:nvPr userDrawn="1"/>
          </p:nvSpPr>
          <p:spPr bwMode="auto">
            <a:xfrm>
              <a:off x="6063456" y="2782888"/>
              <a:ext cx="65088" cy="84138"/>
            </a:xfrm>
            <a:custGeom>
              <a:avLst/>
              <a:gdLst>
                <a:gd name="T0" fmla="*/ 0 w 41"/>
                <a:gd name="T1" fmla="*/ 8 h 53"/>
                <a:gd name="T2" fmla="*/ 7 w 41"/>
                <a:gd name="T3" fmla="*/ 53 h 53"/>
                <a:gd name="T4" fmla="*/ 41 w 41"/>
                <a:gd name="T5" fmla="*/ 44 h 53"/>
                <a:gd name="T6" fmla="*/ 36 w 41"/>
                <a:gd name="T7" fmla="*/ 0 h 53"/>
                <a:gd name="T8" fmla="*/ 0 w 41"/>
                <a:gd name="T9" fmla="*/ 8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53">
                  <a:moveTo>
                    <a:pt x="0" y="8"/>
                  </a:moveTo>
                  <a:lnTo>
                    <a:pt x="7" y="53"/>
                  </a:lnTo>
                  <a:lnTo>
                    <a:pt x="41" y="44"/>
                  </a:lnTo>
                  <a:lnTo>
                    <a:pt x="36" y="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C991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96" name="Freeform 68"/>
            <p:cNvSpPr/>
            <p:nvPr userDrawn="1"/>
          </p:nvSpPr>
          <p:spPr bwMode="auto">
            <a:xfrm>
              <a:off x="5696743" y="2586038"/>
              <a:ext cx="431800" cy="482600"/>
            </a:xfrm>
            <a:custGeom>
              <a:avLst/>
              <a:gdLst>
                <a:gd name="T0" fmla="*/ 155 w 159"/>
                <a:gd name="T1" fmla="*/ 57 h 177"/>
                <a:gd name="T2" fmla="*/ 145 w 159"/>
                <a:gd name="T3" fmla="*/ 18 h 177"/>
                <a:gd name="T4" fmla="*/ 93 w 159"/>
                <a:gd name="T5" fmla="*/ 1 h 177"/>
                <a:gd name="T6" fmla="*/ 81 w 159"/>
                <a:gd name="T7" fmla="*/ 17 h 177"/>
                <a:gd name="T8" fmla="*/ 68 w 159"/>
                <a:gd name="T9" fmla="*/ 1 h 177"/>
                <a:gd name="T10" fmla="*/ 16 w 159"/>
                <a:gd name="T11" fmla="*/ 18 h 177"/>
                <a:gd name="T12" fmla="*/ 7 w 159"/>
                <a:gd name="T13" fmla="*/ 58 h 177"/>
                <a:gd name="T14" fmla="*/ 7 w 159"/>
                <a:gd name="T15" fmla="*/ 58 h 177"/>
                <a:gd name="T16" fmla="*/ 7 w 159"/>
                <a:gd name="T17" fmla="*/ 58 h 177"/>
                <a:gd name="T18" fmla="*/ 7 w 159"/>
                <a:gd name="T19" fmla="*/ 58 h 177"/>
                <a:gd name="T20" fmla="*/ 0 w 159"/>
                <a:gd name="T21" fmla="*/ 90 h 177"/>
                <a:gd name="T22" fmla="*/ 28 w 159"/>
                <a:gd name="T23" fmla="*/ 97 h 177"/>
                <a:gd name="T24" fmla="*/ 32 w 159"/>
                <a:gd name="T25" fmla="*/ 58 h 177"/>
                <a:gd name="T26" fmla="*/ 32 w 159"/>
                <a:gd name="T27" fmla="*/ 58 h 177"/>
                <a:gd name="T28" fmla="*/ 30 w 159"/>
                <a:gd name="T29" fmla="*/ 173 h 177"/>
                <a:gd name="T30" fmla="*/ 132 w 159"/>
                <a:gd name="T31" fmla="*/ 177 h 177"/>
                <a:gd name="T32" fmla="*/ 129 w 159"/>
                <a:gd name="T33" fmla="*/ 58 h 177"/>
                <a:gd name="T34" fmla="*/ 129 w 159"/>
                <a:gd name="T35" fmla="*/ 58 h 177"/>
                <a:gd name="T36" fmla="*/ 135 w 159"/>
                <a:gd name="T37" fmla="*/ 100 h 177"/>
                <a:gd name="T38" fmla="*/ 159 w 159"/>
                <a:gd name="T39" fmla="*/ 96 h 177"/>
                <a:gd name="T40" fmla="*/ 155 w 159"/>
                <a:gd name="T41" fmla="*/ 57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59" h="177">
                  <a:moveTo>
                    <a:pt x="155" y="57"/>
                  </a:moveTo>
                  <a:cubicBezTo>
                    <a:pt x="154" y="30"/>
                    <a:pt x="145" y="18"/>
                    <a:pt x="145" y="18"/>
                  </a:cubicBezTo>
                  <a:cubicBezTo>
                    <a:pt x="144" y="9"/>
                    <a:pt x="94" y="0"/>
                    <a:pt x="93" y="1"/>
                  </a:cubicBezTo>
                  <a:cubicBezTo>
                    <a:pt x="81" y="17"/>
                    <a:pt x="81" y="17"/>
                    <a:pt x="81" y="17"/>
                  </a:cubicBezTo>
                  <a:cubicBezTo>
                    <a:pt x="68" y="1"/>
                    <a:pt x="68" y="1"/>
                    <a:pt x="68" y="1"/>
                  </a:cubicBezTo>
                  <a:cubicBezTo>
                    <a:pt x="68" y="0"/>
                    <a:pt x="17" y="9"/>
                    <a:pt x="16" y="18"/>
                  </a:cubicBezTo>
                  <a:cubicBezTo>
                    <a:pt x="16" y="18"/>
                    <a:pt x="11" y="29"/>
                    <a:pt x="7" y="58"/>
                  </a:cubicBezTo>
                  <a:cubicBezTo>
                    <a:pt x="7" y="58"/>
                    <a:pt x="7" y="58"/>
                    <a:pt x="7" y="58"/>
                  </a:cubicBezTo>
                  <a:cubicBezTo>
                    <a:pt x="7" y="58"/>
                    <a:pt x="7" y="58"/>
                    <a:pt x="7" y="58"/>
                  </a:cubicBezTo>
                  <a:cubicBezTo>
                    <a:pt x="7" y="58"/>
                    <a:pt x="7" y="58"/>
                    <a:pt x="7" y="58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28" y="97"/>
                    <a:pt x="28" y="97"/>
                    <a:pt x="28" y="97"/>
                  </a:cubicBezTo>
                  <a:cubicBezTo>
                    <a:pt x="32" y="58"/>
                    <a:pt x="32" y="58"/>
                    <a:pt x="32" y="58"/>
                  </a:cubicBezTo>
                  <a:cubicBezTo>
                    <a:pt x="32" y="58"/>
                    <a:pt x="32" y="58"/>
                    <a:pt x="32" y="58"/>
                  </a:cubicBezTo>
                  <a:cubicBezTo>
                    <a:pt x="30" y="173"/>
                    <a:pt x="30" y="173"/>
                    <a:pt x="30" y="173"/>
                  </a:cubicBezTo>
                  <a:cubicBezTo>
                    <a:pt x="132" y="177"/>
                    <a:pt x="132" y="177"/>
                    <a:pt x="132" y="177"/>
                  </a:cubicBezTo>
                  <a:cubicBezTo>
                    <a:pt x="129" y="58"/>
                    <a:pt x="129" y="58"/>
                    <a:pt x="129" y="58"/>
                  </a:cubicBezTo>
                  <a:cubicBezTo>
                    <a:pt x="129" y="58"/>
                    <a:pt x="129" y="58"/>
                    <a:pt x="129" y="58"/>
                  </a:cubicBezTo>
                  <a:cubicBezTo>
                    <a:pt x="135" y="100"/>
                    <a:pt x="135" y="100"/>
                    <a:pt x="135" y="100"/>
                  </a:cubicBezTo>
                  <a:cubicBezTo>
                    <a:pt x="159" y="96"/>
                    <a:pt x="159" y="96"/>
                    <a:pt x="159" y="96"/>
                  </a:cubicBezTo>
                  <a:lnTo>
                    <a:pt x="155" y="57"/>
                  </a:lnTo>
                  <a:close/>
                </a:path>
              </a:pathLst>
            </a:custGeom>
            <a:solidFill>
              <a:srgbClr val="77A7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97" name="Freeform 69"/>
            <p:cNvSpPr/>
            <p:nvPr userDrawn="1"/>
          </p:nvSpPr>
          <p:spPr bwMode="auto">
            <a:xfrm>
              <a:off x="5818981" y="2397126"/>
              <a:ext cx="198438" cy="141288"/>
            </a:xfrm>
            <a:custGeom>
              <a:avLst/>
              <a:gdLst>
                <a:gd name="T0" fmla="*/ 4 w 73"/>
                <a:gd name="T1" fmla="*/ 12 h 52"/>
                <a:gd name="T2" fmla="*/ 18 w 73"/>
                <a:gd name="T3" fmla="*/ 52 h 52"/>
                <a:gd name="T4" fmla="*/ 53 w 73"/>
                <a:gd name="T5" fmla="*/ 52 h 52"/>
                <a:gd name="T6" fmla="*/ 66 w 73"/>
                <a:gd name="T7" fmla="*/ 12 h 52"/>
                <a:gd name="T8" fmla="*/ 38 w 73"/>
                <a:gd name="T9" fmla="*/ 0 h 52"/>
                <a:gd name="T10" fmla="*/ 4 w 73"/>
                <a:gd name="T11" fmla="*/ 1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3" h="52">
                  <a:moveTo>
                    <a:pt x="4" y="12"/>
                  </a:moveTo>
                  <a:cubicBezTo>
                    <a:pt x="0" y="21"/>
                    <a:pt x="10" y="52"/>
                    <a:pt x="18" y="52"/>
                  </a:cubicBezTo>
                  <a:cubicBezTo>
                    <a:pt x="25" y="52"/>
                    <a:pt x="45" y="52"/>
                    <a:pt x="53" y="52"/>
                  </a:cubicBezTo>
                  <a:cubicBezTo>
                    <a:pt x="60" y="52"/>
                    <a:pt x="73" y="19"/>
                    <a:pt x="66" y="12"/>
                  </a:cubicBezTo>
                  <a:cubicBezTo>
                    <a:pt x="58" y="7"/>
                    <a:pt x="38" y="0"/>
                    <a:pt x="38" y="0"/>
                  </a:cubicBezTo>
                  <a:cubicBezTo>
                    <a:pt x="38" y="0"/>
                    <a:pt x="11" y="7"/>
                    <a:pt x="4" y="12"/>
                  </a:cubicBezTo>
                  <a:close/>
                </a:path>
              </a:pathLst>
            </a:custGeom>
            <a:solidFill>
              <a:srgbClr val="6650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98" name="Freeform 70"/>
            <p:cNvSpPr/>
            <p:nvPr userDrawn="1"/>
          </p:nvSpPr>
          <p:spPr bwMode="auto">
            <a:xfrm>
              <a:off x="5814218" y="2428876"/>
              <a:ext cx="38100" cy="52388"/>
            </a:xfrm>
            <a:custGeom>
              <a:avLst/>
              <a:gdLst>
                <a:gd name="T0" fmla="*/ 10 w 14"/>
                <a:gd name="T1" fmla="*/ 18 h 19"/>
                <a:gd name="T2" fmla="*/ 1 w 14"/>
                <a:gd name="T3" fmla="*/ 11 h 19"/>
                <a:gd name="T4" fmla="*/ 7 w 14"/>
                <a:gd name="T5" fmla="*/ 1 h 19"/>
                <a:gd name="T6" fmla="*/ 10 w 14"/>
                <a:gd name="T7" fmla="*/ 1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19">
                  <a:moveTo>
                    <a:pt x="10" y="18"/>
                  </a:moveTo>
                  <a:cubicBezTo>
                    <a:pt x="6" y="19"/>
                    <a:pt x="2" y="16"/>
                    <a:pt x="1" y="11"/>
                  </a:cubicBezTo>
                  <a:cubicBezTo>
                    <a:pt x="0" y="7"/>
                    <a:pt x="3" y="2"/>
                    <a:pt x="7" y="1"/>
                  </a:cubicBezTo>
                  <a:cubicBezTo>
                    <a:pt x="11" y="0"/>
                    <a:pt x="14" y="17"/>
                    <a:pt x="10" y="18"/>
                  </a:cubicBezTo>
                  <a:close/>
                </a:path>
              </a:pathLst>
            </a:custGeom>
            <a:solidFill>
              <a:srgbClr val="FFB7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99" name="Freeform 71"/>
            <p:cNvSpPr/>
            <p:nvPr userDrawn="1"/>
          </p:nvSpPr>
          <p:spPr bwMode="auto">
            <a:xfrm>
              <a:off x="5977731" y="2428876"/>
              <a:ext cx="38100" cy="52388"/>
            </a:xfrm>
            <a:custGeom>
              <a:avLst/>
              <a:gdLst>
                <a:gd name="T0" fmla="*/ 4 w 14"/>
                <a:gd name="T1" fmla="*/ 18 h 19"/>
                <a:gd name="T2" fmla="*/ 13 w 14"/>
                <a:gd name="T3" fmla="*/ 11 h 19"/>
                <a:gd name="T4" fmla="*/ 7 w 14"/>
                <a:gd name="T5" fmla="*/ 1 h 19"/>
                <a:gd name="T6" fmla="*/ 4 w 14"/>
                <a:gd name="T7" fmla="*/ 1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19">
                  <a:moveTo>
                    <a:pt x="4" y="18"/>
                  </a:moveTo>
                  <a:cubicBezTo>
                    <a:pt x="8" y="19"/>
                    <a:pt x="12" y="16"/>
                    <a:pt x="13" y="11"/>
                  </a:cubicBezTo>
                  <a:cubicBezTo>
                    <a:pt x="14" y="7"/>
                    <a:pt x="11" y="2"/>
                    <a:pt x="7" y="1"/>
                  </a:cubicBezTo>
                  <a:cubicBezTo>
                    <a:pt x="3" y="0"/>
                    <a:pt x="0" y="17"/>
                    <a:pt x="4" y="18"/>
                  </a:cubicBezTo>
                  <a:close/>
                </a:path>
              </a:pathLst>
            </a:custGeom>
            <a:solidFill>
              <a:srgbClr val="FFB7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00" name="Freeform 72"/>
            <p:cNvSpPr/>
            <p:nvPr userDrawn="1"/>
          </p:nvSpPr>
          <p:spPr bwMode="auto">
            <a:xfrm>
              <a:off x="5826918" y="2347913"/>
              <a:ext cx="177800" cy="214313"/>
            </a:xfrm>
            <a:custGeom>
              <a:avLst/>
              <a:gdLst>
                <a:gd name="T0" fmla="*/ 32 w 65"/>
                <a:gd name="T1" fmla="*/ 79 h 79"/>
                <a:gd name="T2" fmla="*/ 61 w 65"/>
                <a:gd name="T3" fmla="*/ 20 h 79"/>
                <a:gd name="T4" fmla="*/ 33 w 65"/>
                <a:gd name="T5" fmla="*/ 0 h 79"/>
                <a:gd name="T6" fmla="*/ 4 w 65"/>
                <a:gd name="T7" fmla="*/ 20 h 79"/>
                <a:gd name="T8" fmla="*/ 32 w 65"/>
                <a:gd name="T9" fmla="*/ 7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5" h="79">
                  <a:moveTo>
                    <a:pt x="32" y="79"/>
                  </a:moveTo>
                  <a:cubicBezTo>
                    <a:pt x="65" y="79"/>
                    <a:pt x="61" y="20"/>
                    <a:pt x="61" y="20"/>
                  </a:cubicBezTo>
                  <a:cubicBezTo>
                    <a:pt x="61" y="20"/>
                    <a:pt x="60" y="0"/>
                    <a:pt x="33" y="0"/>
                  </a:cubicBezTo>
                  <a:cubicBezTo>
                    <a:pt x="10" y="0"/>
                    <a:pt x="4" y="20"/>
                    <a:pt x="4" y="20"/>
                  </a:cubicBezTo>
                  <a:cubicBezTo>
                    <a:pt x="4" y="20"/>
                    <a:pt x="0" y="79"/>
                    <a:pt x="32" y="79"/>
                  </a:cubicBezTo>
                  <a:close/>
                </a:path>
              </a:pathLst>
            </a:custGeom>
            <a:solidFill>
              <a:srgbClr val="FFB7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01" name="Freeform 73"/>
            <p:cNvSpPr/>
            <p:nvPr userDrawn="1"/>
          </p:nvSpPr>
          <p:spPr bwMode="auto">
            <a:xfrm>
              <a:off x="5803106" y="2322513"/>
              <a:ext cx="225425" cy="128588"/>
            </a:xfrm>
            <a:custGeom>
              <a:avLst/>
              <a:gdLst>
                <a:gd name="T0" fmla="*/ 9 w 83"/>
                <a:gd name="T1" fmla="*/ 41 h 47"/>
                <a:gd name="T2" fmla="*/ 15 w 83"/>
                <a:gd name="T3" fmla="*/ 46 h 47"/>
                <a:gd name="T4" fmla="*/ 16 w 83"/>
                <a:gd name="T5" fmla="*/ 25 h 47"/>
                <a:gd name="T6" fmla="*/ 55 w 83"/>
                <a:gd name="T7" fmla="*/ 18 h 47"/>
                <a:gd name="T8" fmla="*/ 66 w 83"/>
                <a:gd name="T9" fmla="*/ 25 h 47"/>
                <a:gd name="T10" fmla="*/ 68 w 83"/>
                <a:gd name="T11" fmla="*/ 47 h 47"/>
                <a:gd name="T12" fmla="*/ 74 w 83"/>
                <a:gd name="T13" fmla="*/ 41 h 47"/>
                <a:gd name="T14" fmla="*/ 42 w 83"/>
                <a:gd name="T15" fmla="*/ 0 h 47"/>
                <a:gd name="T16" fmla="*/ 9 w 83"/>
                <a:gd name="T17" fmla="*/ 41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3" h="47">
                  <a:moveTo>
                    <a:pt x="9" y="41"/>
                  </a:moveTo>
                  <a:cubicBezTo>
                    <a:pt x="12" y="40"/>
                    <a:pt x="15" y="46"/>
                    <a:pt x="15" y="46"/>
                  </a:cubicBezTo>
                  <a:cubicBezTo>
                    <a:pt x="16" y="25"/>
                    <a:pt x="16" y="25"/>
                    <a:pt x="16" y="25"/>
                  </a:cubicBezTo>
                  <a:cubicBezTo>
                    <a:pt x="16" y="25"/>
                    <a:pt x="49" y="31"/>
                    <a:pt x="55" y="18"/>
                  </a:cubicBezTo>
                  <a:cubicBezTo>
                    <a:pt x="64" y="15"/>
                    <a:pt x="66" y="25"/>
                    <a:pt x="66" y="25"/>
                  </a:cubicBezTo>
                  <a:cubicBezTo>
                    <a:pt x="66" y="25"/>
                    <a:pt x="68" y="47"/>
                    <a:pt x="68" y="47"/>
                  </a:cubicBezTo>
                  <a:cubicBezTo>
                    <a:pt x="70" y="41"/>
                    <a:pt x="74" y="41"/>
                    <a:pt x="74" y="41"/>
                  </a:cubicBezTo>
                  <a:cubicBezTo>
                    <a:pt x="74" y="41"/>
                    <a:pt x="83" y="0"/>
                    <a:pt x="42" y="0"/>
                  </a:cubicBezTo>
                  <a:cubicBezTo>
                    <a:pt x="0" y="0"/>
                    <a:pt x="9" y="40"/>
                    <a:pt x="9" y="41"/>
                  </a:cubicBezTo>
                  <a:close/>
                </a:path>
              </a:pathLst>
            </a:custGeom>
            <a:solidFill>
              <a:srgbClr val="6650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02" name="Freeform 74"/>
            <p:cNvSpPr/>
            <p:nvPr userDrawn="1"/>
          </p:nvSpPr>
          <p:spPr bwMode="auto">
            <a:xfrm>
              <a:off x="6390481" y="3717926"/>
              <a:ext cx="138113" cy="46038"/>
            </a:xfrm>
            <a:custGeom>
              <a:avLst/>
              <a:gdLst>
                <a:gd name="T0" fmla="*/ 26 w 51"/>
                <a:gd name="T1" fmla="*/ 0 h 17"/>
                <a:gd name="T2" fmla="*/ 50 w 51"/>
                <a:gd name="T3" fmla="*/ 12 h 17"/>
                <a:gd name="T4" fmla="*/ 50 w 51"/>
                <a:gd name="T5" fmla="*/ 17 h 17"/>
                <a:gd name="T6" fmla="*/ 0 w 51"/>
                <a:gd name="T7" fmla="*/ 17 h 17"/>
                <a:gd name="T8" fmla="*/ 0 w 51"/>
                <a:gd name="T9" fmla="*/ 0 h 17"/>
                <a:gd name="T10" fmla="*/ 26 w 51"/>
                <a:gd name="T11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1" h="17">
                  <a:moveTo>
                    <a:pt x="26" y="0"/>
                  </a:moveTo>
                  <a:cubicBezTo>
                    <a:pt x="26" y="0"/>
                    <a:pt x="49" y="10"/>
                    <a:pt x="50" y="12"/>
                  </a:cubicBezTo>
                  <a:cubicBezTo>
                    <a:pt x="51" y="13"/>
                    <a:pt x="50" y="17"/>
                    <a:pt x="50" y="1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6" y="0"/>
                  </a:lnTo>
                  <a:close/>
                </a:path>
              </a:pathLst>
            </a:custGeom>
            <a:solidFill>
              <a:srgbClr val="E6E6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03" name="Freeform 75"/>
            <p:cNvSpPr/>
            <p:nvPr userDrawn="1"/>
          </p:nvSpPr>
          <p:spPr bwMode="auto">
            <a:xfrm>
              <a:off x="6252368" y="3717926"/>
              <a:ext cx="138113" cy="46038"/>
            </a:xfrm>
            <a:custGeom>
              <a:avLst/>
              <a:gdLst>
                <a:gd name="T0" fmla="*/ 25 w 51"/>
                <a:gd name="T1" fmla="*/ 0 h 17"/>
                <a:gd name="T2" fmla="*/ 1 w 51"/>
                <a:gd name="T3" fmla="*/ 12 h 17"/>
                <a:gd name="T4" fmla="*/ 1 w 51"/>
                <a:gd name="T5" fmla="*/ 17 h 17"/>
                <a:gd name="T6" fmla="*/ 51 w 51"/>
                <a:gd name="T7" fmla="*/ 17 h 17"/>
                <a:gd name="T8" fmla="*/ 51 w 51"/>
                <a:gd name="T9" fmla="*/ 0 h 17"/>
                <a:gd name="T10" fmla="*/ 25 w 51"/>
                <a:gd name="T11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1" h="17">
                  <a:moveTo>
                    <a:pt x="25" y="0"/>
                  </a:moveTo>
                  <a:cubicBezTo>
                    <a:pt x="25" y="0"/>
                    <a:pt x="2" y="10"/>
                    <a:pt x="1" y="12"/>
                  </a:cubicBezTo>
                  <a:cubicBezTo>
                    <a:pt x="0" y="13"/>
                    <a:pt x="1" y="17"/>
                    <a:pt x="1" y="17"/>
                  </a:cubicBezTo>
                  <a:cubicBezTo>
                    <a:pt x="51" y="17"/>
                    <a:pt x="51" y="17"/>
                    <a:pt x="51" y="17"/>
                  </a:cubicBezTo>
                  <a:cubicBezTo>
                    <a:pt x="51" y="0"/>
                    <a:pt x="51" y="0"/>
                    <a:pt x="51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E6E6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04" name="Freeform 76"/>
            <p:cNvSpPr/>
            <p:nvPr userDrawn="1"/>
          </p:nvSpPr>
          <p:spPr bwMode="auto">
            <a:xfrm>
              <a:off x="6246018" y="3027363"/>
              <a:ext cx="296863" cy="690563"/>
            </a:xfrm>
            <a:custGeom>
              <a:avLst/>
              <a:gdLst>
                <a:gd name="T0" fmla="*/ 0 w 187"/>
                <a:gd name="T1" fmla="*/ 79 h 435"/>
                <a:gd name="T2" fmla="*/ 46 w 187"/>
                <a:gd name="T3" fmla="*/ 435 h 435"/>
                <a:gd name="T4" fmla="*/ 91 w 187"/>
                <a:gd name="T5" fmla="*/ 435 h 435"/>
                <a:gd name="T6" fmla="*/ 135 w 187"/>
                <a:gd name="T7" fmla="*/ 435 h 435"/>
                <a:gd name="T8" fmla="*/ 187 w 187"/>
                <a:gd name="T9" fmla="*/ 75 h 435"/>
                <a:gd name="T10" fmla="*/ 159 w 187"/>
                <a:gd name="T11" fmla="*/ 0 h 435"/>
                <a:gd name="T12" fmla="*/ 26 w 187"/>
                <a:gd name="T13" fmla="*/ 0 h 435"/>
                <a:gd name="T14" fmla="*/ 0 w 187"/>
                <a:gd name="T15" fmla="*/ 79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7" h="435">
                  <a:moveTo>
                    <a:pt x="0" y="79"/>
                  </a:moveTo>
                  <a:lnTo>
                    <a:pt x="46" y="435"/>
                  </a:lnTo>
                  <a:lnTo>
                    <a:pt x="91" y="435"/>
                  </a:lnTo>
                  <a:lnTo>
                    <a:pt x="135" y="435"/>
                  </a:lnTo>
                  <a:lnTo>
                    <a:pt x="187" y="75"/>
                  </a:lnTo>
                  <a:lnTo>
                    <a:pt x="159" y="0"/>
                  </a:lnTo>
                  <a:lnTo>
                    <a:pt x="26" y="0"/>
                  </a:lnTo>
                  <a:lnTo>
                    <a:pt x="0" y="79"/>
                  </a:lnTo>
                  <a:close/>
                </a:path>
              </a:pathLst>
            </a:custGeom>
            <a:solidFill>
              <a:srgbClr val="4242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05" name="Freeform 77"/>
            <p:cNvSpPr/>
            <p:nvPr userDrawn="1"/>
          </p:nvSpPr>
          <p:spPr bwMode="auto">
            <a:xfrm>
              <a:off x="6292056" y="2474913"/>
              <a:ext cx="204788" cy="204788"/>
            </a:xfrm>
            <a:custGeom>
              <a:avLst/>
              <a:gdLst>
                <a:gd name="T0" fmla="*/ 5 w 75"/>
                <a:gd name="T1" fmla="*/ 12 h 75"/>
                <a:gd name="T2" fmla="*/ 5 w 75"/>
                <a:gd name="T3" fmla="*/ 62 h 75"/>
                <a:gd name="T4" fmla="*/ 71 w 75"/>
                <a:gd name="T5" fmla="*/ 61 h 75"/>
                <a:gd name="T6" fmla="*/ 68 w 75"/>
                <a:gd name="T7" fmla="*/ 13 h 75"/>
                <a:gd name="T8" fmla="*/ 39 w 75"/>
                <a:gd name="T9" fmla="*/ 0 h 75"/>
                <a:gd name="T10" fmla="*/ 5 w 75"/>
                <a:gd name="T11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5" h="75">
                  <a:moveTo>
                    <a:pt x="5" y="12"/>
                  </a:moveTo>
                  <a:cubicBezTo>
                    <a:pt x="0" y="21"/>
                    <a:pt x="16" y="50"/>
                    <a:pt x="5" y="62"/>
                  </a:cubicBezTo>
                  <a:cubicBezTo>
                    <a:pt x="12" y="62"/>
                    <a:pt x="35" y="75"/>
                    <a:pt x="71" y="61"/>
                  </a:cubicBezTo>
                  <a:cubicBezTo>
                    <a:pt x="58" y="52"/>
                    <a:pt x="75" y="19"/>
                    <a:pt x="68" y="13"/>
                  </a:cubicBezTo>
                  <a:cubicBezTo>
                    <a:pt x="60" y="7"/>
                    <a:pt x="39" y="0"/>
                    <a:pt x="39" y="0"/>
                  </a:cubicBezTo>
                  <a:cubicBezTo>
                    <a:pt x="39" y="0"/>
                    <a:pt x="11" y="7"/>
                    <a:pt x="5" y="12"/>
                  </a:cubicBezTo>
                  <a:close/>
                </a:path>
              </a:pathLst>
            </a:custGeom>
            <a:solidFill>
              <a:srgbClr val="4545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06" name="Rectangle 78"/>
            <p:cNvSpPr>
              <a:spLocks noChangeArrowheads="1"/>
            </p:cNvSpPr>
            <p:nvPr userDrawn="1"/>
          </p:nvSpPr>
          <p:spPr bwMode="auto">
            <a:xfrm>
              <a:off x="6360318" y="2605088"/>
              <a:ext cx="61913" cy="87313"/>
            </a:xfrm>
            <a:prstGeom prst="rect">
              <a:avLst/>
            </a:prstGeom>
            <a:solidFill>
              <a:srgbClr val="BD87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07" name="Freeform 79"/>
            <p:cNvSpPr/>
            <p:nvPr userDrawn="1"/>
          </p:nvSpPr>
          <p:spPr bwMode="auto">
            <a:xfrm>
              <a:off x="6185693" y="3114676"/>
              <a:ext cx="66675" cy="73025"/>
            </a:xfrm>
            <a:custGeom>
              <a:avLst/>
              <a:gdLst>
                <a:gd name="T0" fmla="*/ 19 w 24"/>
                <a:gd name="T1" fmla="*/ 10 h 27"/>
                <a:gd name="T2" fmla="*/ 22 w 24"/>
                <a:gd name="T3" fmla="*/ 7 h 27"/>
                <a:gd name="T4" fmla="*/ 17 w 24"/>
                <a:gd name="T5" fmla="*/ 0 h 27"/>
                <a:gd name="T6" fmla="*/ 17 w 24"/>
                <a:gd name="T7" fmla="*/ 0 h 27"/>
                <a:gd name="T8" fmla="*/ 17 w 24"/>
                <a:gd name="T9" fmla="*/ 0 h 27"/>
                <a:gd name="T10" fmla="*/ 5 w 24"/>
                <a:gd name="T11" fmla="*/ 0 h 27"/>
                <a:gd name="T12" fmla="*/ 1 w 24"/>
                <a:gd name="T13" fmla="*/ 16 h 27"/>
                <a:gd name="T14" fmla="*/ 12 w 24"/>
                <a:gd name="T15" fmla="*/ 27 h 27"/>
                <a:gd name="T16" fmla="*/ 24 w 24"/>
                <a:gd name="T17" fmla="*/ 16 h 27"/>
                <a:gd name="T18" fmla="*/ 19 w 24"/>
                <a:gd name="T19" fmla="*/ 1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27">
                  <a:moveTo>
                    <a:pt x="19" y="10"/>
                  </a:moveTo>
                  <a:cubicBezTo>
                    <a:pt x="19" y="10"/>
                    <a:pt x="21" y="9"/>
                    <a:pt x="22" y="7"/>
                  </a:cubicBezTo>
                  <a:cubicBezTo>
                    <a:pt x="22" y="4"/>
                    <a:pt x="1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6"/>
                    <a:pt x="0" y="12"/>
                    <a:pt x="1" y="16"/>
                  </a:cubicBezTo>
                  <a:cubicBezTo>
                    <a:pt x="4" y="19"/>
                    <a:pt x="9" y="27"/>
                    <a:pt x="12" y="27"/>
                  </a:cubicBezTo>
                  <a:cubicBezTo>
                    <a:pt x="16" y="25"/>
                    <a:pt x="22" y="22"/>
                    <a:pt x="24" y="16"/>
                  </a:cubicBezTo>
                  <a:cubicBezTo>
                    <a:pt x="23" y="13"/>
                    <a:pt x="19" y="10"/>
                    <a:pt x="19" y="10"/>
                  </a:cubicBezTo>
                  <a:close/>
                </a:path>
              </a:pathLst>
            </a:custGeom>
            <a:solidFill>
              <a:srgbClr val="FFB7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08" name="Freeform 80"/>
            <p:cNvSpPr/>
            <p:nvPr userDrawn="1"/>
          </p:nvSpPr>
          <p:spPr bwMode="auto">
            <a:xfrm>
              <a:off x="6188868" y="2676526"/>
              <a:ext cx="117475" cy="454025"/>
            </a:xfrm>
            <a:custGeom>
              <a:avLst/>
              <a:gdLst>
                <a:gd name="T0" fmla="*/ 32 w 43"/>
                <a:gd name="T1" fmla="*/ 1 h 167"/>
                <a:gd name="T2" fmla="*/ 3 w 43"/>
                <a:gd name="T3" fmla="*/ 101 h 167"/>
                <a:gd name="T4" fmla="*/ 0 w 43"/>
                <a:gd name="T5" fmla="*/ 166 h 167"/>
                <a:gd name="T6" fmla="*/ 21 w 43"/>
                <a:gd name="T7" fmla="*/ 167 h 167"/>
                <a:gd name="T8" fmla="*/ 21 w 43"/>
                <a:gd name="T9" fmla="*/ 105 h 167"/>
                <a:gd name="T10" fmla="*/ 43 w 43"/>
                <a:gd name="T11" fmla="*/ 37 h 167"/>
                <a:gd name="T12" fmla="*/ 32 w 43"/>
                <a:gd name="T13" fmla="*/ 1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167">
                  <a:moveTo>
                    <a:pt x="32" y="1"/>
                  </a:moveTo>
                  <a:cubicBezTo>
                    <a:pt x="22" y="1"/>
                    <a:pt x="3" y="101"/>
                    <a:pt x="3" y="101"/>
                  </a:cubicBezTo>
                  <a:cubicBezTo>
                    <a:pt x="0" y="166"/>
                    <a:pt x="0" y="166"/>
                    <a:pt x="0" y="166"/>
                  </a:cubicBezTo>
                  <a:cubicBezTo>
                    <a:pt x="21" y="167"/>
                    <a:pt x="21" y="167"/>
                    <a:pt x="21" y="167"/>
                  </a:cubicBezTo>
                  <a:cubicBezTo>
                    <a:pt x="21" y="105"/>
                    <a:pt x="21" y="105"/>
                    <a:pt x="21" y="105"/>
                  </a:cubicBezTo>
                  <a:cubicBezTo>
                    <a:pt x="43" y="37"/>
                    <a:pt x="43" y="37"/>
                    <a:pt x="43" y="37"/>
                  </a:cubicBezTo>
                  <a:cubicBezTo>
                    <a:pt x="43" y="37"/>
                    <a:pt x="39" y="0"/>
                    <a:pt x="32" y="1"/>
                  </a:cubicBezTo>
                  <a:close/>
                </a:path>
              </a:pathLst>
            </a:custGeom>
            <a:solidFill>
              <a:srgbClr val="CF6C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09" name="Freeform 81"/>
            <p:cNvSpPr/>
            <p:nvPr userDrawn="1"/>
          </p:nvSpPr>
          <p:spPr bwMode="auto">
            <a:xfrm>
              <a:off x="6531768" y="3114676"/>
              <a:ext cx="61913" cy="73025"/>
            </a:xfrm>
            <a:custGeom>
              <a:avLst/>
              <a:gdLst>
                <a:gd name="T0" fmla="*/ 4 w 23"/>
                <a:gd name="T1" fmla="*/ 10 h 27"/>
                <a:gd name="T2" fmla="*/ 2 w 23"/>
                <a:gd name="T3" fmla="*/ 7 h 27"/>
                <a:gd name="T4" fmla="*/ 6 w 23"/>
                <a:gd name="T5" fmla="*/ 0 h 27"/>
                <a:gd name="T6" fmla="*/ 7 w 23"/>
                <a:gd name="T7" fmla="*/ 0 h 27"/>
                <a:gd name="T8" fmla="*/ 6 w 23"/>
                <a:gd name="T9" fmla="*/ 0 h 27"/>
                <a:gd name="T10" fmla="*/ 18 w 23"/>
                <a:gd name="T11" fmla="*/ 0 h 27"/>
                <a:gd name="T12" fmla="*/ 22 w 23"/>
                <a:gd name="T13" fmla="*/ 16 h 27"/>
                <a:gd name="T14" fmla="*/ 11 w 23"/>
                <a:gd name="T15" fmla="*/ 27 h 27"/>
                <a:gd name="T16" fmla="*/ 0 w 23"/>
                <a:gd name="T17" fmla="*/ 16 h 27"/>
                <a:gd name="T18" fmla="*/ 4 w 23"/>
                <a:gd name="T19" fmla="*/ 1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" h="27">
                  <a:moveTo>
                    <a:pt x="4" y="10"/>
                  </a:moveTo>
                  <a:cubicBezTo>
                    <a:pt x="4" y="10"/>
                    <a:pt x="2" y="9"/>
                    <a:pt x="2" y="7"/>
                  </a:cubicBezTo>
                  <a:cubicBezTo>
                    <a:pt x="1" y="4"/>
                    <a:pt x="6" y="0"/>
                    <a:pt x="6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6"/>
                    <a:pt x="23" y="12"/>
                    <a:pt x="22" y="16"/>
                  </a:cubicBezTo>
                  <a:cubicBezTo>
                    <a:pt x="19" y="19"/>
                    <a:pt x="15" y="27"/>
                    <a:pt x="11" y="27"/>
                  </a:cubicBezTo>
                  <a:cubicBezTo>
                    <a:pt x="7" y="25"/>
                    <a:pt x="2" y="22"/>
                    <a:pt x="0" y="16"/>
                  </a:cubicBezTo>
                  <a:cubicBezTo>
                    <a:pt x="1" y="13"/>
                    <a:pt x="4" y="10"/>
                    <a:pt x="4" y="10"/>
                  </a:cubicBezTo>
                  <a:close/>
                </a:path>
              </a:pathLst>
            </a:custGeom>
            <a:solidFill>
              <a:srgbClr val="FFB7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10" name="Freeform 82"/>
            <p:cNvSpPr/>
            <p:nvPr userDrawn="1"/>
          </p:nvSpPr>
          <p:spPr bwMode="auto">
            <a:xfrm>
              <a:off x="6477793" y="2676526"/>
              <a:ext cx="114300" cy="454025"/>
            </a:xfrm>
            <a:custGeom>
              <a:avLst/>
              <a:gdLst>
                <a:gd name="T0" fmla="*/ 10 w 42"/>
                <a:gd name="T1" fmla="*/ 1 h 167"/>
                <a:gd name="T2" fmla="*/ 39 w 42"/>
                <a:gd name="T3" fmla="*/ 101 h 167"/>
                <a:gd name="T4" fmla="*/ 42 w 42"/>
                <a:gd name="T5" fmla="*/ 166 h 167"/>
                <a:gd name="T6" fmla="*/ 21 w 42"/>
                <a:gd name="T7" fmla="*/ 167 h 167"/>
                <a:gd name="T8" fmla="*/ 21 w 42"/>
                <a:gd name="T9" fmla="*/ 105 h 167"/>
                <a:gd name="T10" fmla="*/ 0 w 42"/>
                <a:gd name="T11" fmla="*/ 37 h 167"/>
                <a:gd name="T12" fmla="*/ 10 w 42"/>
                <a:gd name="T13" fmla="*/ 1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" h="167">
                  <a:moveTo>
                    <a:pt x="10" y="1"/>
                  </a:moveTo>
                  <a:cubicBezTo>
                    <a:pt x="21" y="1"/>
                    <a:pt x="39" y="101"/>
                    <a:pt x="39" y="101"/>
                  </a:cubicBezTo>
                  <a:cubicBezTo>
                    <a:pt x="42" y="166"/>
                    <a:pt x="42" y="166"/>
                    <a:pt x="42" y="166"/>
                  </a:cubicBezTo>
                  <a:cubicBezTo>
                    <a:pt x="21" y="167"/>
                    <a:pt x="21" y="167"/>
                    <a:pt x="21" y="167"/>
                  </a:cubicBezTo>
                  <a:cubicBezTo>
                    <a:pt x="21" y="105"/>
                    <a:pt x="21" y="105"/>
                    <a:pt x="21" y="105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3" y="0"/>
                    <a:pt x="10" y="1"/>
                  </a:cubicBezTo>
                  <a:close/>
                </a:path>
              </a:pathLst>
            </a:custGeom>
            <a:solidFill>
              <a:srgbClr val="CF6C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11" name="Freeform 83"/>
            <p:cNvSpPr/>
            <p:nvPr userDrawn="1"/>
          </p:nvSpPr>
          <p:spPr bwMode="auto">
            <a:xfrm>
              <a:off x="6287293" y="2509838"/>
              <a:ext cx="41275" cy="52388"/>
            </a:xfrm>
            <a:custGeom>
              <a:avLst/>
              <a:gdLst>
                <a:gd name="T0" fmla="*/ 11 w 15"/>
                <a:gd name="T1" fmla="*/ 18 h 19"/>
                <a:gd name="T2" fmla="*/ 1 w 15"/>
                <a:gd name="T3" fmla="*/ 11 h 19"/>
                <a:gd name="T4" fmla="*/ 7 w 15"/>
                <a:gd name="T5" fmla="*/ 0 h 19"/>
                <a:gd name="T6" fmla="*/ 11 w 15"/>
                <a:gd name="T7" fmla="*/ 1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9">
                  <a:moveTo>
                    <a:pt x="11" y="18"/>
                  </a:moveTo>
                  <a:cubicBezTo>
                    <a:pt x="6" y="19"/>
                    <a:pt x="2" y="16"/>
                    <a:pt x="1" y="11"/>
                  </a:cubicBezTo>
                  <a:cubicBezTo>
                    <a:pt x="0" y="6"/>
                    <a:pt x="3" y="1"/>
                    <a:pt x="7" y="0"/>
                  </a:cubicBezTo>
                  <a:cubicBezTo>
                    <a:pt x="11" y="0"/>
                    <a:pt x="15" y="17"/>
                    <a:pt x="11" y="18"/>
                  </a:cubicBezTo>
                  <a:close/>
                </a:path>
              </a:pathLst>
            </a:custGeom>
            <a:solidFill>
              <a:srgbClr val="FFB7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12" name="Freeform 84"/>
            <p:cNvSpPr/>
            <p:nvPr userDrawn="1"/>
          </p:nvSpPr>
          <p:spPr bwMode="auto">
            <a:xfrm>
              <a:off x="6455568" y="2509838"/>
              <a:ext cx="38100" cy="52388"/>
            </a:xfrm>
            <a:custGeom>
              <a:avLst/>
              <a:gdLst>
                <a:gd name="T0" fmla="*/ 4 w 14"/>
                <a:gd name="T1" fmla="*/ 18 h 19"/>
                <a:gd name="T2" fmla="*/ 13 w 14"/>
                <a:gd name="T3" fmla="*/ 11 h 19"/>
                <a:gd name="T4" fmla="*/ 7 w 14"/>
                <a:gd name="T5" fmla="*/ 0 h 19"/>
                <a:gd name="T6" fmla="*/ 4 w 14"/>
                <a:gd name="T7" fmla="*/ 1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19">
                  <a:moveTo>
                    <a:pt x="4" y="18"/>
                  </a:moveTo>
                  <a:cubicBezTo>
                    <a:pt x="8" y="19"/>
                    <a:pt x="12" y="16"/>
                    <a:pt x="13" y="11"/>
                  </a:cubicBezTo>
                  <a:cubicBezTo>
                    <a:pt x="14" y="6"/>
                    <a:pt x="12" y="1"/>
                    <a:pt x="7" y="0"/>
                  </a:cubicBezTo>
                  <a:cubicBezTo>
                    <a:pt x="3" y="0"/>
                    <a:pt x="0" y="17"/>
                    <a:pt x="4" y="18"/>
                  </a:cubicBezTo>
                  <a:close/>
                </a:path>
              </a:pathLst>
            </a:custGeom>
            <a:solidFill>
              <a:srgbClr val="FFB7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13" name="Freeform 85"/>
            <p:cNvSpPr/>
            <p:nvPr userDrawn="1"/>
          </p:nvSpPr>
          <p:spPr bwMode="auto">
            <a:xfrm>
              <a:off x="6280943" y="2425701"/>
              <a:ext cx="227013" cy="220663"/>
            </a:xfrm>
            <a:custGeom>
              <a:avLst/>
              <a:gdLst>
                <a:gd name="T0" fmla="*/ 40 w 83"/>
                <a:gd name="T1" fmla="*/ 81 h 81"/>
                <a:gd name="T2" fmla="*/ 70 w 83"/>
                <a:gd name="T3" fmla="*/ 20 h 81"/>
                <a:gd name="T4" fmla="*/ 41 w 83"/>
                <a:gd name="T5" fmla="*/ 0 h 81"/>
                <a:gd name="T6" fmla="*/ 11 w 83"/>
                <a:gd name="T7" fmla="*/ 20 h 81"/>
                <a:gd name="T8" fmla="*/ 40 w 83"/>
                <a:gd name="T9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3" h="81">
                  <a:moveTo>
                    <a:pt x="40" y="81"/>
                  </a:moveTo>
                  <a:cubicBezTo>
                    <a:pt x="83" y="63"/>
                    <a:pt x="70" y="20"/>
                    <a:pt x="70" y="20"/>
                  </a:cubicBezTo>
                  <a:cubicBezTo>
                    <a:pt x="70" y="20"/>
                    <a:pt x="69" y="0"/>
                    <a:pt x="41" y="0"/>
                  </a:cubicBezTo>
                  <a:cubicBezTo>
                    <a:pt x="17" y="0"/>
                    <a:pt x="11" y="20"/>
                    <a:pt x="11" y="20"/>
                  </a:cubicBezTo>
                  <a:cubicBezTo>
                    <a:pt x="11" y="20"/>
                    <a:pt x="0" y="65"/>
                    <a:pt x="40" y="81"/>
                  </a:cubicBezTo>
                  <a:close/>
                </a:path>
              </a:pathLst>
            </a:custGeom>
            <a:solidFill>
              <a:srgbClr val="FFB7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14" name="Freeform 86"/>
            <p:cNvSpPr/>
            <p:nvPr userDrawn="1"/>
          </p:nvSpPr>
          <p:spPr bwMode="auto">
            <a:xfrm>
              <a:off x="6276181" y="2398713"/>
              <a:ext cx="231775" cy="133350"/>
            </a:xfrm>
            <a:custGeom>
              <a:avLst/>
              <a:gdLst>
                <a:gd name="T0" fmla="*/ 9 w 85"/>
                <a:gd name="T1" fmla="*/ 42 h 49"/>
                <a:gd name="T2" fmla="*/ 15 w 85"/>
                <a:gd name="T3" fmla="*/ 47 h 49"/>
                <a:gd name="T4" fmla="*/ 17 w 85"/>
                <a:gd name="T5" fmla="*/ 26 h 49"/>
                <a:gd name="T6" fmla="*/ 64 w 85"/>
                <a:gd name="T7" fmla="*/ 41 h 49"/>
                <a:gd name="T8" fmla="*/ 68 w 85"/>
                <a:gd name="T9" fmla="*/ 26 h 49"/>
                <a:gd name="T10" fmla="*/ 70 w 85"/>
                <a:gd name="T11" fmla="*/ 48 h 49"/>
                <a:gd name="T12" fmla="*/ 76 w 85"/>
                <a:gd name="T13" fmla="*/ 43 h 49"/>
                <a:gd name="T14" fmla="*/ 43 w 85"/>
                <a:gd name="T15" fmla="*/ 0 h 49"/>
                <a:gd name="T16" fmla="*/ 9 w 85"/>
                <a:gd name="T17" fmla="*/ 42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5" h="49">
                  <a:moveTo>
                    <a:pt x="9" y="42"/>
                  </a:moveTo>
                  <a:cubicBezTo>
                    <a:pt x="12" y="41"/>
                    <a:pt x="15" y="47"/>
                    <a:pt x="15" y="47"/>
                  </a:cubicBezTo>
                  <a:cubicBezTo>
                    <a:pt x="17" y="26"/>
                    <a:pt x="17" y="26"/>
                    <a:pt x="17" y="26"/>
                  </a:cubicBezTo>
                  <a:cubicBezTo>
                    <a:pt x="17" y="26"/>
                    <a:pt x="32" y="46"/>
                    <a:pt x="64" y="41"/>
                  </a:cubicBezTo>
                  <a:cubicBezTo>
                    <a:pt x="58" y="28"/>
                    <a:pt x="68" y="26"/>
                    <a:pt x="68" y="26"/>
                  </a:cubicBezTo>
                  <a:cubicBezTo>
                    <a:pt x="68" y="26"/>
                    <a:pt x="70" y="49"/>
                    <a:pt x="70" y="48"/>
                  </a:cubicBezTo>
                  <a:cubicBezTo>
                    <a:pt x="72" y="42"/>
                    <a:pt x="76" y="43"/>
                    <a:pt x="76" y="43"/>
                  </a:cubicBezTo>
                  <a:cubicBezTo>
                    <a:pt x="76" y="43"/>
                    <a:pt x="85" y="0"/>
                    <a:pt x="43" y="0"/>
                  </a:cubicBezTo>
                  <a:cubicBezTo>
                    <a:pt x="0" y="0"/>
                    <a:pt x="9" y="41"/>
                    <a:pt x="9" y="42"/>
                  </a:cubicBezTo>
                  <a:close/>
                </a:path>
              </a:pathLst>
            </a:custGeom>
            <a:solidFill>
              <a:srgbClr val="4545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15" name="Freeform 87"/>
            <p:cNvSpPr/>
            <p:nvPr userDrawn="1"/>
          </p:nvSpPr>
          <p:spPr bwMode="auto">
            <a:xfrm>
              <a:off x="6368256" y="2592388"/>
              <a:ext cx="46038" cy="19050"/>
            </a:xfrm>
            <a:custGeom>
              <a:avLst/>
              <a:gdLst>
                <a:gd name="T0" fmla="*/ 8 w 17"/>
                <a:gd name="T1" fmla="*/ 7 h 7"/>
                <a:gd name="T2" fmla="*/ 17 w 17"/>
                <a:gd name="T3" fmla="*/ 3 h 7"/>
                <a:gd name="T4" fmla="*/ 11 w 17"/>
                <a:gd name="T5" fmla="*/ 0 h 7"/>
                <a:gd name="T6" fmla="*/ 8 w 17"/>
                <a:gd name="T7" fmla="*/ 2 h 7"/>
                <a:gd name="T8" fmla="*/ 6 w 17"/>
                <a:gd name="T9" fmla="*/ 0 h 7"/>
                <a:gd name="T10" fmla="*/ 0 w 17"/>
                <a:gd name="T11" fmla="*/ 3 h 7"/>
                <a:gd name="T12" fmla="*/ 8 w 17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" h="7">
                  <a:moveTo>
                    <a:pt x="8" y="7"/>
                  </a:moveTo>
                  <a:cubicBezTo>
                    <a:pt x="13" y="7"/>
                    <a:pt x="17" y="4"/>
                    <a:pt x="17" y="3"/>
                  </a:cubicBezTo>
                  <a:cubicBezTo>
                    <a:pt x="17" y="3"/>
                    <a:pt x="12" y="0"/>
                    <a:pt x="11" y="0"/>
                  </a:cubicBezTo>
                  <a:cubicBezTo>
                    <a:pt x="10" y="0"/>
                    <a:pt x="9" y="2"/>
                    <a:pt x="8" y="2"/>
                  </a:cubicBezTo>
                  <a:cubicBezTo>
                    <a:pt x="8" y="2"/>
                    <a:pt x="7" y="0"/>
                    <a:pt x="6" y="0"/>
                  </a:cubicBezTo>
                  <a:cubicBezTo>
                    <a:pt x="5" y="0"/>
                    <a:pt x="0" y="3"/>
                    <a:pt x="0" y="3"/>
                  </a:cubicBezTo>
                  <a:cubicBezTo>
                    <a:pt x="0" y="4"/>
                    <a:pt x="3" y="7"/>
                    <a:pt x="8" y="7"/>
                  </a:cubicBezTo>
                  <a:close/>
                </a:path>
              </a:pathLst>
            </a:custGeom>
            <a:solidFill>
              <a:srgbClr val="B551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16" name="Freeform 88"/>
            <p:cNvSpPr/>
            <p:nvPr userDrawn="1"/>
          </p:nvSpPr>
          <p:spPr bwMode="auto">
            <a:xfrm>
              <a:off x="6261893" y="2654301"/>
              <a:ext cx="261938" cy="414338"/>
            </a:xfrm>
            <a:custGeom>
              <a:avLst/>
              <a:gdLst>
                <a:gd name="T0" fmla="*/ 8 w 96"/>
                <a:gd name="T1" fmla="*/ 127 h 152"/>
                <a:gd name="T2" fmla="*/ 0 w 96"/>
                <a:gd name="T3" fmla="*/ 152 h 152"/>
                <a:gd name="T4" fmla="*/ 96 w 96"/>
                <a:gd name="T5" fmla="*/ 152 h 152"/>
                <a:gd name="T6" fmla="*/ 86 w 96"/>
                <a:gd name="T7" fmla="*/ 124 h 152"/>
                <a:gd name="T8" fmla="*/ 82 w 96"/>
                <a:gd name="T9" fmla="*/ 58 h 152"/>
                <a:gd name="T10" fmla="*/ 87 w 96"/>
                <a:gd name="T11" fmla="*/ 44 h 152"/>
                <a:gd name="T12" fmla="*/ 84 w 96"/>
                <a:gd name="T13" fmla="*/ 32 h 152"/>
                <a:gd name="T14" fmla="*/ 90 w 96"/>
                <a:gd name="T15" fmla="*/ 9 h 152"/>
                <a:gd name="T16" fmla="*/ 62 w 96"/>
                <a:gd name="T17" fmla="*/ 0 h 152"/>
                <a:gd name="T18" fmla="*/ 62 w 96"/>
                <a:gd name="T19" fmla="*/ 0 h 152"/>
                <a:gd name="T20" fmla="*/ 60 w 96"/>
                <a:gd name="T21" fmla="*/ 0 h 152"/>
                <a:gd name="T22" fmla="*/ 49 w 96"/>
                <a:gd name="T23" fmla="*/ 13 h 152"/>
                <a:gd name="T24" fmla="*/ 47 w 96"/>
                <a:gd name="T25" fmla="*/ 14 h 152"/>
                <a:gd name="T26" fmla="*/ 46 w 96"/>
                <a:gd name="T27" fmla="*/ 13 h 152"/>
                <a:gd name="T28" fmla="*/ 35 w 96"/>
                <a:gd name="T29" fmla="*/ 0 h 152"/>
                <a:gd name="T30" fmla="*/ 33 w 96"/>
                <a:gd name="T31" fmla="*/ 0 h 152"/>
                <a:gd name="T32" fmla="*/ 33 w 96"/>
                <a:gd name="T33" fmla="*/ 0 h 152"/>
                <a:gd name="T34" fmla="*/ 5 w 96"/>
                <a:gd name="T35" fmla="*/ 9 h 152"/>
                <a:gd name="T36" fmla="*/ 10 w 96"/>
                <a:gd name="T37" fmla="*/ 32 h 152"/>
                <a:gd name="T38" fmla="*/ 7 w 96"/>
                <a:gd name="T39" fmla="*/ 44 h 152"/>
                <a:gd name="T40" fmla="*/ 13 w 96"/>
                <a:gd name="T41" fmla="*/ 58 h 152"/>
                <a:gd name="T42" fmla="*/ 8 w 96"/>
                <a:gd name="T43" fmla="*/ 127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6" h="152">
                  <a:moveTo>
                    <a:pt x="8" y="127"/>
                  </a:moveTo>
                  <a:cubicBezTo>
                    <a:pt x="0" y="152"/>
                    <a:pt x="0" y="152"/>
                    <a:pt x="0" y="152"/>
                  </a:cubicBezTo>
                  <a:cubicBezTo>
                    <a:pt x="96" y="152"/>
                    <a:pt x="96" y="152"/>
                    <a:pt x="96" y="152"/>
                  </a:cubicBezTo>
                  <a:cubicBezTo>
                    <a:pt x="86" y="124"/>
                    <a:pt x="86" y="124"/>
                    <a:pt x="86" y="124"/>
                  </a:cubicBezTo>
                  <a:cubicBezTo>
                    <a:pt x="86" y="124"/>
                    <a:pt x="81" y="92"/>
                    <a:pt x="82" y="58"/>
                  </a:cubicBezTo>
                  <a:cubicBezTo>
                    <a:pt x="85" y="54"/>
                    <a:pt x="87" y="49"/>
                    <a:pt x="87" y="44"/>
                  </a:cubicBezTo>
                  <a:cubicBezTo>
                    <a:pt x="87" y="40"/>
                    <a:pt x="86" y="36"/>
                    <a:pt x="84" y="32"/>
                  </a:cubicBezTo>
                  <a:cubicBezTo>
                    <a:pt x="85" y="23"/>
                    <a:pt x="87" y="15"/>
                    <a:pt x="90" y="9"/>
                  </a:cubicBezTo>
                  <a:cubicBezTo>
                    <a:pt x="88" y="7"/>
                    <a:pt x="63" y="1"/>
                    <a:pt x="62" y="0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61" y="0"/>
                    <a:pt x="61" y="0"/>
                    <a:pt x="60" y="0"/>
                  </a:cubicBezTo>
                  <a:cubicBezTo>
                    <a:pt x="49" y="13"/>
                    <a:pt x="49" y="13"/>
                    <a:pt x="49" y="13"/>
                  </a:cubicBezTo>
                  <a:cubicBezTo>
                    <a:pt x="49" y="14"/>
                    <a:pt x="48" y="14"/>
                    <a:pt x="47" y="14"/>
                  </a:cubicBezTo>
                  <a:cubicBezTo>
                    <a:pt x="47" y="14"/>
                    <a:pt x="46" y="14"/>
                    <a:pt x="46" y="13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2" y="1"/>
                    <a:pt x="7" y="7"/>
                    <a:pt x="5" y="9"/>
                  </a:cubicBezTo>
                  <a:cubicBezTo>
                    <a:pt x="7" y="16"/>
                    <a:pt x="9" y="24"/>
                    <a:pt x="10" y="32"/>
                  </a:cubicBezTo>
                  <a:cubicBezTo>
                    <a:pt x="8" y="36"/>
                    <a:pt x="7" y="40"/>
                    <a:pt x="7" y="44"/>
                  </a:cubicBezTo>
                  <a:cubicBezTo>
                    <a:pt x="7" y="49"/>
                    <a:pt x="9" y="54"/>
                    <a:pt x="13" y="58"/>
                  </a:cubicBezTo>
                  <a:cubicBezTo>
                    <a:pt x="14" y="95"/>
                    <a:pt x="8" y="127"/>
                    <a:pt x="8" y="127"/>
                  </a:cubicBezTo>
                  <a:close/>
                </a:path>
              </a:pathLst>
            </a:custGeom>
            <a:solidFill>
              <a:srgbClr val="99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17" name="Freeform 89"/>
            <p:cNvSpPr/>
            <p:nvPr userDrawn="1"/>
          </p:nvSpPr>
          <p:spPr bwMode="auto">
            <a:xfrm>
              <a:off x="6180931" y="3749676"/>
              <a:ext cx="141288" cy="44450"/>
            </a:xfrm>
            <a:custGeom>
              <a:avLst/>
              <a:gdLst>
                <a:gd name="T0" fmla="*/ 26 w 52"/>
                <a:gd name="T1" fmla="*/ 0 h 16"/>
                <a:gd name="T2" fmla="*/ 51 w 52"/>
                <a:gd name="T3" fmla="*/ 11 h 16"/>
                <a:gd name="T4" fmla="*/ 51 w 52"/>
                <a:gd name="T5" fmla="*/ 16 h 16"/>
                <a:gd name="T6" fmla="*/ 0 w 52"/>
                <a:gd name="T7" fmla="*/ 16 h 16"/>
                <a:gd name="T8" fmla="*/ 0 w 52"/>
                <a:gd name="T9" fmla="*/ 0 h 16"/>
                <a:gd name="T10" fmla="*/ 26 w 52"/>
                <a:gd name="T11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2" h="16">
                  <a:moveTo>
                    <a:pt x="26" y="0"/>
                  </a:moveTo>
                  <a:cubicBezTo>
                    <a:pt x="26" y="0"/>
                    <a:pt x="50" y="9"/>
                    <a:pt x="51" y="11"/>
                  </a:cubicBezTo>
                  <a:cubicBezTo>
                    <a:pt x="52" y="12"/>
                    <a:pt x="51" y="16"/>
                    <a:pt x="51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6" y="0"/>
                  </a:lnTo>
                  <a:close/>
                </a:path>
              </a:pathLst>
            </a:custGeom>
            <a:solidFill>
              <a:srgbClr val="77A7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18" name="Freeform 90"/>
            <p:cNvSpPr/>
            <p:nvPr userDrawn="1"/>
          </p:nvSpPr>
          <p:spPr bwMode="auto">
            <a:xfrm>
              <a:off x="6036468" y="3749676"/>
              <a:ext cx="144463" cy="44450"/>
            </a:xfrm>
            <a:custGeom>
              <a:avLst/>
              <a:gdLst>
                <a:gd name="T0" fmla="*/ 26 w 53"/>
                <a:gd name="T1" fmla="*/ 0 h 16"/>
                <a:gd name="T2" fmla="*/ 1 w 53"/>
                <a:gd name="T3" fmla="*/ 11 h 16"/>
                <a:gd name="T4" fmla="*/ 1 w 53"/>
                <a:gd name="T5" fmla="*/ 16 h 16"/>
                <a:gd name="T6" fmla="*/ 53 w 53"/>
                <a:gd name="T7" fmla="*/ 16 h 16"/>
                <a:gd name="T8" fmla="*/ 53 w 53"/>
                <a:gd name="T9" fmla="*/ 0 h 16"/>
                <a:gd name="T10" fmla="*/ 26 w 53"/>
                <a:gd name="T11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3" h="16">
                  <a:moveTo>
                    <a:pt x="26" y="0"/>
                  </a:moveTo>
                  <a:cubicBezTo>
                    <a:pt x="26" y="0"/>
                    <a:pt x="2" y="9"/>
                    <a:pt x="1" y="11"/>
                  </a:cubicBezTo>
                  <a:cubicBezTo>
                    <a:pt x="0" y="12"/>
                    <a:pt x="1" y="16"/>
                    <a:pt x="1" y="16"/>
                  </a:cubicBezTo>
                  <a:cubicBezTo>
                    <a:pt x="53" y="16"/>
                    <a:pt x="53" y="16"/>
                    <a:pt x="53" y="16"/>
                  </a:cubicBezTo>
                  <a:cubicBezTo>
                    <a:pt x="53" y="0"/>
                    <a:pt x="53" y="0"/>
                    <a:pt x="53" y="0"/>
                  </a:cubicBezTo>
                  <a:lnTo>
                    <a:pt x="26" y="0"/>
                  </a:lnTo>
                  <a:close/>
                </a:path>
              </a:pathLst>
            </a:custGeom>
            <a:solidFill>
              <a:srgbClr val="77A7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19" name="Freeform 91"/>
            <p:cNvSpPr/>
            <p:nvPr userDrawn="1"/>
          </p:nvSpPr>
          <p:spPr bwMode="auto">
            <a:xfrm>
              <a:off x="6072981" y="3248026"/>
              <a:ext cx="219075" cy="287338"/>
            </a:xfrm>
            <a:custGeom>
              <a:avLst/>
              <a:gdLst>
                <a:gd name="T0" fmla="*/ 0 w 138"/>
                <a:gd name="T1" fmla="*/ 58 h 181"/>
                <a:gd name="T2" fmla="*/ 1 w 138"/>
                <a:gd name="T3" fmla="*/ 179 h 181"/>
                <a:gd name="T4" fmla="*/ 70 w 138"/>
                <a:gd name="T5" fmla="*/ 179 h 181"/>
                <a:gd name="T6" fmla="*/ 138 w 138"/>
                <a:gd name="T7" fmla="*/ 181 h 181"/>
                <a:gd name="T8" fmla="*/ 135 w 138"/>
                <a:gd name="T9" fmla="*/ 58 h 181"/>
                <a:gd name="T10" fmla="*/ 123 w 138"/>
                <a:gd name="T11" fmla="*/ 0 h 181"/>
                <a:gd name="T12" fmla="*/ 13 w 138"/>
                <a:gd name="T13" fmla="*/ 0 h 181"/>
                <a:gd name="T14" fmla="*/ 0 w 138"/>
                <a:gd name="T15" fmla="*/ 58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8" h="181">
                  <a:moveTo>
                    <a:pt x="0" y="58"/>
                  </a:moveTo>
                  <a:lnTo>
                    <a:pt x="1" y="179"/>
                  </a:lnTo>
                  <a:lnTo>
                    <a:pt x="70" y="179"/>
                  </a:lnTo>
                  <a:lnTo>
                    <a:pt x="138" y="181"/>
                  </a:lnTo>
                  <a:lnTo>
                    <a:pt x="135" y="58"/>
                  </a:lnTo>
                  <a:lnTo>
                    <a:pt x="123" y="0"/>
                  </a:lnTo>
                  <a:lnTo>
                    <a:pt x="13" y="0"/>
                  </a:lnTo>
                  <a:lnTo>
                    <a:pt x="0" y="58"/>
                  </a:lnTo>
                  <a:close/>
                </a:path>
              </a:pathLst>
            </a:custGeom>
            <a:solidFill>
              <a:srgbClr val="3A4C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20" name="Rectangle 92"/>
            <p:cNvSpPr>
              <a:spLocks noChangeArrowheads="1"/>
            </p:cNvSpPr>
            <p:nvPr userDrawn="1"/>
          </p:nvSpPr>
          <p:spPr bwMode="auto">
            <a:xfrm>
              <a:off x="6158706" y="2959101"/>
              <a:ext cx="44450" cy="73025"/>
            </a:xfrm>
            <a:prstGeom prst="rect">
              <a:avLst/>
            </a:prstGeom>
            <a:solidFill>
              <a:srgbClr val="BD87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21" name="Freeform 93"/>
            <p:cNvSpPr/>
            <p:nvPr userDrawn="1"/>
          </p:nvSpPr>
          <p:spPr bwMode="auto">
            <a:xfrm>
              <a:off x="6015831" y="3127376"/>
              <a:ext cx="57150" cy="273050"/>
            </a:xfrm>
            <a:custGeom>
              <a:avLst/>
              <a:gdLst>
                <a:gd name="T0" fmla="*/ 17 w 21"/>
                <a:gd name="T1" fmla="*/ 86 h 100"/>
                <a:gd name="T2" fmla="*/ 20 w 21"/>
                <a:gd name="T3" fmla="*/ 84 h 100"/>
                <a:gd name="T4" fmla="*/ 16 w 21"/>
                <a:gd name="T5" fmla="*/ 78 h 100"/>
                <a:gd name="T6" fmla="*/ 15 w 21"/>
                <a:gd name="T7" fmla="*/ 78 h 100"/>
                <a:gd name="T8" fmla="*/ 16 w 21"/>
                <a:gd name="T9" fmla="*/ 78 h 100"/>
                <a:gd name="T10" fmla="*/ 17 w 21"/>
                <a:gd name="T11" fmla="*/ 34 h 100"/>
                <a:gd name="T12" fmla="*/ 17 w 21"/>
                <a:gd name="T13" fmla="*/ 24 h 100"/>
                <a:gd name="T14" fmla="*/ 20 w 21"/>
                <a:gd name="T15" fmla="*/ 3 h 100"/>
                <a:gd name="T16" fmla="*/ 4 w 21"/>
                <a:gd name="T17" fmla="*/ 0 h 100"/>
                <a:gd name="T18" fmla="*/ 1 w 21"/>
                <a:gd name="T19" fmla="*/ 26 h 100"/>
                <a:gd name="T20" fmla="*/ 5 w 21"/>
                <a:gd name="T21" fmla="*/ 78 h 100"/>
                <a:gd name="T22" fmla="*/ 1 w 21"/>
                <a:gd name="T23" fmla="*/ 91 h 100"/>
                <a:gd name="T24" fmla="*/ 11 w 21"/>
                <a:gd name="T25" fmla="*/ 100 h 100"/>
                <a:gd name="T26" fmla="*/ 21 w 21"/>
                <a:gd name="T27" fmla="*/ 91 h 100"/>
                <a:gd name="T28" fmla="*/ 17 w 21"/>
                <a:gd name="T29" fmla="*/ 86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" h="100">
                  <a:moveTo>
                    <a:pt x="17" y="86"/>
                  </a:moveTo>
                  <a:cubicBezTo>
                    <a:pt x="17" y="86"/>
                    <a:pt x="19" y="86"/>
                    <a:pt x="20" y="84"/>
                  </a:cubicBezTo>
                  <a:cubicBezTo>
                    <a:pt x="20" y="82"/>
                    <a:pt x="16" y="78"/>
                    <a:pt x="16" y="78"/>
                  </a:cubicBezTo>
                  <a:cubicBezTo>
                    <a:pt x="15" y="78"/>
                    <a:pt x="15" y="78"/>
                    <a:pt x="15" y="78"/>
                  </a:cubicBezTo>
                  <a:cubicBezTo>
                    <a:pt x="16" y="78"/>
                    <a:pt x="16" y="78"/>
                    <a:pt x="16" y="78"/>
                  </a:cubicBezTo>
                  <a:cubicBezTo>
                    <a:pt x="17" y="34"/>
                    <a:pt x="17" y="34"/>
                    <a:pt x="17" y="3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5" y="83"/>
                    <a:pt x="0" y="88"/>
                    <a:pt x="1" y="91"/>
                  </a:cubicBezTo>
                  <a:cubicBezTo>
                    <a:pt x="4" y="94"/>
                    <a:pt x="8" y="100"/>
                    <a:pt x="11" y="100"/>
                  </a:cubicBezTo>
                  <a:cubicBezTo>
                    <a:pt x="15" y="98"/>
                    <a:pt x="19" y="96"/>
                    <a:pt x="21" y="91"/>
                  </a:cubicBezTo>
                  <a:cubicBezTo>
                    <a:pt x="20" y="89"/>
                    <a:pt x="17" y="86"/>
                    <a:pt x="17" y="86"/>
                  </a:cubicBezTo>
                  <a:close/>
                </a:path>
              </a:pathLst>
            </a:custGeom>
            <a:solidFill>
              <a:srgbClr val="FFB7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22" name="Freeform 94"/>
            <p:cNvSpPr/>
            <p:nvPr userDrawn="1"/>
          </p:nvSpPr>
          <p:spPr bwMode="auto">
            <a:xfrm>
              <a:off x="6020593" y="3127376"/>
              <a:ext cx="49213" cy="57150"/>
            </a:xfrm>
            <a:custGeom>
              <a:avLst/>
              <a:gdLst>
                <a:gd name="T0" fmla="*/ 31 w 31"/>
                <a:gd name="T1" fmla="*/ 5 h 36"/>
                <a:gd name="T2" fmla="*/ 26 w 31"/>
                <a:gd name="T3" fmla="*/ 36 h 36"/>
                <a:gd name="T4" fmla="*/ 0 w 31"/>
                <a:gd name="T5" fmla="*/ 31 h 36"/>
                <a:gd name="T6" fmla="*/ 3 w 31"/>
                <a:gd name="T7" fmla="*/ 0 h 36"/>
                <a:gd name="T8" fmla="*/ 31 w 31"/>
                <a:gd name="T9" fmla="*/ 5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36">
                  <a:moveTo>
                    <a:pt x="31" y="5"/>
                  </a:moveTo>
                  <a:lnTo>
                    <a:pt x="26" y="36"/>
                  </a:lnTo>
                  <a:lnTo>
                    <a:pt x="0" y="31"/>
                  </a:lnTo>
                  <a:lnTo>
                    <a:pt x="3" y="0"/>
                  </a:lnTo>
                  <a:lnTo>
                    <a:pt x="31" y="5"/>
                  </a:lnTo>
                  <a:close/>
                </a:path>
              </a:pathLst>
            </a:custGeom>
            <a:solidFill>
              <a:srgbClr val="C991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23" name="Freeform 95"/>
            <p:cNvSpPr/>
            <p:nvPr userDrawn="1"/>
          </p:nvSpPr>
          <p:spPr bwMode="auto">
            <a:xfrm>
              <a:off x="6290468" y="3133726"/>
              <a:ext cx="57150" cy="268288"/>
            </a:xfrm>
            <a:custGeom>
              <a:avLst/>
              <a:gdLst>
                <a:gd name="T0" fmla="*/ 4 w 21"/>
                <a:gd name="T1" fmla="*/ 86 h 99"/>
                <a:gd name="T2" fmla="*/ 2 w 21"/>
                <a:gd name="T3" fmla="*/ 83 h 99"/>
                <a:gd name="T4" fmla="*/ 6 w 21"/>
                <a:gd name="T5" fmla="*/ 78 h 99"/>
                <a:gd name="T6" fmla="*/ 6 w 21"/>
                <a:gd name="T7" fmla="*/ 78 h 99"/>
                <a:gd name="T8" fmla="*/ 6 w 21"/>
                <a:gd name="T9" fmla="*/ 78 h 99"/>
                <a:gd name="T10" fmla="*/ 4 w 21"/>
                <a:gd name="T11" fmla="*/ 33 h 99"/>
                <a:gd name="T12" fmla="*/ 4 w 21"/>
                <a:gd name="T13" fmla="*/ 24 h 99"/>
                <a:gd name="T14" fmla="*/ 1 w 21"/>
                <a:gd name="T15" fmla="*/ 3 h 99"/>
                <a:gd name="T16" fmla="*/ 17 w 21"/>
                <a:gd name="T17" fmla="*/ 0 h 99"/>
                <a:gd name="T18" fmla="*/ 21 w 21"/>
                <a:gd name="T19" fmla="*/ 26 h 99"/>
                <a:gd name="T20" fmla="*/ 16 w 21"/>
                <a:gd name="T21" fmla="*/ 78 h 99"/>
                <a:gd name="T22" fmla="*/ 20 w 21"/>
                <a:gd name="T23" fmla="*/ 91 h 99"/>
                <a:gd name="T24" fmla="*/ 10 w 21"/>
                <a:gd name="T25" fmla="*/ 99 h 99"/>
                <a:gd name="T26" fmla="*/ 0 w 21"/>
                <a:gd name="T27" fmla="*/ 91 h 99"/>
                <a:gd name="T28" fmla="*/ 4 w 21"/>
                <a:gd name="T29" fmla="*/ 86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" h="99">
                  <a:moveTo>
                    <a:pt x="4" y="86"/>
                  </a:moveTo>
                  <a:cubicBezTo>
                    <a:pt x="4" y="86"/>
                    <a:pt x="2" y="85"/>
                    <a:pt x="2" y="83"/>
                  </a:cubicBezTo>
                  <a:cubicBezTo>
                    <a:pt x="1" y="81"/>
                    <a:pt x="6" y="78"/>
                    <a:pt x="6" y="78"/>
                  </a:cubicBezTo>
                  <a:cubicBezTo>
                    <a:pt x="6" y="78"/>
                    <a:pt x="6" y="78"/>
                    <a:pt x="6" y="78"/>
                  </a:cubicBezTo>
                  <a:cubicBezTo>
                    <a:pt x="6" y="78"/>
                    <a:pt x="6" y="78"/>
                    <a:pt x="6" y="78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4" y="24"/>
                    <a:pt x="4" y="24"/>
                    <a:pt x="4" y="24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16" y="78"/>
                    <a:pt x="16" y="78"/>
                    <a:pt x="16" y="78"/>
                  </a:cubicBezTo>
                  <a:cubicBezTo>
                    <a:pt x="17" y="83"/>
                    <a:pt x="21" y="88"/>
                    <a:pt x="20" y="91"/>
                  </a:cubicBezTo>
                  <a:cubicBezTo>
                    <a:pt x="18" y="93"/>
                    <a:pt x="13" y="99"/>
                    <a:pt x="10" y="99"/>
                  </a:cubicBezTo>
                  <a:cubicBezTo>
                    <a:pt x="7" y="98"/>
                    <a:pt x="2" y="95"/>
                    <a:pt x="0" y="91"/>
                  </a:cubicBezTo>
                  <a:cubicBezTo>
                    <a:pt x="1" y="89"/>
                    <a:pt x="4" y="86"/>
                    <a:pt x="4" y="86"/>
                  </a:cubicBezTo>
                  <a:close/>
                </a:path>
              </a:pathLst>
            </a:custGeom>
            <a:solidFill>
              <a:srgbClr val="FFB7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24" name="Freeform 96"/>
            <p:cNvSpPr/>
            <p:nvPr userDrawn="1"/>
          </p:nvSpPr>
          <p:spPr bwMode="auto">
            <a:xfrm>
              <a:off x="6292056" y="3133726"/>
              <a:ext cx="49213" cy="53975"/>
            </a:xfrm>
            <a:custGeom>
              <a:avLst/>
              <a:gdLst>
                <a:gd name="T0" fmla="*/ 0 w 31"/>
                <a:gd name="T1" fmla="*/ 5 h 34"/>
                <a:gd name="T2" fmla="*/ 5 w 31"/>
                <a:gd name="T3" fmla="*/ 34 h 34"/>
                <a:gd name="T4" fmla="*/ 31 w 31"/>
                <a:gd name="T5" fmla="*/ 29 h 34"/>
                <a:gd name="T6" fmla="*/ 28 w 31"/>
                <a:gd name="T7" fmla="*/ 0 h 34"/>
                <a:gd name="T8" fmla="*/ 0 w 31"/>
                <a:gd name="T9" fmla="*/ 5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34">
                  <a:moveTo>
                    <a:pt x="0" y="5"/>
                  </a:moveTo>
                  <a:lnTo>
                    <a:pt x="5" y="34"/>
                  </a:lnTo>
                  <a:lnTo>
                    <a:pt x="31" y="29"/>
                  </a:lnTo>
                  <a:lnTo>
                    <a:pt x="28" y="0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C991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25" name="Freeform 97"/>
            <p:cNvSpPr/>
            <p:nvPr userDrawn="1"/>
          </p:nvSpPr>
          <p:spPr bwMode="auto">
            <a:xfrm>
              <a:off x="6017418" y="3001963"/>
              <a:ext cx="327025" cy="323850"/>
            </a:xfrm>
            <a:custGeom>
              <a:avLst/>
              <a:gdLst>
                <a:gd name="T0" fmla="*/ 116 w 120"/>
                <a:gd name="T1" fmla="*/ 38 h 119"/>
                <a:gd name="T2" fmla="*/ 104 w 120"/>
                <a:gd name="T3" fmla="*/ 11 h 119"/>
                <a:gd name="T4" fmla="*/ 69 w 120"/>
                <a:gd name="T5" fmla="*/ 0 h 119"/>
                <a:gd name="T6" fmla="*/ 60 w 120"/>
                <a:gd name="T7" fmla="*/ 11 h 119"/>
                <a:gd name="T8" fmla="*/ 51 w 120"/>
                <a:gd name="T9" fmla="*/ 0 h 119"/>
                <a:gd name="T10" fmla="*/ 15 w 120"/>
                <a:gd name="T11" fmla="*/ 11 h 119"/>
                <a:gd name="T12" fmla="*/ 4 w 120"/>
                <a:gd name="T13" fmla="*/ 38 h 119"/>
                <a:gd name="T14" fmla="*/ 4 w 120"/>
                <a:gd name="T15" fmla="*/ 38 h 119"/>
                <a:gd name="T16" fmla="*/ 4 w 120"/>
                <a:gd name="T17" fmla="*/ 38 h 119"/>
                <a:gd name="T18" fmla="*/ 4 w 120"/>
                <a:gd name="T19" fmla="*/ 38 h 119"/>
                <a:gd name="T20" fmla="*/ 0 w 120"/>
                <a:gd name="T21" fmla="*/ 60 h 119"/>
                <a:gd name="T22" fmla="*/ 22 w 120"/>
                <a:gd name="T23" fmla="*/ 65 h 119"/>
                <a:gd name="T24" fmla="*/ 25 w 120"/>
                <a:gd name="T25" fmla="*/ 38 h 119"/>
                <a:gd name="T26" fmla="*/ 22 w 120"/>
                <a:gd name="T27" fmla="*/ 116 h 119"/>
                <a:gd name="T28" fmla="*/ 99 w 120"/>
                <a:gd name="T29" fmla="*/ 119 h 119"/>
                <a:gd name="T30" fmla="*/ 95 w 120"/>
                <a:gd name="T31" fmla="*/ 38 h 119"/>
                <a:gd name="T32" fmla="*/ 100 w 120"/>
                <a:gd name="T33" fmla="*/ 67 h 119"/>
                <a:gd name="T34" fmla="*/ 120 w 120"/>
                <a:gd name="T35" fmla="*/ 64 h 119"/>
                <a:gd name="T36" fmla="*/ 116 w 120"/>
                <a:gd name="T37" fmla="*/ 38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0" h="119">
                  <a:moveTo>
                    <a:pt x="116" y="38"/>
                  </a:moveTo>
                  <a:cubicBezTo>
                    <a:pt x="116" y="20"/>
                    <a:pt x="104" y="11"/>
                    <a:pt x="104" y="11"/>
                  </a:cubicBezTo>
                  <a:cubicBezTo>
                    <a:pt x="104" y="5"/>
                    <a:pt x="70" y="0"/>
                    <a:pt x="69" y="0"/>
                  </a:cubicBezTo>
                  <a:cubicBezTo>
                    <a:pt x="60" y="11"/>
                    <a:pt x="60" y="11"/>
                    <a:pt x="60" y="11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50" y="0"/>
                    <a:pt x="16" y="5"/>
                    <a:pt x="15" y="11"/>
                  </a:cubicBezTo>
                  <a:cubicBezTo>
                    <a:pt x="15" y="11"/>
                    <a:pt x="7" y="19"/>
                    <a:pt x="4" y="38"/>
                  </a:cubicBezTo>
                  <a:cubicBezTo>
                    <a:pt x="4" y="38"/>
                    <a:pt x="4" y="38"/>
                    <a:pt x="4" y="38"/>
                  </a:cubicBezTo>
                  <a:cubicBezTo>
                    <a:pt x="4" y="38"/>
                    <a:pt x="4" y="38"/>
                    <a:pt x="4" y="38"/>
                  </a:cubicBezTo>
                  <a:cubicBezTo>
                    <a:pt x="4" y="38"/>
                    <a:pt x="4" y="38"/>
                    <a:pt x="4" y="38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2" y="65"/>
                    <a:pt x="22" y="65"/>
                    <a:pt x="22" y="65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2" y="116"/>
                    <a:pt x="22" y="116"/>
                    <a:pt x="22" y="116"/>
                  </a:cubicBezTo>
                  <a:cubicBezTo>
                    <a:pt x="99" y="119"/>
                    <a:pt x="99" y="119"/>
                    <a:pt x="99" y="119"/>
                  </a:cubicBezTo>
                  <a:cubicBezTo>
                    <a:pt x="95" y="38"/>
                    <a:pt x="95" y="38"/>
                    <a:pt x="95" y="38"/>
                  </a:cubicBezTo>
                  <a:cubicBezTo>
                    <a:pt x="100" y="67"/>
                    <a:pt x="100" y="67"/>
                    <a:pt x="100" y="67"/>
                  </a:cubicBezTo>
                  <a:cubicBezTo>
                    <a:pt x="120" y="64"/>
                    <a:pt x="120" y="64"/>
                    <a:pt x="120" y="64"/>
                  </a:cubicBezTo>
                  <a:lnTo>
                    <a:pt x="116" y="38"/>
                  </a:lnTo>
                  <a:close/>
                </a:path>
              </a:pathLst>
            </a:custGeom>
            <a:solidFill>
              <a:srgbClr val="BC66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26" name="Freeform 98"/>
            <p:cNvSpPr/>
            <p:nvPr userDrawn="1"/>
          </p:nvSpPr>
          <p:spPr bwMode="auto">
            <a:xfrm>
              <a:off x="6088856" y="2841626"/>
              <a:ext cx="187325" cy="122238"/>
            </a:xfrm>
            <a:custGeom>
              <a:avLst/>
              <a:gdLst>
                <a:gd name="T0" fmla="*/ 5 w 69"/>
                <a:gd name="T1" fmla="*/ 11 h 45"/>
                <a:gd name="T2" fmla="*/ 17 w 69"/>
                <a:gd name="T3" fmla="*/ 45 h 45"/>
                <a:gd name="T4" fmla="*/ 50 w 69"/>
                <a:gd name="T5" fmla="*/ 45 h 45"/>
                <a:gd name="T6" fmla="*/ 63 w 69"/>
                <a:gd name="T7" fmla="*/ 11 h 45"/>
                <a:gd name="T8" fmla="*/ 36 w 69"/>
                <a:gd name="T9" fmla="*/ 0 h 45"/>
                <a:gd name="T10" fmla="*/ 5 w 69"/>
                <a:gd name="T11" fmla="*/ 1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9" h="45">
                  <a:moveTo>
                    <a:pt x="5" y="11"/>
                  </a:moveTo>
                  <a:cubicBezTo>
                    <a:pt x="0" y="18"/>
                    <a:pt x="10" y="45"/>
                    <a:pt x="17" y="45"/>
                  </a:cubicBezTo>
                  <a:cubicBezTo>
                    <a:pt x="24" y="45"/>
                    <a:pt x="44" y="45"/>
                    <a:pt x="50" y="45"/>
                  </a:cubicBezTo>
                  <a:cubicBezTo>
                    <a:pt x="57" y="45"/>
                    <a:pt x="69" y="16"/>
                    <a:pt x="63" y="11"/>
                  </a:cubicBezTo>
                  <a:cubicBezTo>
                    <a:pt x="56" y="6"/>
                    <a:pt x="36" y="0"/>
                    <a:pt x="36" y="0"/>
                  </a:cubicBezTo>
                  <a:cubicBezTo>
                    <a:pt x="36" y="0"/>
                    <a:pt x="10" y="6"/>
                    <a:pt x="5" y="11"/>
                  </a:cubicBezTo>
                  <a:close/>
                </a:path>
              </a:pathLst>
            </a:custGeom>
            <a:solidFill>
              <a:srgbClr val="663F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27" name="Freeform 99"/>
            <p:cNvSpPr/>
            <p:nvPr userDrawn="1"/>
          </p:nvSpPr>
          <p:spPr bwMode="auto">
            <a:xfrm>
              <a:off x="6082506" y="2871788"/>
              <a:ext cx="38100" cy="44450"/>
            </a:xfrm>
            <a:custGeom>
              <a:avLst/>
              <a:gdLst>
                <a:gd name="T0" fmla="*/ 10 w 14"/>
                <a:gd name="T1" fmla="*/ 15 h 16"/>
                <a:gd name="T2" fmla="*/ 1 w 14"/>
                <a:gd name="T3" fmla="*/ 9 h 16"/>
                <a:gd name="T4" fmla="*/ 7 w 14"/>
                <a:gd name="T5" fmla="*/ 1 h 16"/>
                <a:gd name="T6" fmla="*/ 10 w 14"/>
                <a:gd name="T7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16">
                  <a:moveTo>
                    <a:pt x="10" y="15"/>
                  </a:moveTo>
                  <a:cubicBezTo>
                    <a:pt x="6" y="16"/>
                    <a:pt x="2" y="13"/>
                    <a:pt x="1" y="9"/>
                  </a:cubicBezTo>
                  <a:cubicBezTo>
                    <a:pt x="0" y="5"/>
                    <a:pt x="3" y="1"/>
                    <a:pt x="7" y="1"/>
                  </a:cubicBezTo>
                  <a:cubicBezTo>
                    <a:pt x="11" y="0"/>
                    <a:pt x="14" y="14"/>
                    <a:pt x="10" y="15"/>
                  </a:cubicBezTo>
                  <a:close/>
                </a:path>
              </a:pathLst>
            </a:custGeom>
            <a:solidFill>
              <a:srgbClr val="FFB7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28" name="Freeform 100"/>
            <p:cNvSpPr/>
            <p:nvPr userDrawn="1"/>
          </p:nvSpPr>
          <p:spPr bwMode="auto">
            <a:xfrm>
              <a:off x="6238081" y="2871788"/>
              <a:ext cx="38100" cy="44450"/>
            </a:xfrm>
            <a:custGeom>
              <a:avLst/>
              <a:gdLst>
                <a:gd name="T0" fmla="*/ 4 w 14"/>
                <a:gd name="T1" fmla="*/ 15 h 16"/>
                <a:gd name="T2" fmla="*/ 13 w 14"/>
                <a:gd name="T3" fmla="*/ 9 h 16"/>
                <a:gd name="T4" fmla="*/ 7 w 14"/>
                <a:gd name="T5" fmla="*/ 1 h 16"/>
                <a:gd name="T6" fmla="*/ 4 w 14"/>
                <a:gd name="T7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16">
                  <a:moveTo>
                    <a:pt x="4" y="15"/>
                  </a:moveTo>
                  <a:cubicBezTo>
                    <a:pt x="8" y="16"/>
                    <a:pt x="12" y="13"/>
                    <a:pt x="13" y="9"/>
                  </a:cubicBezTo>
                  <a:cubicBezTo>
                    <a:pt x="14" y="5"/>
                    <a:pt x="11" y="1"/>
                    <a:pt x="7" y="1"/>
                  </a:cubicBezTo>
                  <a:cubicBezTo>
                    <a:pt x="3" y="0"/>
                    <a:pt x="0" y="14"/>
                    <a:pt x="4" y="15"/>
                  </a:cubicBezTo>
                  <a:close/>
                </a:path>
              </a:pathLst>
            </a:custGeom>
            <a:solidFill>
              <a:srgbClr val="FFB7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29" name="Freeform 101"/>
            <p:cNvSpPr/>
            <p:nvPr userDrawn="1"/>
          </p:nvSpPr>
          <p:spPr bwMode="auto">
            <a:xfrm>
              <a:off x="6099968" y="2801938"/>
              <a:ext cx="165100" cy="184150"/>
            </a:xfrm>
            <a:custGeom>
              <a:avLst/>
              <a:gdLst>
                <a:gd name="T0" fmla="*/ 30 w 61"/>
                <a:gd name="T1" fmla="*/ 68 h 68"/>
                <a:gd name="T2" fmla="*/ 57 w 61"/>
                <a:gd name="T3" fmla="*/ 17 h 68"/>
                <a:gd name="T4" fmla="*/ 31 w 61"/>
                <a:gd name="T5" fmla="*/ 0 h 68"/>
                <a:gd name="T6" fmla="*/ 3 w 61"/>
                <a:gd name="T7" fmla="*/ 17 h 68"/>
                <a:gd name="T8" fmla="*/ 30 w 61"/>
                <a:gd name="T9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68">
                  <a:moveTo>
                    <a:pt x="30" y="68"/>
                  </a:moveTo>
                  <a:cubicBezTo>
                    <a:pt x="61" y="68"/>
                    <a:pt x="57" y="17"/>
                    <a:pt x="57" y="17"/>
                  </a:cubicBezTo>
                  <a:cubicBezTo>
                    <a:pt x="57" y="17"/>
                    <a:pt x="56" y="0"/>
                    <a:pt x="31" y="0"/>
                  </a:cubicBezTo>
                  <a:cubicBezTo>
                    <a:pt x="8" y="0"/>
                    <a:pt x="3" y="17"/>
                    <a:pt x="3" y="17"/>
                  </a:cubicBezTo>
                  <a:cubicBezTo>
                    <a:pt x="3" y="17"/>
                    <a:pt x="0" y="68"/>
                    <a:pt x="30" y="68"/>
                  </a:cubicBezTo>
                  <a:close/>
                </a:path>
              </a:pathLst>
            </a:custGeom>
            <a:solidFill>
              <a:srgbClr val="FFB7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30" name="Freeform 102"/>
            <p:cNvSpPr/>
            <p:nvPr userDrawn="1"/>
          </p:nvSpPr>
          <p:spPr bwMode="auto">
            <a:xfrm>
              <a:off x="6085681" y="2771776"/>
              <a:ext cx="201613" cy="119063"/>
            </a:xfrm>
            <a:custGeom>
              <a:avLst/>
              <a:gdLst>
                <a:gd name="T0" fmla="*/ 4 w 74"/>
                <a:gd name="T1" fmla="*/ 38 h 44"/>
                <a:gd name="T2" fmla="*/ 10 w 74"/>
                <a:gd name="T3" fmla="*/ 42 h 44"/>
                <a:gd name="T4" fmla="*/ 11 w 74"/>
                <a:gd name="T5" fmla="*/ 24 h 44"/>
                <a:gd name="T6" fmla="*/ 24 w 74"/>
                <a:gd name="T7" fmla="*/ 29 h 44"/>
                <a:gd name="T8" fmla="*/ 23 w 74"/>
                <a:gd name="T9" fmla="*/ 21 h 44"/>
                <a:gd name="T10" fmla="*/ 38 w 74"/>
                <a:gd name="T11" fmla="*/ 28 h 44"/>
                <a:gd name="T12" fmla="*/ 49 w 74"/>
                <a:gd name="T13" fmla="*/ 28 h 44"/>
                <a:gd name="T14" fmla="*/ 48 w 74"/>
                <a:gd name="T15" fmla="*/ 21 h 44"/>
                <a:gd name="T16" fmla="*/ 53 w 74"/>
                <a:gd name="T17" fmla="*/ 23 h 44"/>
                <a:gd name="T18" fmla="*/ 58 w 74"/>
                <a:gd name="T19" fmla="*/ 24 h 44"/>
                <a:gd name="T20" fmla="*/ 61 w 74"/>
                <a:gd name="T21" fmla="*/ 43 h 44"/>
                <a:gd name="T22" fmla="*/ 66 w 74"/>
                <a:gd name="T23" fmla="*/ 39 h 44"/>
                <a:gd name="T24" fmla="*/ 35 w 74"/>
                <a:gd name="T25" fmla="*/ 3 h 44"/>
                <a:gd name="T26" fmla="*/ 24 w 74"/>
                <a:gd name="T27" fmla="*/ 4 h 44"/>
                <a:gd name="T28" fmla="*/ 22 w 74"/>
                <a:gd name="T29" fmla="*/ 0 h 44"/>
                <a:gd name="T30" fmla="*/ 20 w 74"/>
                <a:gd name="T31" fmla="*/ 5 h 44"/>
                <a:gd name="T32" fmla="*/ 12 w 74"/>
                <a:gd name="T33" fmla="*/ 0 h 44"/>
                <a:gd name="T34" fmla="*/ 13 w 74"/>
                <a:gd name="T35" fmla="*/ 8 h 44"/>
                <a:gd name="T36" fmla="*/ 4 w 74"/>
                <a:gd name="T37" fmla="*/ 38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4" h="44">
                  <a:moveTo>
                    <a:pt x="4" y="38"/>
                  </a:moveTo>
                  <a:cubicBezTo>
                    <a:pt x="7" y="37"/>
                    <a:pt x="10" y="42"/>
                    <a:pt x="10" y="42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1" y="24"/>
                    <a:pt x="17" y="29"/>
                    <a:pt x="24" y="29"/>
                  </a:cubicBezTo>
                  <a:cubicBezTo>
                    <a:pt x="23" y="25"/>
                    <a:pt x="23" y="21"/>
                    <a:pt x="23" y="21"/>
                  </a:cubicBezTo>
                  <a:cubicBezTo>
                    <a:pt x="25" y="24"/>
                    <a:pt x="33" y="27"/>
                    <a:pt x="38" y="28"/>
                  </a:cubicBezTo>
                  <a:cubicBezTo>
                    <a:pt x="36" y="22"/>
                    <a:pt x="44" y="23"/>
                    <a:pt x="49" y="28"/>
                  </a:cubicBezTo>
                  <a:cubicBezTo>
                    <a:pt x="47" y="23"/>
                    <a:pt x="46" y="23"/>
                    <a:pt x="48" y="21"/>
                  </a:cubicBezTo>
                  <a:cubicBezTo>
                    <a:pt x="53" y="20"/>
                    <a:pt x="53" y="23"/>
                    <a:pt x="53" y="23"/>
                  </a:cubicBezTo>
                  <a:cubicBezTo>
                    <a:pt x="56" y="20"/>
                    <a:pt x="58" y="24"/>
                    <a:pt x="58" y="24"/>
                  </a:cubicBezTo>
                  <a:cubicBezTo>
                    <a:pt x="58" y="24"/>
                    <a:pt x="61" y="44"/>
                    <a:pt x="61" y="43"/>
                  </a:cubicBezTo>
                  <a:cubicBezTo>
                    <a:pt x="62" y="38"/>
                    <a:pt x="66" y="39"/>
                    <a:pt x="66" y="39"/>
                  </a:cubicBezTo>
                  <a:cubicBezTo>
                    <a:pt x="66" y="39"/>
                    <a:pt x="74" y="3"/>
                    <a:pt x="35" y="3"/>
                  </a:cubicBezTo>
                  <a:cubicBezTo>
                    <a:pt x="31" y="3"/>
                    <a:pt x="27" y="3"/>
                    <a:pt x="24" y="4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0" y="18"/>
                    <a:pt x="4" y="37"/>
                    <a:pt x="4" y="38"/>
                  </a:cubicBezTo>
                  <a:close/>
                </a:path>
              </a:pathLst>
            </a:custGeom>
            <a:solidFill>
              <a:srgbClr val="663F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31" name="Rectangle 103"/>
            <p:cNvSpPr>
              <a:spLocks noChangeArrowheads="1"/>
            </p:cNvSpPr>
            <p:nvPr userDrawn="1"/>
          </p:nvSpPr>
          <p:spPr bwMode="auto">
            <a:xfrm>
              <a:off x="6196806" y="3097213"/>
              <a:ext cx="60325" cy="17463"/>
            </a:xfrm>
            <a:prstGeom prst="rect">
              <a:avLst/>
            </a:prstGeom>
            <a:solidFill>
              <a:srgbClr val="E6E6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32" name="Freeform 104"/>
            <p:cNvSpPr/>
            <p:nvPr userDrawn="1"/>
          </p:nvSpPr>
          <p:spPr bwMode="auto">
            <a:xfrm>
              <a:off x="6196806" y="3114676"/>
              <a:ext cx="60325" cy="58738"/>
            </a:xfrm>
            <a:custGeom>
              <a:avLst/>
              <a:gdLst>
                <a:gd name="T0" fmla="*/ 38 w 38"/>
                <a:gd name="T1" fmla="*/ 29 h 37"/>
                <a:gd name="T2" fmla="*/ 19 w 38"/>
                <a:gd name="T3" fmla="*/ 37 h 37"/>
                <a:gd name="T4" fmla="*/ 0 w 38"/>
                <a:gd name="T5" fmla="*/ 29 h 37"/>
                <a:gd name="T6" fmla="*/ 0 w 38"/>
                <a:gd name="T7" fmla="*/ 0 h 37"/>
                <a:gd name="T8" fmla="*/ 38 w 38"/>
                <a:gd name="T9" fmla="*/ 0 h 37"/>
                <a:gd name="T10" fmla="*/ 38 w 38"/>
                <a:gd name="T11" fmla="*/ 29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8" h="37">
                  <a:moveTo>
                    <a:pt x="38" y="29"/>
                  </a:moveTo>
                  <a:lnTo>
                    <a:pt x="19" y="37"/>
                  </a:lnTo>
                  <a:lnTo>
                    <a:pt x="0" y="29"/>
                  </a:lnTo>
                  <a:lnTo>
                    <a:pt x="0" y="0"/>
                  </a:lnTo>
                  <a:lnTo>
                    <a:pt x="38" y="0"/>
                  </a:lnTo>
                  <a:lnTo>
                    <a:pt x="38" y="29"/>
                  </a:lnTo>
                  <a:close/>
                </a:path>
              </a:pathLst>
            </a:custGeom>
            <a:solidFill>
              <a:srgbClr val="8F4D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33" name="Freeform 105"/>
            <p:cNvSpPr/>
            <p:nvPr userDrawn="1"/>
          </p:nvSpPr>
          <p:spPr bwMode="auto">
            <a:xfrm>
              <a:off x="6096793" y="3532188"/>
              <a:ext cx="76200" cy="217488"/>
            </a:xfrm>
            <a:custGeom>
              <a:avLst/>
              <a:gdLst>
                <a:gd name="T0" fmla="*/ 48 w 48"/>
                <a:gd name="T1" fmla="*/ 137 h 137"/>
                <a:gd name="T2" fmla="*/ 12 w 48"/>
                <a:gd name="T3" fmla="*/ 137 h 137"/>
                <a:gd name="T4" fmla="*/ 0 w 48"/>
                <a:gd name="T5" fmla="*/ 0 h 137"/>
                <a:gd name="T6" fmla="*/ 48 w 48"/>
                <a:gd name="T7" fmla="*/ 0 h 137"/>
                <a:gd name="T8" fmla="*/ 48 w 48"/>
                <a:gd name="T9" fmla="*/ 137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137">
                  <a:moveTo>
                    <a:pt x="48" y="137"/>
                  </a:moveTo>
                  <a:lnTo>
                    <a:pt x="12" y="137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137"/>
                  </a:lnTo>
                  <a:close/>
                </a:path>
              </a:pathLst>
            </a:custGeom>
            <a:solidFill>
              <a:srgbClr val="FFB7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34" name="Freeform 106"/>
            <p:cNvSpPr/>
            <p:nvPr userDrawn="1"/>
          </p:nvSpPr>
          <p:spPr bwMode="auto">
            <a:xfrm>
              <a:off x="6185693" y="3532188"/>
              <a:ext cx="76200" cy="217488"/>
            </a:xfrm>
            <a:custGeom>
              <a:avLst/>
              <a:gdLst>
                <a:gd name="T0" fmla="*/ 0 w 48"/>
                <a:gd name="T1" fmla="*/ 137 h 137"/>
                <a:gd name="T2" fmla="*/ 36 w 48"/>
                <a:gd name="T3" fmla="*/ 137 h 137"/>
                <a:gd name="T4" fmla="*/ 48 w 48"/>
                <a:gd name="T5" fmla="*/ 0 h 137"/>
                <a:gd name="T6" fmla="*/ 0 w 48"/>
                <a:gd name="T7" fmla="*/ 0 h 137"/>
                <a:gd name="T8" fmla="*/ 0 w 48"/>
                <a:gd name="T9" fmla="*/ 137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137">
                  <a:moveTo>
                    <a:pt x="0" y="137"/>
                  </a:moveTo>
                  <a:lnTo>
                    <a:pt x="36" y="137"/>
                  </a:lnTo>
                  <a:lnTo>
                    <a:pt x="48" y="0"/>
                  </a:lnTo>
                  <a:lnTo>
                    <a:pt x="0" y="0"/>
                  </a:lnTo>
                  <a:lnTo>
                    <a:pt x="0" y="137"/>
                  </a:lnTo>
                  <a:close/>
                </a:path>
              </a:pathLst>
            </a:custGeom>
            <a:solidFill>
              <a:srgbClr val="FFB7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35" name="Freeform 107"/>
            <p:cNvSpPr/>
            <p:nvPr userDrawn="1"/>
          </p:nvSpPr>
          <p:spPr bwMode="auto">
            <a:xfrm>
              <a:off x="6246018" y="3740151"/>
              <a:ext cx="166688" cy="115888"/>
            </a:xfrm>
            <a:custGeom>
              <a:avLst/>
              <a:gdLst>
                <a:gd name="T0" fmla="*/ 57 w 61"/>
                <a:gd name="T1" fmla="*/ 35 h 43"/>
                <a:gd name="T2" fmla="*/ 17 w 61"/>
                <a:gd name="T3" fmla="*/ 21 h 43"/>
                <a:gd name="T4" fmla="*/ 8 w 61"/>
                <a:gd name="T5" fmla="*/ 0 h 43"/>
                <a:gd name="T6" fmla="*/ 0 w 61"/>
                <a:gd name="T7" fmla="*/ 0 h 43"/>
                <a:gd name="T8" fmla="*/ 11 w 61"/>
                <a:gd name="T9" fmla="*/ 26 h 43"/>
                <a:gd name="T10" fmla="*/ 57 w 61"/>
                <a:gd name="T11" fmla="*/ 43 h 43"/>
                <a:gd name="T12" fmla="*/ 61 w 61"/>
                <a:gd name="T13" fmla="*/ 39 h 43"/>
                <a:gd name="T14" fmla="*/ 57 w 61"/>
                <a:gd name="T15" fmla="*/ 35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1" h="43">
                  <a:moveTo>
                    <a:pt x="57" y="35"/>
                  </a:moveTo>
                  <a:cubicBezTo>
                    <a:pt x="39" y="35"/>
                    <a:pt x="25" y="30"/>
                    <a:pt x="17" y="21"/>
                  </a:cubicBezTo>
                  <a:cubicBezTo>
                    <a:pt x="12" y="15"/>
                    <a:pt x="9" y="8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10"/>
                    <a:pt x="5" y="19"/>
                    <a:pt x="11" y="26"/>
                  </a:cubicBezTo>
                  <a:cubicBezTo>
                    <a:pt x="21" y="37"/>
                    <a:pt x="36" y="43"/>
                    <a:pt x="57" y="43"/>
                  </a:cubicBezTo>
                  <a:cubicBezTo>
                    <a:pt x="59" y="43"/>
                    <a:pt x="61" y="41"/>
                    <a:pt x="61" y="39"/>
                  </a:cubicBezTo>
                  <a:cubicBezTo>
                    <a:pt x="61" y="37"/>
                    <a:pt x="59" y="35"/>
                    <a:pt x="57" y="35"/>
                  </a:cubicBezTo>
                  <a:close/>
                </a:path>
              </a:pathLst>
            </a:custGeom>
            <a:solidFill>
              <a:srgbClr val="CC88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36" name="Freeform 108"/>
            <p:cNvSpPr/>
            <p:nvPr userDrawn="1"/>
          </p:nvSpPr>
          <p:spPr bwMode="auto">
            <a:xfrm>
              <a:off x="6246018" y="3694113"/>
              <a:ext cx="25400" cy="46038"/>
            </a:xfrm>
            <a:custGeom>
              <a:avLst/>
              <a:gdLst>
                <a:gd name="T0" fmla="*/ 8 w 9"/>
                <a:gd name="T1" fmla="*/ 16 h 17"/>
                <a:gd name="T2" fmla="*/ 8 w 9"/>
                <a:gd name="T3" fmla="*/ 12 h 17"/>
                <a:gd name="T4" fmla="*/ 8 w 9"/>
                <a:gd name="T5" fmla="*/ 10 h 17"/>
                <a:gd name="T6" fmla="*/ 9 w 9"/>
                <a:gd name="T7" fmla="*/ 5 h 17"/>
                <a:gd name="T8" fmla="*/ 5 w 9"/>
                <a:gd name="T9" fmla="*/ 0 h 17"/>
                <a:gd name="T10" fmla="*/ 1 w 9"/>
                <a:gd name="T11" fmla="*/ 4 h 17"/>
                <a:gd name="T12" fmla="*/ 0 w 9"/>
                <a:gd name="T13" fmla="*/ 10 h 17"/>
                <a:gd name="T14" fmla="*/ 0 w 9"/>
                <a:gd name="T15" fmla="*/ 12 h 17"/>
                <a:gd name="T16" fmla="*/ 0 w 9"/>
                <a:gd name="T17" fmla="*/ 16 h 17"/>
                <a:gd name="T18" fmla="*/ 0 w 9"/>
                <a:gd name="T19" fmla="*/ 17 h 17"/>
                <a:gd name="T20" fmla="*/ 0 w 9"/>
                <a:gd name="T21" fmla="*/ 17 h 17"/>
                <a:gd name="T22" fmla="*/ 8 w 9"/>
                <a:gd name="T23" fmla="*/ 17 h 17"/>
                <a:gd name="T24" fmla="*/ 8 w 9"/>
                <a:gd name="T25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" h="17">
                  <a:moveTo>
                    <a:pt x="8" y="16"/>
                  </a:moveTo>
                  <a:cubicBezTo>
                    <a:pt x="8" y="15"/>
                    <a:pt x="8" y="13"/>
                    <a:pt x="8" y="12"/>
                  </a:cubicBezTo>
                  <a:cubicBezTo>
                    <a:pt x="8" y="11"/>
                    <a:pt x="8" y="11"/>
                    <a:pt x="8" y="10"/>
                  </a:cubicBezTo>
                  <a:cubicBezTo>
                    <a:pt x="8" y="9"/>
                    <a:pt x="8" y="7"/>
                    <a:pt x="9" y="5"/>
                  </a:cubicBezTo>
                  <a:cubicBezTo>
                    <a:pt x="9" y="3"/>
                    <a:pt x="7" y="1"/>
                    <a:pt x="5" y="0"/>
                  </a:cubicBezTo>
                  <a:cubicBezTo>
                    <a:pt x="3" y="0"/>
                    <a:pt x="1" y="1"/>
                    <a:pt x="1" y="4"/>
                  </a:cubicBezTo>
                  <a:cubicBezTo>
                    <a:pt x="0" y="6"/>
                    <a:pt x="0" y="8"/>
                    <a:pt x="0" y="10"/>
                  </a:cubicBezTo>
                  <a:cubicBezTo>
                    <a:pt x="0" y="11"/>
                    <a:pt x="0" y="11"/>
                    <a:pt x="0" y="12"/>
                  </a:cubicBezTo>
                  <a:cubicBezTo>
                    <a:pt x="0" y="14"/>
                    <a:pt x="0" y="15"/>
                    <a:pt x="0" y="16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8" y="17"/>
                    <a:pt x="8" y="17"/>
                    <a:pt x="8" y="17"/>
                  </a:cubicBezTo>
                  <a:lnTo>
                    <a:pt x="8" y="16"/>
                  </a:lnTo>
                  <a:close/>
                </a:path>
              </a:pathLst>
            </a:custGeom>
            <a:solidFill>
              <a:srgbClr val="8A5C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37" name="Freeform 109"/>
            <p:cNvSpPr/>
            <p:nvPr userDrawn="1"/>
          </p:nvSpPr>
          <p:spPr bwMode="auto">
            <a:xfrm>
              <a:off x="6311106" y="3511551"/>
              <a:ext cx="327025" cy="355600"/>
            </a:xfrm>
            <a:custGeom>
              <a:avLst/>
              <a:gdLst>
                <a:gd name="T0" fmla="*/ 77 w 120"/>
                <a:gd name="T1" fmla="*/ 131 h 131"/>
                <a:gd name="T2" fmla="*/ 43 w 120"/>
                <a:gd name="T3" fmla="*/ 131 h 131"/>
                <a:gd name="T4" fmla="*/ 9 w 120"/>
                <a:gd name="T5" fmla="*/ 77 h 131"/>
                <a:gd name="T6" fmla="*/ 26 w 120"/>
                <a:gd name="T7" fmla="*/ 32 h 131"/>
                <a:gd name="T8" fmla="*/ 94 w 120"/>
                <a:gd name="T9" fmla="*/ 32 h 131"/>
                <a:gd name="T10" fmla="*/ 111 w 120"/>
                <a:gd name="T11" fmla="*/ 77 h 131"/>
                <a:gd name="T12" fmla="*/ 77 w 120"/>
                <a:gd name="T13" fmla="*/ 131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0" h="131">
                  <a:moveTo>
                    <a:pt x="77" y="131"/>
                  </a:moveTo>
                  <a:cubicBezTo>
                    <a:pt x="43" y="131"/>
                    <a:pt x="43" y="131"/>
                    <a:pt x="43" y="131"/>
                  </a:cubicBezTo>
                  <a:cubicBezTo>
                    <a:pt x="17" y="131"/>
                    <a:pt x="0" y="103"/>
                    <a:pt x="9" y="77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39" y="0"/>
                    <a:pt x="81" y="0"/>
                    <a:pt x="94" y="32"/>
                  </a:cubicBezTo>
                  <a:cubicBezTo>
                    <a:pt x="111" y="77"/>
                    <a:pt x="111" y="77"/>
                    <a:pt x="111" y="77"/>
                  </a:cubicBezTo>
                  <a:cubicBezTo>
                    <a:pt x="120" y="103"/>
                    <a:pt x="103" y="131"/>
                    <a:pt x="77" y="131"/>
                  </a:cubicBezTo>
                  <a:close/>
                </a:path>
              </a:pathLst>
            </a:custGeom>
            <a:solidFill>
              <a:srgbClr val="E69A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38" name="Oval 110"/>
            <p:cNvSpPr>
              <a:spLocks noChangeArrowheads="1"/>
            </p:cNvSpPr>
            <p:nvPr userDrawn="1"/>
          </p:nvSpPr>
          <p:spPr bwMode="auto">
            <a:xfrm>
              <a:off x="6460331" y="3656013"/>
              <a:ext cx="30163" cy="1905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39" name="Freeform 111"/>
            <p:cNvSpPr/>
            <p:nvPr userDrawn="1"/>
          </p:nvSpPr>
          <p:spPr bwMode="auto">
            <a:xfrm>
              <a:off x="6477793" y="3627438"/>
              <a:ext cx="58738" cy="44450"/>
            </a:xfrm>
            <a:custGeom>
              <a:avLst/>
              <a:gdLst>
                <a:gd name="T0" fmla="*/ 0 w 22"/>
                <a:gd name="T1" fmla="*/ 10 h 16"/>
                <a:gd name="T2" fmla="*/ 11 w 22"/>
                <a:gd name="T3" fmla="*/ 14 h 16"/>
                <a:gd name="T4" fmla="*/ 18 w 22"/>
                <a:gd name="T5" fmla="*/ 0 h 16"/>
                <a:gd name="T6" fmla="*/ 0 w 22"/>
                <a:gd name="T7" fmla="*/ 3 h 16"/>
                <a:gd name="T8" fmla="*/ 0 w 22"/>
                <a:gd name="T9" fmla="*/ 1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16">
                  <a:moveTo>
                    <a:pt x="0" y="10"/>
                  </a:moveTo>
                  <a:cubicBezTo>
                    <a:pt x="0" y="10"/>
                    <a:pt x="5" y="16"/>
                    <a:pt x="11" y="14"/>
                  </a:cubicBezTo>
                  <a:cubicBezTo>
                    <a:pt x="22" y="12"/>
                    <a:pt x="18" y="0"/>
                    <a:pt x="18" y="0"/>
                  </a:cubicBezTo>
                  <a:cubicBezTo>
                    <a:pt x="0" y="3"/>
                    <a:pt x="0" y="3"/>
                    <a:pt x="0" y="3"/>
                  </a:cubicBezTo>
                  <a:lnTo>
                    <a:pt x="0" y="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40" name="Freeform 112"/>
            <p:cNvSpPr/>
            <p:nvPr userDrawn="1"/>
          </p:nvSpPr>
          <p:spPr bwMode="auto">
            <a:xfrm>
              <a:off x="6414293" y="3630613"/>
              <a:ext cx="63500" cy="41275"/>
            </a:xfrm>
            <a:custGeom>
              <a:avLst/>
              <a:gdLst>
                <a:gd name="T0" fmla="*/ 23 w 23"/>
                <a:gd name="T1" fmla="*/ 9 h 15"/>
                <a:gd name="T2" fmla="*/ 11 w 23"/>
                <a:gd name="T3" fmla="*/ 13 h 15"/>
                <a:gd name="T4" fmla="*/ 4 w 23"/>
                <a:gd name="T5" fmla="*/ 0 h 15"/>
                <a:gd name="T6" fmla="*/ 23 w 23"/>
                <a:gd name="T7" fmla="*/ 2 h 15"/>
                <a:gd name="T8" fmla="*/ 23 w 23"/>
                <a:gd name="T9" fmla="*/ 9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15">
                  <a:moveTo>
                    <a:pt x="23" y="9"/>
                  </a:moveTo>
                  <a:cubicBezTo>
                    <a:pt x="23" y="9"/>
                    <a:pt x="17" y="15"/>
                    <a:pt x="11" y="13"/>
                  </a:cubicBezTo>
                  <a:cubicBezTo>
                    <a:pt x="0" y="11"/>
                    <a:pt x="4" y="0"/>
                    <a:pt x="4" y="0"/>
                  </a:cubicBezTo>
                  <a:cubicBezTo>
                    <a:pt x="23" y="2"/>
                    <a:pt x="23" y="2"/>
                    <a:pt x="23" y="2"/>
                  </a:cubicBezTo>
                  <a:lnTo>
                    <a:pt x="23" y="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41" name="Oval 113"/>
            <p:cNvSpPr>
              <a:spLocks noChangeArrowheads="1"/>
            </p:cNvSpPr>
            <p:nvPr userDrawn="1"/>
          </p:nvSpPr>
          <p:spPr bwMode="auto">
            <a:xfrm>
              <a:off x="6409531" y="3573463"/>
              <a:ext cx="127000" cy="68263"/>
            </a:xfrm>
            <a:prstGeom prst="ellipse">
              <a:avLst/>
            </a:prstGeom>
            <a:solidFill>
              <a:srgbClr val="9463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42" name="Freeform 114"/>
            <p:cNvSpPr/>
            <p:nvPr userDrawn="1"/>
          </p:nvSpPr>
          <p:spPr bwMode="auto">
            <a:xfrm>
              <a:off x="6387306" y="3722688"/>
              <a:ext cx="174625" cy="150813"/>
            </a:xfrm>
            <a:custGeom>
              <a:avLst/>
              <a:gdLst>
                <a:gd name="T0" fmla="*/ 64 w 64"/>
                <a:gd name="T1" fmla="*/ 31 h 55"/>
                <a:gd name="T2" fmla="*/ 53 w 64"/>
                <a:gd name="T3" fmla="*/ 53 h 55"/>
                <a:gd name="T4" fmla="*/ 11 w 64"/>
                <a:gd name="T5" fmla="*/ 53 h 55"/>
                <a:gd name="T6" fmla="*/ 0 w 64"/>
                <a:gd name="T7" fmla="*/ 31 h 55"/>
                <a:gd name="T8" fmla="*/ 32 w 64"/>
                <a:gd name="T9" fmla="*/ 0 h 55"/>
                <a:gd name="T10" fmla="*/ 64 w 64"/>
                <a:gd name="T11" fmla="*/ 31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4" h="55">
                  <a:moveTo>
                    <a:pt x="64" y="31"/>
                  </a:moveTo>
                  <a:cubicBezTo>
                    <a:pt x="64" y="40"/>
                    <a:pt x="60" y="48"/>
                    <a:pt x="53" y="53"/>
                  </a:cubicBezTo>
                  <a:cubicBezTo>
                    <a:pt x="49" y="55"/>
                    <a:pt x="13" y="55"/>
                    <a:pt x="11" y="53"/>
                  </a:cubicBezTo>
                  <a:cubicBezTo>
                    <a:pt x="4" y="48"/>
                    <a:pt x="0" y="40"/>
                    <a:pt x="0" y="31"/>
                  </a:cubicBezTo>
                  <a:cubicBezTo>
                    <a:pt x="0" y="14"/>
                    <a:pt x="14" y="0"/>
                    <a:pt x="32" y="0"/>
                  </a:cubicBezTo>
                  <a:cubicBezTo>
                    <a:pt x="50" y="0"/>
                    <a:pt x="64" y="14"/>
                    <a:pt x="64" y="31"/>
                  </a:cubicBezTo>
                  <a:close/>
                </a:path>
              </a:pathLst>
            </a:custGeom>
            <a:solidFill>
              <a:srgbClr val="E6C6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43" name="Oval 115"/>
            <p:cNvSpPr>
              <a:spLocks noChangeArrowheads="1"/>
            </p:cNvSpPr>
            <p:nvPr userDrawn="1"/>
          </p:nvSpPr>
          <p:spPr bwMode="auto">
            <a:xfrm>
              <a:off x="6496843" y="3589338"/>
              <a:ext cx="20638" cy="365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44" name="Oval 116"/>
            <p:cNvSpPr>
              <a:spLocks noChangeArrowheads="1"/>
            </p:cNvSpPr>
            <p:nvPr userDrawn="1"/>
          </p:nvSpPr>
          <p:spPr bwMode="auto">
            <a:xfrm>
              <a:off x="6501606" y="3606801"/>
              <a:ext cx="11113" cy="12700"/>
            </a:xfrm>
            <a:prstGeom prst="ellipse">
              <a:avLst/>
            </a:prstGeom>
            <a:solidFill>
              <a:srgbClr val="2B2B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45" name="Oval 117"/>
            <p:cNvSpPr>
              <a:spLocks noChangeArrowheads="1"/>
            </p:cNvSpPr>
            <p:nvPr userDrawn="1"/>
          </p:nvSpPr>
          <p:spPr bwMode="auto">
            <a:xfrm>
              <a:off x="6433343" y="3589338"/>
              <a:ext cx="22225" cy="365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46" name="Oval 118"/>
            <p:cNvSpPr>
              <a:spLocks noChangeArrowheads="1"/>
            </p:cNvSpPr>
            <p:nvPr userDrawn="1"/>
          </p:nvSpPr>
          <p:spPr bwMode="auto">
            <a:xfrm>
              <a:off x="6441281" y="3606801"/>
              <a:ext cx="9525" cy="12700"/>
            </a:xfrm>
            <a:prstGeom prst="ellipse">
              <a:avLst/>
            </a:prstGeom>
            <a:solidFill>
              <a:srgbClr val="2B2B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47" name="Freeform 119"/>
            <p:cNvSpPr/>
            <p:nvPr userDrawn="1"/>
          </p:nvSpPr>
          <p:spPr bwMode="auto">
            <a:xfrm>
              <a:off x="6504781" y="3494088"/>
              <a:ext cx="61913" cy="79375"/>
            </a:xfrm>
            <a:custGeom>
              <a:avLst/>
              <a:gdLst>
                <a:gd name="T0" fmla="*/ 17 w 23"/>
                <a:gd name="T1" fmla="*/ 29 h 29"/>
                <a:gd name="T2" fmla="*/ 0 w 23"/>
                <a:gd name="T3" fmla="*/ 17 h 29"/>
                <a:gd name="T4" fmla="*/ 22 w 23"/>
                <a:gd name="T5" fmla="*/ 1 h 29"/>
                <a:gd name="T6" fmla="*/ 17 w 23"/>
                <a:gd name="T7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29">
                  <a:moveTo>
                    <a:pt x="17" y="29"/>
                  </a:moveTo>
                  <a:cubicBezTo>
                    <a:pt x="12" y="23"/>
                    <a:pt x="0" y="17"/>
                    <a:pt x="0" y="17"/>
                  </a:cubicBezTo>
                  <a:cubicBezTo>
                    <a:pt x="0" y="17"/>
                    <a:pt x="20" y="0"/>
                    <a:pt x="22" y="1"/>
                  </a:cubicBezTo>
                  <a:cubicBezTo>
                    <a:pt x="23" y="1"/>
                    <a:pt x="20" y="28"/>
                    <a:pt x="17" y="29"/>
                  </a:cubicBezTo>
                  <a:close/>
                </a:path>
              </a:pathLst>
            </a:custGeom>
            <a:solidFill>
              <a:srgbClr val="A66F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48" name="Freeform 120"/>
            <p:cNvSpPr/>
            <p:nvPr userDrawn="1"/>
          </p:nvSpPr>
          <p:spPr bwMode="auto">
            <a:xfrm>
              <a:off x="6517481" y="3516313"/>
              <a:ext cx="36513" cy="44450"/>
            </a:xfrm>
            <a:custGeom>
              <a:avLst/>
              <a:gdLst>
                <a:gd name="T0" fmla="*/ 10 w 13"/>
                <a:gd name="T1" fmla="*/ 16 h 16"/>
                <a:gd name="T2" fmla="*/ 0 w 13"/>
                <a:gd name="T3" fmla="*/ 10 h 16"/>
                <a:gd name="T4" fmla="*/ 12 w 13"/>
                <a:gd name="T5" fmla="*/ 0 h 16"/>
                <a:gd name="T6" fmla="*/ 10 w 13"/>
                <a:gd name="T7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16">
                  <a:moveTo>
                    <a:pt x="10" y="16"/>
                  </a:moveTo>
                  <a:cubicBezTo>
                    <a:pt x="6" y="13"/>
                    <a:pt x="0" y="10"/>
                    <a:pt x="0" y="10"/>
                  </a:cubicBezTo>
                  <a:cubicBezTo>
                    <a:pt x="0" y="10"/>
                    <a:pt x="11" y="0"/>
                    <a:pt x="12" y="0"/>
                  </a:cubicBezTo>
                  <a:cubicBezTo>
                    <a:pt x="13" y="1"/>
                    <a:pt x="11" y="15"/>
                    <a:pt x="10" y="16"/>
                  </a:cubicBezTo>
                  <a:close/>
                </a:path>
              </a:pathLst>
            </a:custGeom>
            <a:solidFill>
              <a:srgbClr val="FFA6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49" name="Freeform 121"/>
            <p:cNvSpPr/>
            <p:nvPr userDrawn="1"/>
          </p:nvSpPr>
          <p:spPr bwMode="auto">
            <a:xfrm>
              <a:off x="6382543" y="3494088"/>
              <a:ext cx="61913" cy="79375"/>
            </a:xfrm>
            <a:custGeom>
              <a:avLst/>
              <a:gdLst>
                <a:gd name="T0" fmla="*/ 6 w 23"/>
                <a:gd name="T1" fmla="*/ 29 h 29"/>
                <a:gd name="T2" fmla="*/ 23 w 23"/>
                <a:gd name="T3" fmla="*/ 17 h 29"/>
                <a:gd name="T4" fmla="*/ 1 w 23"/>
                <a:gd name="T5" fmla="*/ 1 h 29"/>
                <a:gd name="T6" fmla="*/ 6 w 23"/>
                <a:gd name="T7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29">
                  <a:moveTo>
                    <a:pt x="6" y="29"/>
                  </a:moveTo>
                  <a:cubicBezTo>
                    <a:pt x="11" y="23"/>
                    <a:pt x="23" y="17"/>
                    <a:pt x="23" y="17"/>
                  </a:cubicBezTo>
                  <a:cubicBezTo>
                    <a:pt x="23" y="17"/>
                    <a:pt x="4" y="0"/>
                    <a:pt x="1" y="1"/>
                  </a:cubicBezTo>
                  <a:cubicBezTo>
                    <a:pt x="0" y="1"/>
                    <a:pt x="4" y="28"/>
                    <a:pt x="6" y="29"/>
                  </a:cubicBezTo>
                  <a:close/>
                </a:path>
              </a:pathLst>
            </a:custGeom>
            <a:solidFill>
              <a:srgbClr val="CF8A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50" name="Freeform 122"/>
            <p:cNvSpPr/>
            <p:nvPr userDrawn="1"/>
          </p:nvSpPr>
          <p:spPr bwMode="auto">
            <a:xfrm>
              <a:off x="6395243" y="3516313"/>
              <a:ext cx="36513" cy="44450"/>
            </a:xfrm>
            <a:custGeom>
              <a:avLst/>
              <a:gdLst>
                <a:gd name="T0" fmla="*/ 4 w 13"/>
                <a:gd name="T1" fmla="*/ 16 h 16"/>
                <a:gd name="T2" fmla="*/ 13 w 13"/>
                <a:gd name="T3" fmla="*/ 10 h 16"/>
                <a:gd name="T4" fmla="*/ 1 w 13"/>
                <a:gd name="T5" fmla="*/ 0 h 16"/>
                <a:gd name="T6" fmla="*/ 4 w 13"/>
                <a:gd name="T7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16">
                  <a:moveTo>
                    <a:pt x="4" y="16"/>
                  </a:moveTo>
                  <a:cubicBezTo>
                    <a:pt x="7" y="13"/>
                    <a:pt x="13" y="10"/>
                    <a:pt x="13" y="10"/>
                  </a:cubicBezTo>
                  <a:cubicBezTo>
                    <a:pt x="13" y="10"/>
                    <a:pt x="2" y="0"/>
                    <a:pt x="1" y="0"/>
                  </a:cubicBezTo>
                  <a:cubicBezTo>
                    <a:pt x="0" y="1"/>
                    <a:pt x="2" y="15"/>
                    <a:pt x="4" y="16"/>
                  </a:cubicBezTo>
                  <a:close/>
                </a:path>
              </a:pathLst>
            </a:custGeom>
            <a:solidFill>
              <a:srgbClr val="FFA6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51" name="Freeform 123"/>
            <p:cNvSpPr/>
            <p:nvPr userDrawn="1"/>
          </p:nvSpPr>
          <p:spPr bwMode="auto">
            <a:xfrm>
              <a:off x="6463506" y="3644901"/>
              <a:ext cx="25400" cy="12700"/>
            </a:xfrm>
            <a:custGeom>
              <a:avLst/>
              <a:gdLst>
                <a:gd name="T0" fmla="*/ 4 w 9"/>
                <a:gd name="T1" fmla="*/ 5 h 5"/>
                <a:gd name="T2" fmla="*/ 1 w 9"/>
                <a:gd name="T3" fmla="*/ 2 h 5"/>
                <a:gd name="T4" fmla="*/ 1 w 9"/>
                <a:gd name="T5" fmla="*/ 0 h 5"/>
                <a:gd name="T6" fmla="*/ 8 w 9"/>
                <a:gd name="T7" fmla="*/ 0 h 5"/>
                <a:gd name="T8" fmla="*/ 8 w 9"/>
                <a:gd name="T9" fmla="*/ 2 h 5"/>
                <a:gd name="T10" fmla="*/ 5 w 9"/>
                <a:gd name="T11" fmla="*/ 5 h 5"/>
                <a:gd name="T12" fmla="*/ 4 w 9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5">
                  <a:moveTo>
                    <a:pt x="4" y="5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9" y="0"/>
                    <a:pt x="9" y="1"/>
                    <a:pt x="8" y="2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5"/>
                    <a:pt x="4" y="5"/>
                    <a:pt x="4" y="5"/>
                  </a:cubicBezTo>
                  <a:close/>
                </a:path>
              </a:pathLst>
            </a:custGeom>
            <a:solidFill>
              <a:srgbClr val="593C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52" name="Freeform 124"/>
            <p:cNvSpPr/>
            <p:nvPr userDrawn="1"/>
          </p:nvSpPr>
          <p:spPr bwMode="auto">
            <a:xfrm>
              <a:off x="6520656" y="3627438"/>
              <a:ext cx="133350" cy="25400"/>
            </a:xfrm>
            <a:custGeom>
              <a:avLst/>
              <a:gdLst>
                <a:gd name="T0" fmla="*/ 49 w 49"/>
                <a:gd name="T1" fmla="*/ 9 h 9"/>
                <a:gd name="T2" fmla="*/ 0 w 49"/>
                <a:gd name="T3" fmla="*/ 5 h 9"/>
                <a:gd name="T4" fmla="*/ 0 w 49"/>
                <a:gd name="T5" fmla="*/ 4 h 9"/>
                <a:gd name="T6" fmla="*/ 49 w 49"/>
                <a:gd name="T7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9" h="9">
                  <a:moveTo>
                    <a:pt x="49" y="9"/>
                  </a:moveTo>
                  <a:cubicBezTo>
                    <a:pt x="28" y="1"/>
                    <a:pt x="0" y="5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27" y="0"/>
                    <a:pt x="49" y="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53" name="Freeform 125"/>
            <p:cNvSpPr/>
            <p:nvPr userDrawn="1"/>
          </p:nvSpPr>
          <p:spPr bwMode="auto">
            <a:xfrm>
              <a:off x="6512718" y="3646488"/>
              <a:ext cx="128588" cy="41275"/>
            </a:xfrm>
            <a:custGeom>
              <a:avLst/>
              <a:gdLst>
                <a:gd name="T0" fmla="*/ 47 w 47"/>
                <a:gd name="T1" fmla="*/ 15 h 15"/>
                <a:gd name="T2" fmla="*/ 0 w 47"/>
                <a:gd name="T3" fmla="*/ 1 h 15"/>
                <a:gd name="T4" fmla="*/ 0 w 47"/>
                <a:gd name="T5" fmla="*/ 0 h 15"/>
                <a:gd name="T6" fmla="*/ 47 w 47"/>
                <a:gd name="T7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" h="15">
                  <a:moveTo>
                    <a:pt x="47" y="15"/>
                  </a:moveTo>
                  <a:cubicBezTo>
                    <a:pt x="30" y="1"/>
                    <a:pt x="1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31" y="0"/>
                    <a:pt x="47" y="1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54" name="Freeform 126"/>
            <p:cNvSpPr/>
            <p:nvPr userDrawn="1"/>
          </p:nvSpPr>
          <p:spPr bwMode="auto">
            <a:xfrm>
              <a:off x="6498431" y="3656013"/>
              <a:ext cx="120650" cy="61913"/>
            </a:xfrm>
            <a:custGeom>
              <a:avLst/>
              <a:gdLst>
                <a:gd name="T0" fmla="*/ 44 w 44"/>
                <a:gd name="T1" fmla="*/ 23 h 23"/>
                <a:gd name="T2" fmla="*/ 0 w 44"/>
                <a:gd name="T3" fmla="*/ 1 h 23"/>
                <a:gd name="T4" fmla="*/ 0 w 44"/>
                <a:gd name="T5" fmla="*/ 0 h 23"/>
                <a:gd name="T6" fmla="*/ 44 w 44"/>
                <a:gd name="T7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4" h="23">
                  <a:moveTo>
                    <a:pt x="44" y="23"/>
                  </a:moveTo>
                  <a:cubicBezTo>
                    <a:pt x="28" y="3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32" y="4"/>
                    <a:pt x="44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55" name="Freeform 127"/>
            <p:cNvSpPr/>
            <p:nvPr userDrawn="1"/>
          </p:nvSpPr>
          <p:spPr bwMode="auto">
            <a:xfrm>
              <a:off x="6295231" y="3627438"/>
              <a:ext cx="133350" cy="25400"/>
            </a:xfrm>
            <a:custGeom>
              <a:avLst/>
              <a:gdLst>
                <a:gd name="T0" fmla="*/ 0 w 49"/>
                <a:gd name="T1" fmla="*/ 9 h 9"/>
                <a:gd name="T2" fmla="*/ 49 w 49"/>
                <a:gd name="T3" fmla="*/ 5 h 9"/>
                <a:gd name="T4" fmla="*/ 49 w 49"/>
                <a:gd name="T5" fmla="*/ 4 h 9"/>
                <a:gd name="T6" fmla="*/ 0 w 49"/>
                <a:gd name="T7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9" h="9">
                  <a:moveTo>
                    <a:pt x="0" y="9"/>
                  </a:moveTo>
                  <a:cubicBezTo>
                    <a:pt x="22" y="1"/>
                    <a:pt x="49" y="5"/>
                    <a:pt x="49" y="5"/>
                  </a:cubicBezTo>
                  <a:cubicBezTo>
                    <a:pt x="49" y="4"/>
                    <a:pt x="49" y="4"/>
                    <a:pt x="49" y="4"/>
                  </a:cubicBezTo>
                  <a:cubicBezTo>
                    <a:pt x="49" y="4"/>
                    <a:pt x="22" y="0"/>
                    <a:pt x="0" y="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56" name="Freeform 128"/>
            <p:cNvSpPr/>
            <p:nvPr userDrawn="1"/>
          </p:nvSpPr>
          <p:spPr bwMode="auto">
            <a:xfrm>
              <a:off x="6309518" y="3646488"/>
              <a:ext cx="127000" cy="41275"/>
            </a:xfrm>
            <a:custGeom>
              <a:avLst/>
              <a:gdLst>
                <a:gd name="T0" fmla="*/ 0 w 47"/>
                <a:gd name="T1" fmla="*/ 15 h 15"/>
                <a:gd name="T2" fmla="*/ 47 w 47"/>
                <a:gd name="T3" fmla="*/ 1 h 15"/>
                <a:gd name="T4" fmla="*/ 47 w 47"/>
                <a:gd name="T5" fmla="*/ 0 h 15"/>
                <a:gd name="T6" fmla="*/ 0 w 47"/>
                <a:gd name="T7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" h="15">
                  <a:moveTo>
                    <a:pt x="0" y="15"/>
                  </a:moveTo>
                  <a:cubicBezTo>
                    <a:pt x="18" y="1"/>
                    <a:pt x="47" y="1"/>
                    <a:pt x="47" y="1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7" y="0"/>
                    <a:pt x="16" y="0"/>
                    <a:pt x="0" y="1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57" name="Freeform 129"/>
            <p:cNvSpPr/>
            <p:nvPr userDrawn="1"/>
          </p:nvSpPr>
          <p:spPr bwMode="auto">
            <a:xfrm>
              <a:off x="6330156" y="3656013"/>
              <a:ext cx="120650" cy="61913"/>
            </a:xfrm>
            <a:custGeom>
              <a:avLst/>
              <a:gdLst>
                <a:gd name="T0" fmla="*/ 0 w 44"/>
                <a:gd name="T1" fmla="*/ 23 h 23"/>
                <a:gd name="T2" fmla="*/ 44 w 44"/>
                <a:gd name="T3" fmla="*/ 1 h 23"/>
                <a:gd name="T4" fmla="*/ 44 w 44"/>
                <a:gd name="T5" fmla="*/ 0 h 23"/>
                <a:gd name="T6" fmla="*/ 0 w 44"/>
                <a:gd name="T7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4" h="23">
                  <a:moveTo>
                    <a:pt x="0" y="23"/>
                  </a:moveTo>
                  <a:cubicBezTo>
                    <a:pt x="16" y="3"/>
                    <a:pt x="44" y="1"/>
                    <a:pt x="44" y="1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44" y="0"/>
                    <a:pt x="12" y="4"/>
                    <a:pt x="0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58" name="Oval 130"/>
            <p:cNvSpPr>
              <a:spLocks noChangeArrowheads="1"/>
            </p:cNvSpPr>
            <p:nvPr userDrawn="1"/>
          </p:nvSpPr>
          <p:spPr bwMode="auto">
            <a:xfrm>
              <a:off x="6352381" y="3844926"/>
              <a:ext cx="57150" cy="3810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59" name="Oval 131"/>
            <p:cNvSpPr>
              <a:spLocks noChangeArrowheads="1"/>
            </p:cNvSpPr>
            <p:nvPr userDrawn="1"/>
          </p:nvSpPr>
          <p:spPr bwMode="auto">
            <a:xfrm>
              <a:off x="6536531" y="3844926"/>
              <a:ext cx="57150" cy="38100"/>
            </a:xfrm>
            <a:prstGeom prst="ellipse">
              <a:avLst/>
            </a:prstGeom>
            <a:solidFill>
              <a:srgbClr val="9463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60" name="Rectangle 132"/>
            <p:cNvSpPr>
              <a:spLocks noChangeArrowheads="1"/>
            </p:cNvSpPr>
            <p:nvPr userDrawn="1"/>
          </p:nvSpPr>
          <p:spPr bwMode="auto">
            <a:xfrm>
              <a:off x="6490493" y="3714751"/>
              <a:ext cx="36513" cy="158750"/>
            </a:xfrm>
            <a:prstGeom prst="rect">
              <a:avLst/>
            </a:prstGeom>
            <a:solidFill>
              <a:srgbClr val="E69A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61" name="Rectangle 133"/>
            <p:cNvSpPr>
              <a:spLocks noChangeArrowheads="1"/>
            </p:cNvSpPr>
            <p:nvPr userDrawn="1"/>
          </p:nvSpPr>
          <p:spPr bwMode="auto">
            <a:xfrm>
              <a:off x="6425406" y="3714751"/>
              <a:ext cx="33338" cy="158750"/>
            </a:xfrm>
            <a:prstGeom prst="rect">
              <a:avLst/>
            </a:prstGeom>
            <a:solidFill>
              <a:srgbClr val="E69A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62" name="Oval 134"/>
            <p:cNvSpPr>
              <a:spLocks noChangeArrowheads="1"/>
            </p:cNvSpPr>
            <p:nvPr userDrawn="1"/>
          </p:nvSpPr>
          <p:spPr bwMode="auto">
            <a:xfrm>
              <a:off x="6479381" y="3859213"/>
              <a:ext cx="57150" cy="3492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63" name="Oval 135"/>
            <p:cNvSpPr>
              <a:spLocks noChangeArrowheads="1"/>
            </p:cNvSpPr>
            <p:nvPr userDrawn="1"/>
          </p:nvSpPr>
          <p:spPr bwMode="auto">
            <a:xfrm>
              <a:off x="6414293" y="3859213"/>
              <a:ext cx="55563" cy="3492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64" name="Freeform 136"/>
            <p:cNvSpPr/>
            <p:nvPr userDrawn="1"/>
          </p:nvSpPr>
          <p:spPr bwMode="auto">
            <a:xfrm>
              <a:off x="6099968" y="1887538"/>
              <a:ext cx="855663" cy="541338"/>
            </a:xfrm>
            <a:custGeom>
              <a:avLst/>
              <a:gdLst>
                <a:gd name="T0" fmla="*/ 237 w 315"/>
                <a:gd name="T1" fmla="*/ 136 h 199"/>
                <a:gd name="T2" fmla="*/ 168 w 315"/>
                <a:gd name="T3" fmla="*/ 54 h 199"/>
                <a:gd name="T4" fmla="*/ 86 w 315"/>
                <a:gd name="T5" fmla="*/ 24 h 199"/>
                <a:gd name="T6" fmla="*/ 17 w 315"/>
                <a:gd name="T7" fmla="*/ 32 h 199"/>
                <a:gd name="T8" fmla="*/ 85 w 315"/>
                <a:gd name="T9" fmla="*/ 52 h 199"/>
                <a:gd name="T10" fmla="*/ 156 w 315"/>
                <a:gd name="T11" fmla="*/ 107 h 199"/>
                <a:gd name="T12" fmla="*/ 157 w 315"/>
                <a:gd name="T13" fmla="*/ 119 h 199"/>
                <a:gd name="T14" fmla="*/ 132 w 315"/>
                <a:gd name="T15" fmla="*/ 114 h 199"/>
                <a:gd name="T16" fmla="*/ 113 w 315"/>
                <a:gd name="T17" fmla="*/ 101 h 199"/>
                <a:gd name="T18" fmla="*/ 83 w 315"/>
                <a:gd name="T19" fmla="*/ 99 h 199"/>
                <a:gd name="T20" fmla="*/ 102 w 315"/>
                <a:gd name="T21" fmla="*/ 128 h 199"/>
                <a:gd name="T22" fmla="*/ 119 w 315"/>
                <a:gd name="T23" fmla="*/ 138 h 199"/>
                <a:gd name="T24" fmla="*/ 146 w 315"/>
                <a:gd name="T25" fmla="*/ 163 h 199"/>
                <a:gd name="T26" fmla="*/ 239 w 315"/>
                <a:gd name="T27" fmla="*/ 198 h 199"/>
                <a:gd name="T28" fmla="*/ 315 w 315"/>
                <a:gd name="T29" fmla="*/ 178 h 199"/>
                <a:gd name="T30" fmla="*/ 298 w 315"/>
                <a:gd name="T31" fmla="*/ 101 h 199"/>
                <a:gd name="T32" fmla="*/ 237 w 315"/>
                <a:gd name="T33" fmla="*/ 136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5" h="199">
                  <a:moveTo>
                    <a:pt x="237" y="136"/>
                  </a:moveTo>
                  <a:cubicBezTo>
                    <a:pt x="205" y="113"/>
                    <a:pt x="189" y="62"/>
                    <a:pt x="168" y="54"/>
                  </a:cubicBezTo>
                  <a:cubicBezTo>
                    <a:pt x="143" y="51"/>
                    <a:pt x="109" y="21"/>
                    <a:pt x="86" y="24"/>
                  </a:cubicBezTo>
                  <a:cubicBezTo>
                    <a:pt x="71" y="24"/>
                    <a:pt x="0" y="0"/>
                    <a:pt x="17" y="32"/>
                  </a:cubicBezTo>
                  <a:cubicBezTo>
                    <a:pt x="21" y="38"/>
                    <a:pt x="85" y="52"/>
                    <a:pt x="85" y="52"/>
                  </a:cubicBezTo>
                  <a:cubicBezTo>
                    <a:pt x="85" y="52"/>
                    <a:pt x="144" y="79"/>
                    <a:pt x="156" y="107"/>
                  </a:cubicBezTo>
                  <a:cubicBezTo>
                    <a:pt x="158" y="110"/>
                    <a:pt x="158" y="114"/>
                    <a:pt x="157" y="119"/>
                  </a:cubicBezTo>
                  <a:cubicBezTo>
                    <a:pt x="147" y="119"/>
                    <a:pt x="144" y="122"/>
                    <a:pt x="132" y="114"/>
                  </a:cubicBezTo>
                  <a:cubicBezTo>
                    <a:pt x="123" y="108"/>
                    <a:pt x="113" y="101"/>
                    <a:pt x="113" y="101"/>
                  </a:cubicBezTo>
                  <a:cubicBezTo>
                    <a:pt x="105" y="96"/>
                    <a:pt x="88" y="91"/>
                    <a:pt x="83" y="99"/>
                  </a:cubicBezTo>
                  <a:cubicBezTo>
                    <a:pt x="76" y="110"/>
                    <a:pt x="94" y="123"/>
                    <a:pt x="102" y="128"/>
                  </a:cubicBezTo>
                  <a:cubicBezTo>
                    <a:pt x="102" y="128"/>
                    <a:pt x="105" y="130"/>
                    <a:pt x="119" y="138"/>
                  </a:cubicBezTo>
                  <a:cubicBezTo>
                    <a:pt x="130" y="146"/>
                    <a:pt x="133" y="156"/>
                    <a:pt x="146" y="163"/>
                  </a:cubicBezTo>
                  <a:cubicBezTo>
                    <a:pt x="170" y="181"/>
                    <a:pt x="230" y="199"/>
                    <a:pt x="239" y="198"/>
                  </a:cubicBezTo>
                  <a:cubicBezTo>
                    <a:pt x="264" y="195"/>
                    <a:pt x="315" y="178"/>
                    <a:pt x="315" y="178"/>
                  </a:cubicBezTo>
                  <a:cubicBezTo>
                    <a:pt x="298" y="101"/>
                    <a:pt x="298" y="101"/>
                    <a:pt x="298" y="101"/>
                  </a:cubicBezTo>
                  <a:cubicBezTo>
                    <a:pt x="275" y="124"/>
                    <a:pt x="237" y="136"/>
                    <a:pt x="237" y="136"/>
                  </a:cubicBezTo>
                  <a:close/>
                </a:path>
              </a:pathLst>
            </a:custGeom>
            <a:solidFill>
              <a:srgbClr val="FFC6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65" name="Freeform 137"/>
            <p:cNvSpPr/>
            <p:nvPr userDrawn="1"/>
          </p:nvSpPr>
          <p:spPr bwMode="auto">
            <a:xfrm>
              <a:off x="5261768" y="1876426"/>
              <a:ext cx="846138" cy="557213"/>
            </a:xfrm>
            <a:custGeom>
              <a:avLst/>
              <a:gdLst>
                <a:gd name="T0" fmla="*/ 77 w 311"/>
                <a:gd name="T1" fmla="*/ 142 h 205"/>
                <a:gd name="T2" fmla="*/ 145 w 311"/>
                <a:gd name="T3" fmla="*/ 58 h 205"/>
                <a:gd name="T4" fmla="*/ 225 w 311"/>
                <a:gd name="T5" fmla="*/ 26 h 205"/>
                <a:gd name="T6" fmla="*/ 295 w 311"/>
                <a:gd name="T7" fmla="*/ 33 h 205"/>
                <a:gd name="T8" fmla="*/ 227 w 311"/>
                <a:gd name="T9" fmla="*/ 55 h 205"/>
                <a:gd name="T10" fmla="*/ 157 w 311"/>
                <a:gd name="T11" fmla="*/ 111 h 205"/>
                <a:gd name="T12" fmla="*/ 157 w 311"/>
                <a:gd name="T13" fmla="*/ 123 h 205"/>
                <a:gd name="T14" fmla="*/ 182 w 311"/>
                <a:gd name="T15" fmla="*/ 117 h 205"/>
                <a:gd name="T16" fmla="*/ 200 w 311"/>
                <a:gd name="T17" fmla="*/ 104 h 205"/>
                <a:gd name="T18" fmla="*/ 230 w 311"/>
                <a:gd name="T19" fmla="*/ 101 h 205"/>
                <a:gd name="T20" fmla="*/ 212 w 311"/>
                <a:gd name="T21" fmla="*/ 131 h 205"/>
                <a:gd name="T22" fmla="*/ 196 w 311"/>
                <a:gd name="T23" fmla="*/ 142 h 205"/>
                <a:gd name="T24" fmla="*/ 169 w 311"/>
                <a:gd name="T25" fmla="*/ 167 h 205"/>
                <a:gd name="T26" fmla="*/ 77 w 311"/>
                <a:gd name="T27" fmla="*/ 204 h 205"/>
                <a:gd name="T28" fmla="*/ 0 w 311"/>
                <a:gd name="T29" fmla="*/ 186 h 205"/>
                <a:gd name="T30" fmla="*/ 16 w 311"/>
                <a:gd name="T31" fmla="*/ 108 h 205"/>
                <a:gd name="T32" fmla="*/ 77 w 311"/>
                <a:gd name="T33" fmla="*/ 142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1" h="205">
                  <a:moveTo>
                    <a:pt x="77" y="142"/>
                  </a:moveTo>
                  <a:cubicBezTo>
                    <a:pt x="109" y="118"/>
                    <a:pt x="124" y="66"/>
                    <a:pt x="145" y="58"/>
                  </a:cubicBezTo>
                  <a:cubicBezTo>
                    <a:pt x="169" y="54"/>
                    <a:pt x="202" y="24"/>
                    <a:pt x="225" y="26"/>
                  </a:cubicBezTo>
                  <a:cubicBezTo>
                    <a:pt x="240" y="26"/>
                    <a:pt x="311" y="0"/>
                    <a:pt x="295" y="33"/>
                  </a:cubicBezTo>
                  <a:cubicBezTo>
                    <a:pt x="291" y="39"/>
                    <a:pt x="227" y="55"/>
                    <a:pt x="227" y="55"/>
                  </a:cubicBezTo>
                  <a:cubicBezTo>
                    <a:pt x="227" y="55"/>
                    <a:pt x="169" y="83"/>
                    <a:pt x="157" y="111"/>
                  </a:cubicBezTo>
                  <a:cubicBezTo>
                    <a:pt x="156" y="114"/>
                    <a:pt x="156" y="119"/>
                    <a:pt x="157" y="123"/>
                  </a:cubicBezTo>
                  <a:cubicBezTo>
                    <a:pt x="167" y="122"/>
                    <a:pt x="170" y="126"/>
                    <a:pt x="182" y="117"/>
                  </a:cubicBezTo>
                  <a:cubicBezTo>
                    <a:pt x="191" y="111"/>
                    <a:pt x="200" y="104"/>
                    <a:pt x="200" y="104"/>
                  </a:cubicBezTo>
                  <a:cubicBezTo>
                    <a:pt x="209" y="99"/>
                    <a:pt x="225" y="94"/>
                    <a:pt x="230" y="101"/>
                  </a:cubicBezTo>
                  <a:cubicBezTo>
                    <a:pt x="238" y="112"/>
                    <a:pt x="220" y="125"/>
                    <a:pt x="212" y="131"/>
                  </a:cubicBezTo>
                  <a:cubicBezTo>
                    <a:pt x="212" y="131"/>
                    <a:pt x="209" y="133"/>
                    <a:pt x="196" y="142"/>
                  </a:cubicBezTo>
                  <a:cubicBezTo>
                    <a:pt x="184" y="149"/>
                    <a:pt x="182" y="160"/>
                    <a:pt x="169" y="167"/>
                  </a:cubicBezTo>
                  <a:cubicBezTo>
                    <a:pt x="145" y="185"/>
                    <a:pt x="85" y="205"/>
                    <a:pt x="77" y="204"/>
                  </a:cubicBezTo>
                  <a:cubicBezTo>
                    <a:pt x="51" y="201"/>
                    <a:pt x="0" y="186"/>
                    <a:pt x="0" y="186"/>
                  </a:cubicBezTo>
                  <a:cubicBezTo>
                    <a:pt x="16" y="108"/>
                    <a:pt x="16" y="108"/>
                    <a:pt x="16" y="108"/>
                  </a:cubicBezTo>
                  <a:cubicBezTo>
                    <a:pt x="39" y="131"/>
                    <a:pt x="77" y="142"/>
                    <a:pt x="77" y="142"/>
                  </a:cubicBezTo>
                  <a:close/>
                </a:path>
              </a:pathLst>
            </a:custGeom>
            <a:solidFill>
              <a:srgbClr val="FFC6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66" name="Freeform 138"/>
            <p:cNvSpPr/>
            <p:nvPr userDrawn="1"/>
          </p:nvSpPr>
          <p:spPr bwMode="auto">
            <a:xfrm>
              <a:off x="4850606" y="2393951"/>
              <a:ext cx="171450" cy="96838"/>
            </a:xfrm>
            <a:custGeom>
              <a:avLst/>
              <a:gdLst>
                <a:gd name="T0" fmla="*/ 55 w 63"/>
                <a:gd name="T1" fmla="*/ 28 h 36"/>
                <a:gd name="T2" fmla="*/ 14 w 63"/>
                <a:gd name="T3" fmla="*/ 36 h 36"/>
                <a:gd name="T4" fmla="*/ 0 w 63"/>
                <a:gd name="T5" fmla="*/ 27 h 36"/>
                <a:gd name="T6" fmla="*/ 59 w 63"/>
                <a:gd name="T7" fmla="*/ 2 h 36"/>
                <a:gd name="T8" fmla="*/ 55 w 63"/>
                <a:gd name="T9" fmla="*/ 2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36">
                  <a:moveTo>
                    <a:pt x="55" y="28"/>
                  </a:moveTo>
                  <a:cubicBezTo>
                    <a:pt x="14" y="36"/>
                    <a:pt x="14" y="36"/>
                    <a:pt x="14" y="36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30" y="0"/>
                    <a:pt x="59" y="2"/>
                  </a:cubicBezTo>
                  <a:cubicBezTo>
                    <a:pt x="63" y="2"/>
                    <a:pt x="55" y="28"/>
                    <a:pt x="55" y="28"/>
                  </a:cubicBezTo>
                  <a:close/>
                </a:path>
              </a:pathLst>
            </a:custGeom>
            <a:solidFill>
              <a:srgbClr val="6E78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67" name="Freeform 139"/>
            <p:cNvSpPr/>
            <p:nvPr userDrawn="1"/>
          </p:nvSpPr>
          <p:spPr bwMode="auto">
            <a:xfrm>
              <a:off x="4766468" y="2516188"/>
              <a:ext cx="530225" cy="477838"/>
            </a:xfrm>
            <a:custGeom>
              <a:avLst/>
              <a:gdLst>
                <a:gd name="T0" fmla="*/ 179 w 195"/>
                <a:gd name="T1" fmla="*/ 59 h 176"/>
                <a:gd name="T2" fmla="*/ 107 w 195"/>
                <a:gd name="T3" fmla="*/ 165 h 176"/>
                <a:gd name="T4" fmla="*/ 1 w 195"/>
                <a:gd name="T5" fmla="*/ 93 h 176"/>
                <a:gd name="T6" fmla="*/ 77 w 195"/>
                <a:gd name="T7" fmla="*/ 9 h 176"/>
                <a:gd name="T8" fmla="*/ 179 w 195"/>
                <a:gd name="T9" fmla="*/ 59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" h="176">
                  <a:moveTo>
                    <a:pt x="179" y="59"/>
                  </a:moveTo>
                  <a:cubicBezTo>
                    <a:pt x="195" y="103"/>
                    <a:pt x="164" y="153"/>
                    <a:pt x="107" y="165"/>
                  </a:cubicBezTo>
                  <a:cubicBezTo>
                    <a:pt x="51" y="176"/>
                    <a:pt x="3" y="140"/>
                    <a:pt x="1" y="93"/>
                  </a:cubicBezTo>
                  <a:cubicBezTo>
                    <a:pt x="0" y="53"/>
                    <a:pt x="34" y="17"/>
                    <a:pt x="77" y="9"/>
                  </a:cubicBezTo>
                  <a:cubicBezTo>
                    <a:pt x="120" y="0"/>
                    <a:pt x="165" y="21"/>
                    <a:pt x="179" y="5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68" name="Freeform 140"/>
            <p:cNvSpPr/>
            <p:nvPr userDrawn="1"/>
          </p:nvSpPr>
          <p:spPr bwMode="auto">
            <a:xfrm>
              <a:off x="4887118" y="2519363"/>
              <a:ext cx="176213" cy="53975"/>
            </a:xfrm>
            <a:custGeom>
              <a:avLst/>
              <a:gdLst>
                <a:gd name="T0" fmla="*/ 56 w 65"/>
                <a:gd name="T1" fmla="*/ 10 h 20"/>
                <a:gd name="T2" fmla="*/ 10 w 65"/>
                <a:gd name="T3" fmla="*/ 19 h 20"/>
                <a:gd name="T4" fmla="*/ 1 w 65"/>
                <a:gd name="T5" fmla="*/ 16 h 20"/>
                <a:gd name="T6" fmla="*/ 1 w 65"/>
                <a:gd name="T7" fmla="*/ 16 h 20"/>
                <a:gd name="T8" fmla="*/ 8 w 65"/>
                <a:gd name="T9" fmla="*/ 10 h 20"/>
                <a:gd name="T10" fmla="*/ 55 w 65"/>
                <a:gd name="T11" fmla="*/ 1 h 20"/>
                <a:gd name="T12" fmla="*/ 64 w 65"/>
                <a:gd name="T13" fmla="*/ 4 h 20"/>
                <a:gd name="T14" fmla="*/ 64 w 65"/>
                <a:gd name="T15" fmla="*/ 4 h 20"/>
                <a:gd name="T16" fmla="*/ 56 w 65"/>
                <a:gd name="T17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5" h="20">
                  <a:moveTo>
                    <a:pt x="56" y="10"/>
                  </a:moveTo>
                  <a:cubicBezTo>
                    <a:pt x="10" y="19"/>
                    <a:pt x="10" y="19"/>
                    <a:pt x="10" y="19"/>
                  </a:cubicBezTo>
                  <a:cubicBezTo>
                    <a:pt x="5" y="20"/>
                    <a:pt x="1" y="19"/>
                    <a:pt x="1" y="16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0" y="14"/>
                    <a:pt x="4" y="11"/>
                    <a:pt x="8" y="10"/>
                  </a:cubicBezTo>
                  <a:cubicBezTo>
                    <a:pt x="55" y="1"/>
                    <a:pt x="55" y="1"/>
                    <a:pt x="55" y="1"/>
                  </a:cubicBezTo>
                  <a:cubicBezTo>
                    <a:pt x="60" y="0"/>
                    <a:pt x="64" y="1"/>
                    <a:pt x="64" y="4"/>
                  </a:cubicBezTo>
                  <a:cubicBezTo>
                    <a:pt x="64" y="4"/>
                    <a:pt x="64" y="4"/>
                    <a:pt x="64" y="4"/>
                  </a:cubicBezTo>
                  <a:cubicBezTo>
                    <a:pt x="65" y="6"/>
                    <a:pt x="61" y="9"/>
                    <a:pt x="56" y="10"/>
                  </a:cubicBezTo>
                  <a:close/>
                </a:path>
              </a:pathLst>
            </a:custGeom>
            <a:solidFill>
              <a:srgbClr val="3B3D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69" name="Freeform 141"/>
            <p:cNvSpPr/>
            <p:nvPr userDrawn="1"/>
          </p:nvSpPr>
          <p:spPr bwMode="auto">
            <a:xfrm>
              <a:off x="4850606" y="2390776"/>
              <a:ext cx="215900" cy="155575"/>
            </a:xfrm>
            <a:custGeom>
              <a:avLst/>
              <a:gdLst>
                <a:gd name="T0" fmla="*/ 79 w 79"/>
                <a:gd name="T1" fmla="*/ 20 h 57"/>
                <a:gd name="T2" fmla="*/ 59 w 79"/>
                <a:gd name="T3" fmla="*/ 3 h 57"/>
                <a:gd name="T4" fmla="*/ 32 w 79"/>
                <a:gd name="T5" fmla="*/ 24 h 57"/>
                <a:gd name="T6" fmla="*/ 0 w 79"/>
                <a:gd name="T7" fmla="*/ 28 h 57"/>
                <a:gd name="T8" fmla="*/ 24 w 79"/>
                <a:gd name="T9" fmla="*/ 57 h 57"/>
                <a:gd name="T10" fmla="*/ 67 w 79"/>
                <a:gd name="T11" fmla="*/ 48 h 57"/>
                <a:gd name="T12" fmla="*/ 79 w 79"/>
                <a:gd name="T13" fmla="*/ 2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9" h="57">
                  <a:moveTo>
                    <a:pt x="79" y="20"/>
                  </a:moveTo>
                  <a:cubicBezTo>
                    <a:pt x="79" y="20"/>
                    <a:pt x="74" y="0"/>
                    <a:pt x="59" y="3"/>
                  </a:cubicBezTo>
                  <a:cubicBezTo>
                    <a:pt x="47" y="5"/>
                    <a:pt x="43" y="19"/>
                    <a:pt x="32" y="24"/>
                  </a:cubicBezTo>
                  <a:cubicBezTo>
                    <a:pt x="13" y="32"/>
                    <a:pt x="0" y="28"/>
                    <a:pt x="0" y="28"/>
                  </a:cubicBezTo>
                  <a:cubicBezTo>
                    <a:pt x="24" y="57"/>
                    <a:pt x="24" y="57"/>
                    <a:pt x="24" y="57"/>
                  </a:cubicBezTo>
                  <a:cubicBezTo>
                    <a:pt x="67" y="48"/>
                    <a:pt x="67" y="48"/>
                    <a:pt x="67" y="48"/>
                  </a:cubicBezTo>
                  <a:lnTo>
                    <a:pt x="79" y="2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70" name="Freeform 142"/>
            <p:cNvSpPr/>
            <p:nvPr userDrawn="1"/>
          </p:nvSpPr>
          <p:spPr bwMode="auto">
            <a:xfrm>
              <a:off x="4945856" y="2611438"/>
              <a:ext cx="144463" cy="258763"/>
            </a:xfrm>
            <a:custGeom>
              <a:avLst/>
              <a:gdLst>
                <a:gd name="T0" fmla="*/ 36 w 53"/>
                <a:gd name="T1" fmla="*/ 28 h 95"/>
                <a:gd name="T2" fmla="*/ 24 w 53"/>
                <a:gd name="T3" fmla="*/ 25 h 95"/>
                <a:gd name="T4" fmla="*/ 17 w 53"/>
                <a:gd name="T5" fmla="*/ 33 h 95"/>
                <a:gd name="T6" fmla="*/ 51 w 53"/>
                <a:gd name="T7" fmla="*/ 57 h 95"/>
                <a:gd name="T8" fmla="*/ 38 w 53"/>
                <a:gd name="T9" fmla="*/ 81 h 95"/>
                <a:gd name="T10" fmla="*/ 41 w 53"/>
                <a:gd name="T11" fmla="*/ 92 h 95"/>
                <a:gd name="T12" fmla="*/ 30 w 53"/>
                <a:gd name="T13" fmla="*/ 95 h 95"/>
                <a:gd name="T14" fmla="*/ 28 w 53"/>
                <a:gd name="T15" fmla="*/ 84 h 95"/>
                <a:gd name="T16" fmla="*/ 8 w 53"/>
                <a:gd name="T17" fmla="*/ 79 h 95"/>
                <a:gd name="T18" fmla="*/ 12 w 53"/>
                <a:gd name="T19" fmla="*/ 67 h 95"/>
                <a:gd name="T20" fmla="*/ 29 w 53"/>
                <a:gd name="T21" fmla="*/ 71 h 95"/>
                <a:gd name="T22" fmla="*/ 36 w 53"/>
                <a:gd name="T23" fmla="*/ 61 h 95"/>
                <a:gd name="T24" fmla="*/ 2 w 53"/>
                <a:gd name="T25" fmla="*/ 37 h 95"/>
                <a:gd name="T26" fmla="*/ 14 w 53"/>
                <a:gd name="T27" fmla="*/ 14 h 95"/>
                <a:gd name="T28" fmla="*/ 12 w 53"/>
                <a:gd name="T29" fmla="*/ 3 h 95"/>
                <a:gd name="T30" fmla="*/ 23 w 53"/>
                <a:gd name="T31" fmla="*/ 0 h 95"/>
                <a:gd name="T32" fmla="*/ 25 w 53"/>
                <a:gd name="T33" fmla="*/ 11 h 95"/>
                <a:gd name="T34" fmla="*/ 43 w 53"/>
                <a:gd name="T35" fmla="*/ 17 h 95"/>
                <a:gd name="T36" fmla="*/ 36 w 53"/>
                <a:gd name="T37" fmla="*/ 28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3" h="95">
                  <a:moveTo>
                    <a:pt x="36" y="28"/>
                  </a:moveTo>
                  <a:cubicBezTo>
                    <a:pt x="32" y="25"/>
                    <a:pt x="28" y="24"/>
                    <a:pt x="24" y="25"/>
                  </a:cubicBezTo>
                  <a:cubicBezTo>
                    <a:pt x="18" y="26"/>
                    <a:pt x="16" y="28"/>
                    <a:pt x="17" y="33"/>
                  </a:cubicBezTo>
                  <a:cubicBezTo>
                    <a:pt x="19" y="43"/>
                    <a:pt x="47" y="37"/>
                    <a:pt x="51" y="57"/>
                  </a:cubicBezTo>
                  <a:cubicBezTo>
                    <a:pt x="53" y="68"/>
                    <a:pt x="49" y="77"/>
                    <a:pt x="38" y="81"/>
                  </a:cubicBezTo>
                  <a:cubicBezTo>
                    <a:pt x="41" y="92"/>
                    <a:pt x="41" y="92"/>
                    <a:pt x="41" y="92"/>
                  </a:cubicBezTo>
                  <a:cubicBezTo>
                    <a:pt x="30" y="95"/>
                    <a:pt x="30" y="95"/>
                    <a:pt x="30" y="95"/>
                  </a:cubicBezTo>
                  <a:cubicBezTo>
                    <a:pt x="28" y="84"/>
                    <a:pt x="28" y="84"/>
                    <a:pt x="28" y="84"/>
                  </a:cubicBezTo>
                  <a:cubicBezTo>
                    <a:pt x="22" y="84"/>
                    <a:pt x="13" y="83"/>
                    <a:pt x="8" y="79"/>
                  </a:cubicBezTo>
                  <a:cubicBezTo>
                    <a:pt x="12" y="67"/>
                    <a:pt x="12" y="67"/>
                    <a:pt x="12" y="67"/>
                  </a:cubicBezTo>
                  <a:cubicBezTo>
                    <a:pt x="19" y="70"/>
                    <a:pt x="24" y="72"/>
                    <a:pt x="29" y="71"/>
                  </a:cubicBezTo>
                  <a:cubicBezTo>
                    <a:pt x="35" y="69"/>
                    <a:pt x="37" y="66"/>
                    <a:pt x="36" y="61"/>
                  </a:cubicBezTo>
                  <a:cubicBezTo>
                    <a:pt x="34" y="50"/>
                    <a:pt x="6" y="56"/>
                    <a:pt x="2" y="37"/>
                  </a:cubicBezTo>
                  <a:cubicBezTo>
                    <a:pt x="0" y="26"/>
                    <a:pt x="5" y="18"/>
                    <a:pt x="14" y="14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5" y="11"/>
                    <a:pt x="25" y="11"/>
                    <a:pt x="25" y="11"/>
                  </a:cubicBezTo>
                  <a:cubicBezTo>
                    <a:pt x="32" y="11"/>
                    <a:pt x="37" y="13"/>
                    <a:pt x="43" y="17"/>
                  </a:cubicBezTo>
                  <a:lnTo>
                    <a:pt x="36" y="2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71" name="Freeform 143"/>
            <p:cNvSpPr/>
            <p:nvPr userDrawn="1"/>
          </p:nvSpPr>
          <p:spPr bwMode="auto">
            <a:xfrm>
              <a:off x="4934743" y="2562226"/>
              <a:ext cx="22225" cy="49213"/>
            </a:xfrm>
            <a:custGeom>
              <a:avLst/>
              <a:gdLst>
                <a:gd name="T0" fmla="*/ 0 w 14"/>
                <a:gd name="T1" fmla="*/ 31 h 31"/>
                <a:gd name="T2" fmla="*/ 4 w 14"/>
                <a:gd name="T3" fmla="*/ 2 h 31"/>
                <a:gd name="T4" fmla="*/ 14 w 14"/>
                <a:gd name="T5" fmla="*/ 0 h 31"/>
                <a:gd name="T6" fmla="*/ 0 w 14"/>
                <a:gd name="T7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31">
                  <a:moveTo>
                    <a:pt x="0" y="31"/>
                  </a:moveTo>
                  <a:lnTo>
                    <a:pt x="4" y="2"/>
                  </a:lnTo>
                  <a:lnTo>
                    <a:pt x="14" y="0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8C9E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72" name="Freeform 144"/>
            <p:cNvSpPr/>
            <p:nvPr userDrawn="1"/>
          </p:nvSpPr>
          <p:spPr bwMode="auto">
            <a:xfrm>
              <a:off x="4995068" y="2551113"/>
              <a:ext cx="73025" cy="65088"/>
            </a:xfrm>
            <a:custGeom>
              <a:avLst/>
              <a:gdLst>
                <a:gd name="T0" fmla="*/ 46 w 46"/>
                <a:gd name="T1" fmla="*/ 41 h 41"/>
                <a:gd name="T2" fmla="*/ 0 w 46"/>
                <a:gd name="T3" fmla="*/ 2 h 41"/>
                <a:gd name="T4" fmla="*/ 10 w 46"/>
                <a:gd name="T5" fmla="*/ 0 h 41"/>
                <a:gd name="T6" fmla="*/ 46 w 46"/>
                <a:gd name="T7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6" h="41">
                  <a:moveTo>
                    <a:pt x="46" y="41"/>
                  </a:moveTo>
                  <a:lnTo>
                    <a:pt x="0" y="2"/>
                  </a:lnTo>
                  <a:lnTo>
                    <a:pt x="10" y="0"/>
                  </a:lnTo>
                  <a:lnTo>
                    <a:pt x="46" y="41"/>
                  </a:lnTo>
                  <a:close/>
                </a:path>
              </a:pathLst>
            </a:custGeom>
            <a:solidFill>
              <a:srgbClr val="8C9E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73" name="Freeform 145"/>
            <p:cNvSpPr/>
            <p:nvPr userDrawn="1"/>
          </p:nvSpPr>
          <p:spPr bwMode="auto">
            <a:xfrm>
              <a:off x="5029993" y="2543176"/>
              <a:ext cx="30163" cy="15875"/>
            </a:xfrm>
            <a:custGeom>
              <a:avLst/>
              <a:gdLst>
                <a:gd name="T0" fmla="*/ 19 w 19"/>
                <a:gd name="T1" fmla="*/ 10 h 10"/>
                <a:gd name="T2" fmla="*/ 0 w 19"/>
                <a:gd name="T3" fmla="*/ 2 h 10"/>
                <a:gd name="T4" fmla="*/ 11 w 19"/>
                <a:gd name="T5" fmla="*/ 0 h 10"/>
                <a:gd name="T6" fmla="*/ 19 w 19"/>
                <a:gd name="T7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10">
                  <a:moveTo>
                    <a:pt x="19" y="10"/>
                  </a:moveTo>
                  <a:lnTo>
                    <a:pt x="0" y="2"/>
                  </a:lnTo>
                  <a:lnTo>
                    <a:pt x="11" y="0"/>
                  </a:lnTo>
                  <a:lnTo>
                    <a:pt x="19" y="10"/>
                  </a:lnTo>
                  <a:close/>
                </a:path>
              </a:pathLst>
            </a:custGeom>
            <a:solidFill>
              <a:srgbClr val="8C9E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74" name="Freeform 146"/>
            <p:cNvSpPr/>
            <p:nvPr userDrawn="1"/>
          </p:nvSpPr>
          <p:spPr bwMode="auto">
            <a:xfrm>
              <a:off x="4896643" y="2566988"/>
              <a:ext cx="28575" cy="28575"/>
            </a:xfrm>
            <a:custGeom>
              <a:avLst/>
              <a:gdLst>
                <a:gd name="T0" fmla="*/ 0 w 18"/>
                <a:gd name="T1" fmla="*/ 18 h 18"/>
                <a:gd name="T2" fmla="*/ 7 w 18"/>
                <a:gd name="T3" fmla="*/ 2 h 18"/>
                <a:gd name="T4" fmla="*/ 18 w 18"/>
                <a:gd name="T5" fmla="*/ 0 h 18"/>
                <a:gd name="T6" fmla="*/ 0 w 18"/>
                <a:gd name="T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8">
                  <a:moveTo>
                    <a:pt x="0" y="18"/>
                  </a:moveTo>
                  <a:lnTo>
                    <a:pt x="7" y="2"/>
                  </a:lnTo>
                  <a:lnTo>
                    <a:pt x="18" y="0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8C9E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75" name="Freeform 147"/>
            <p:cNvSpPr/>
            <p:nvPr userDrawn="1"/>
          </p:nvSpPr>
          <p:spPr bwMode="auto">
            <a:xfrm>
              <a:off x="6947693" y="3233738"/>
              <a:ext cx="430213" cy="307975"/>
            </a:xfrm>
            <a:custGeom>
              <a:avLst/>
              <a:gdLst>
                <a:gd name="T0" fmla="*/ 131 w 158"/>
                <a:gd name="T1" fmla="*/ 113 h 113"/>
                <a:gd name="T2" fmla="*/ 3 w 158"/>
                <a:gd name="T3" fmla="*/ 68 h 113"/>
                <a:gd name="T4" fmla="*/ 1 w 158"/>
                <a:gd name="T5" fmla="*/ 63 h 113"/>
                <a:gd name="T6" fmla="*/ 21 w 158"/>
                <a:gd name="T7" fmla="*/ 3 h 113"/>
                <a:gd name="T8" fmla="*/ 27 w 158"/>
                <a:gd name="T9" fmla="*/ 0 h 113"/>
                <a:gd name="T10" fmla="*/ 154 w 158"/>
                <a:gd name="T11" fmla="*/ 45 h 113"/>
                <a:gd name="T12" fmla="*/ 157 w 158"/>
                <a:gd name="T13" fmla="*/ 50 h 113"/>
                <a:gd name="T14" fmla="*/ 136 w 158"/>
                <a:gd name="T15" fmla="*/ 110 h 113"/>
                <a:gd name="T16" fmla="*/ 131 w 158"/>
                <a:gd name="T17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8" h="113">
                  <a:moveTo>
                    <a:pt x="131" y="113"/>
                  </a:moveTo>
                  <a:cubicBezTo>
                    <a:pt x="3" y="68"/>
                    <a:pt x="3" y="68"/>
                    <a:pt x="3" y="68"/>
                  </a:cubicBezTo>
                  <a:cubicBezTo>
                    <a:pt x="1" y="67"/>
                    <a:pt x="0" y="65"/>
                    <a:pt x="1" y="6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2" y="1"/>
                    <a:pt x="25" y="0"/>
                    <a:pt x="27" y="0"/>
                  </a:cubicBezTo>
                  <a:cubicBezTo>
                    <a:pt x="154" y="45"/>
                    <a:pt x="154" y="45"/>
                    <a:pt x="154" y="45"/>
                  </a:cubicBezTo>
                  <a:cubicBezTo>
                    <a:pt x="157" y="46"/>
                    <a:pt x="158" y="48"/>
                    <a:pt x="157" y="50"/>
                  </a:cubicBezTo>
                  <a:cubicBezTo>
                    <a:pt x="136" y="110"/>
                    <a:pt x="136" y="110"/>
                    <a:pt x="136" y="110"/>
                  </a:cubicBezTo>
                  <a:cubicBezTo>
                    <a:pt x="136" y="112"/>
                    <a:pt x="133" y="113"/>
                    <a:pt x="131" y="113"/>
                  </a:cubicBezTo>
                  <a:close/>
                </a:path>
              </a:pathLst>
            </a:custGeom>
            <a:solidFill>
              <a:srgbClr val="424C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76" name="Freeform 148"/>
            <p:cNvSpPr/>
            <p:nvPr userDrawn="1"/>
          </p:nvSpPr>
          <p:spPr bwMode="auto">
            <a:xfrm>
              <a:off x="6982618" y="3100388"/>
              <a:ext cx="446088" cy="320675"/>
            </a:xfrm>
            <a:custGeom>
              <a:avLst/>
              <a:gdLst>
                <a:gd name="T0" fmla="*/ 136 w 164"/>
                <a:gd name="T1" fmla="*/ 118 h 118"/>
                <a:gd name="T2" fmla="*/ 4 w 164"/>
                <a:gd name="T3" fmla="*/ 71 h 118"/>
                <a:gd name="T4" fmla="*/ 1 w 164"/>
                <a:gd name="T5" fmla="*/ 66 h 118"/>
                <a:gd name="T6" fmla="*/ 22 w 164"/>
                <a:gd name="T7" fmla="*/ 4 h 118"/>
                <a:gd name="T8" fmla="*/ 28 w 164"/>
                <a:gd name="T9" fmla="*/ 1 h 118"/>
                <a:gd name="T10" fmla="*/ 160 w 164"/>
                <a:gd name="T11" fmla="*/ 47 h 118"/>
                <a:gd name="T12" fmla="*/ 163 w 164"/>
                <a:gd name="T13" fmla="*/ 53 h 118"/>
                <a:gd name="T14" fmla="*/ 142 w 164"/>
                <a:gd name="T15" fmla="*/ 115 h 118"/>
                <a:gd name="T16" fmla="*/ 136 w 164"/>
                <a:gd name="T17" fmla="*/ 11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4" h="118">
                  <a:moveTo>
                    <a:pt x="136" y="118"/>
                  </a:moveTo>
                  <a:cubicBezTo>
                    <a:pt x="4" y="71"/>
                    <a:pt x="4" y="71"/>
                    <a:pt x="4" y="71"/>
                  </a:cubicBezTo>
                  <a:cubicBezTo>
                    <a:pt x="1" y="71"/>
                    <a:pt x="0" y="68"/>
                    <a:pt x="1" y="66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3" y="2"/>
                    <a:pt x="26" y="0"/>
                    <a:pt x="28" y="1"/>
                  </a:cubicBezTo>
                  <a:cubicBezTo>
                    <a:pt x="160" y="47"/>
                    <a:pt x="160" y="47"/>
                    <a:pt x="160" y="47"/>
                  </a:cubicBezTo>
                  <a:cubicBezTo>
                    <a:pt x="163" y="48"/>
                    <a:pt x="164" y="51"/>
                    <a:pt x="163" y="53"/>
                  </a:cubicBezTo>
                  <a:cubicBezTo>
                    <a:pt x="142" y="115"/>
                    <a:pt x="142" y="115"/>
                    <a:pt x="142" y="115"/>
                  </a:cubicBezTo>
                  <a:cubicBezTo>
                    <a:pt x="141" y="117"/>
                    <a:pt x="138" y="118"/>
                    <a:pt x="136" y="118"/>
                  </a:cubicBezTo>
                  <a:close/>
                </a:path>
              </a:pathLst>
            </a:custGeom>
            <a:solidFill>
              <a:srgbClr val="5765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77" name="Freeform 149"/>
            <p:cNvSpPr/>
            <p:nvPr userDrawn="1"/>
          </p:nvSpPr>
          <p:spPr bwMode="auto">
            <a:xfrm>
              <a:off x="7241381" y="3302001"/>
              <a:ext cx="79375" cy="98425"/>
            </a:xfrm>
            <a:custGeom>
              <a:avLst/>
              <a:gdLst>
                <a:gd name="T0" fmla="*/ 33 w 50"/>
                <a:gd name="T1" fmla="*/ 62 h 62"/>
                <a:gd name="T2" fmla="*/ 0 w 50"/>
                <a:gd name="T3" fmla="*/ 51 h 62"/>
                <a:gd name="T4" fmla="*/ 19 w 50"/>
                <a:gd name="T5" fmla="*/ 0 h 62"/>
                <a:gd name="T6" fmla="*/ 50 w 50"/>
                <a:gd name="T7" fmla="*/ 10 h 62"/>
                <a:gd name="T8" fmla="*/ 33 w 50"/>
                <a:gd name="T9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62">
                  <a:moveTo>
                    <a:pt x="33" y="62"/>
                  </a:moveTo>
                  <a:lnTo>
                    <a:pt x="0" y="51"/>
                  </a:lnTo>
                  <a:lnTo>
                    <a:pt x="19" y="0"/>
                  </a:lnTo>
                  <a:lnTo>
                    <a:pt x="50" y="10"/>
                  </a:lnTo>
                  <a:lnTo>
                    <a:pt x="33" y="62"/>
                  </a:lnTo>
                  <a:close/>
                </a:path>
              </a:pathLst>
            </a:custGeom>
            <a:solidFill>
              <a:srgbClr val="424C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78" name="Freeform 150"/>
            <p:cNvSpPr/>
            <p:nvPr userDrawn="1"/>
          </p:nvSpPr>
          <p:spPr bwMode="auto">
            <a:xfrm>
              <a:off x="7230268" y="3306763"/>
              <a:ext cx="82550" cy="150813"/>
            </a:xfrm>
            <a:custGeom>
              <a:avLst/>
              <a:gdLst>
                <a:gd name="T0" fmla="*/ 26 w 52"/>
                <a:gd name="T1" fmla="*/ 88 h 95"/>
                <a:gd name="T2" fmla="*/ 9 w 52"/>
                <a:gd name="T3" fmla="*/ 95 h 95"/>
                <a:gd name="T4" fmla="*/ 0 w 52"/>
                <a:gd name="T5" fmla="*/ 79 h 95"/>
                <a:gd name="T6" fmla="*/ 28 w 52"/>
                <a:gd name="T7" fmla="*/ 0 h 95"/>
                <a:gd name="T8" fmla="*/ 52 w 52"/>
                <a:gd name="T9" fmla="*/ 11 h 95"/>
                <a:gd name="T10" fmla="*/ 26 w 52"/>
                <a:gd name="T11" fmla="*/ 88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2" h="95">
                  <a:moveTo>
                    <a:pt x="26" y="88"/>
                  </a:moveTo>
                  <a:lnTo>
                    <a:pt x="9" y="95"/>
                  </a:lnTo>
                  <a:lnTo>
                    <a:pt x="0" y="79"/>
                  </a:lnTo>
                  <a:lnTo>
                    <a:pt x="28" y="0"/>
                  </a:lnTo>
                  <a:lnTo>
                    <a:pt x="52" y="11"/>
                  </a:lnTo>
                  <a:lnTo>
                    <a:pt x="26" y="88"/>
                  </a:lnTo>
                  <a:close/>
                </a:path>
              </a:pathLst>
            </a:custGeom>
            <a:solidFill>
              <a:srgbClr val="5765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79" name="Freeform 151"/>
            <p:cNvSpPr>
              <a:spLocks noEditPoints="1"/>
            </p:cNvSpPr>
            <p:nvPr userDrawn="1"/>
          </p:nvSpPr>
          <p:spPr bwMode="auto">
            <a:xfrm>
              <a:off x="7233443" y="3370263"/>
              <a:ext cx="65088" cy="53975"/>
            </a:xfrm>
            <a:custGeom>
              <a:avLst/>
              <a:gdLst>
                <a:gd name="T0" fmla="*/ 33 w 41"/>
                <a:gd name="T1" fmla="*/ 34 h 34"/>
                <a:gd name="T2" fmla="*/ 0 w 41"/>
                <a:gd name="T3" fmla="*/ 22 h 34"/>
                <a:gd name="T4" fmla="*/ 7 w 41"/>
                <a:gd name="T5" fmla="*/ 0 h 34"/>
                <a:gd name="T6" fmla="*/ 41 w 41"/>
                <a:gd name="T7" fmla="*/ 12 h 34"/>
                <a:gd name="T8" fmla="*/ 33 w 41"/>
                <a:gd name="T9" fmla="*/ 34 h 34"/>
                <a:gd name="T10" fmla="*/ 5 w 41"/>
                <a:gd name="T11" fmla="*/ 20 h 34"/>
                <a:gd name="T12" fmla="*/ 29 w 41"/>
                <a:gd name="T13" fmla="*/ 29 h 34"/>
                <a:gd name="T14" fmla="*/ 34 w 41"/>
                <a:gd name="T15" fmla="*/ 13 h 34"/>
                <a:gd name="T16" fmla="*/ 10 w 41"/>
                <a:gd name="T17" fmla="*/ 5 h 34"/>
                <a:gd name="T18" fmla="*/ 5 w 41"/>
                <a:gd name="T19" fmla="*/ 2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" h="34">
                  <a:moveTo>
                    <a:pt x="33" y="34"/>
                  </a:moveTo>
                  <a:lnTo>
                    <a:pt x="0" y="22"/>
                  </a:lnTo>
                  <a:lnTo>
                    <a:pt x="7" y="0"/>
                  </a:lnTo>
                  <a:lnTo>
                    <a:pt x="41" y="12"/>
                  </a:lnTo>
                  <a:lnTo>
                    <a:pt x="33" y="34"/>
                  </a:lnTo>
                  <a:close/>
                  <a:moveTo>
                    <a:pt x="5" y="20"/>
                  </a:moveTo>
                  <a:lnTo>
                    <a:pt x="29" y="29"/>
                  </a:lnTo>
                  <a:lnTo>
                    <a:pt x="34" y="13"/>
                  </a:lnTo>
                  <a:lnTo>
                    <a:pt x="10" y="5"/>
                  </a:lnTo>
                  <a:lnTo>
                    <a:pt x="5" y="2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80" name="Freeform 152"/>
            <p:cNvSpPr/>
            <p:nvPr userDrawn="1"/>
          </p:nvSpPr>
          <p:spPr bwMode="auto">
            <a:xfrm>
              <a:off x="7058818" y="3236913"/>
              <a:ext cx="76200" cy="96838"/>
            </a:xfrm>
            <a:custGeom>
              <a:avLst/>
              <a:gdLst>
                <a:gd name="T0" fmla="*/ 31 w 48"/>
                <a:gd name="T1" fmla="*/ 61 h 61"/>
                <a:gd name="T2" fmla="*/ 0 w 48"/>
                <a:gd name="T3" fmla="*/ 51 h 61"/>
                <a:gd name="T4" fmla="*/ 17 w 48"/>
                <a:gd name="T5" fmla="*/ 0 h 61"/>
                <a:gd name="T6" fmla="*/ 48 w 48"/>
                <a:gd name="T7" fmla="*/ 12 h 61"/>
                <a:gd name="T8" fmla="*/ 31 w 48"/>
                <a:gd name="T9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61">
                  <a:moveTo>
                    <a:pt x="31" y="61"/>
                  </a:moveTo>
                  <a:lnTo>
                    <a:pt x="0" y="51"/>
                  </a:lnTo>
                  <a:lnTo>
                    <a:pt x="17" y="0"/>
                  </a:lnTo>
                  <a:lnTo>
                    <a:pt x="48" y="12"/>
                  </a:lnTo>
                  <a:lnTo>
                    <a:pt x="31" y="61"/>
                  </a:lnTo>
                  <a:close/>
                </a:path>
              </a:pathLst>
            </a:custGeom>
            <a:solidFill>
              <a:srgbClr val="424C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81" name="Freeform 153"/>
            <p:cNvSpPr/>
            <p:nvPr userDrawn="1"/>
          </p:nvSpPr>
          <p:spPr bwMode="auto">
            <a:xfrm>
              <a:off x="7046118" y="3244851"/>
              <a:ext cx="84138" cy="149225"/>
            </a:xfrm>
            <a:custGeom>
              <a:avLst/>
              <a:gdLst>
                <a:gd name="T0" fmla="*/ 25 w 53"/>
                <a:gd name="T1" fmla="*/ 86 h 94"/>
                <a:gd name="T2" fmla="*/ 8 w 53"/>
                <a:gd name="T3" fmla="*/ 94 h 94"/>
                <a:gd name="T4" fmla="*/ 0 w 53"/>
                <a:gd name="T5" fmla="*/ 77 h 94"/>
                <a:gd name="T6" fmla="*/ 27 w 53"/>
                <a:gd name="T7" fmla="*/ 0 h 94"/>
                <a:gd name="T8" fmla="*/ 53 w 53"/>
                <a:gd name="T9" fmla="*/ 8 h 94"/>
                <a:gd name="T10" fmla="*/ 25 w 53"/>
                <a:gd name="T11" fmla="*/ 86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3" h="94">
                  <a:moveTo>
                    <a:pt x="25" y="86"/>
                  </a:moveTo>
                  <a:lnTo>
                    <a:pt x="8" y="94"/>
                  </a:lnTo>
                  <a:lnTo>
                    <a:pt x="0" y="77"/>
                  </a:lnTo>
                  <a:lnTo>
                    <a:pt x="27" y="0"/>
                  </a:lnTo>
                  <a:lnTo>
                    <a:pt x="53" y="8"/>
                  </a:lnTo>
                  <a:lnTo>
                    <a:pt x="25" y="86"/>
                  </a:lnTo>
                  <a:close/>
                </a:path>
              </a:pathLst>
            </a:custGeom>
            <a:solidFill>
              <a:srgbClr val="5765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82" name="Freeform 154"/>
            <p:cNvSpPr>
              <a:spLocks noEditPoints="1"/>
            </p:cNvSpPr>
            <p:nvPr userDrawn="1"/>
          </p:nvSpPr>
          <p:spPr bwMode="auto">
            <a:xfrm>
              <a:off x="7047706" y="3305176"/>
              <a:ext cx="66675" cy="53975"/>
            </a:xfrm>
            <a:custGeom>
              <a:avLst/>
              <a:gdLst>
                <a:gd name="T0" fmla="*/ 33 w 42"/>
                <a:gd name="T1" fmla="*/ 34 h 34"/>
                <a:gd name="T2" fmla="*/ 0 w 42"/>
                <a:gd name="T3" fmla="*/ 24 h 34"/>
                <a:gd name="T4" fmla="*/ 7 w 42"/>
                <a:gd name="T5" fmla="*/ 0 h 34"/>
                <a:gd name="T6" fmla="*/ 42 w 42"/>
                <a:gd name="T7" fmla="*/ 12 h 34"/>
                <a:gd name="T8" fmla="*/ 33 w 42"/>
                <a:gd name="T9" fmla="*/ 34 h 34"/>
                <a:gd name="T10" fmla="*/ 6 w 42"/>
                <a:gd name="T11" fmla="*/ 20 h 34"/>
                <a:gd name="T12" fmla="*/ 31 w 42"/>
                <a:gd name="T13" fmla="*/ 29 h 34"/>
                <a:gd name="T14" fmla="*/ 36 w 42"/>
                <a:gd name="T15" fmla="*/ 15 h 34"/>
                <a:gd name="T16" fmla="*/ 11 w 42"/>
                <a:gd name="T17" fmla="*/ 6 h 34"/>
                <a:gd name="T18" fmla="*/ 6 w 42"/>
                <a:gd name="T19" fmla="*/ 2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34">
                  <a:moveTo>
                    <a:pt x="33" y="34"/>
                  </a:moveTo>
                  <a:lnTo>
                    <a:pt x="0" y="24"/>
                  </a:lnTo>
                  <a:lnTo>
                    <a:pt x="7" y="0"/>
                  </a:lnTo>
                  <a:lnTo>
                    <a:pt x="42" y="12"/>
                  </a:lnTo>
                  <a:lnTo>
                    <a:pt x="33" y="34"/>
                  </a:lnTo>
                  <a:close/>
                  <a:moveTo>
                    <a:pt x="6" y="20"/>
                  </a:moveTo>
                  <a:lnTo>
                    <a:pt x="31" y="29"/>
                  </a:lnTo>
                  <a:lnTo>
                    <a:pt x="36" y="15"/>
                  </a:lnTo>
                  <a:lnTo>
                    <a:pt x="11" y="6"/>
                  </a:lnTo>
                  <a:lnTo>
                    <a:pt x="6" y="2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83" name="Freeform 155"/>
            <p:cNvSpPr/>
            <p:nvPr userDrawn="1"/>
          </p:nvSpPr>
          <p:spPr bwMode="auto">
            <a:xfrm>
              <a:off x="7173118" y="3114676"/>
              <a:ext cx="22225" cy="31750"/>
            </a:xfrm>
            <a:custGeom>
              <a:avLst/>
              <a:gdLst>
                <a:gd name="T0" fmla="*/ 8 w 8"/>
                <a:gd name="T1" fmla="*/ 1 h 12"/>
                <a:gd name="T2" fmla="*/ 8 w 8"/>
                <a:gd name="T3" fmla="*/ 1 h 12"/>
                <a:gd name="T4" fmla="*/ 2 w 8"/>
                <a:gd name="T5" fmla="*/ 3 h 12"/>
                <a:gd name="T6" fmla="*/ 0 w 8"/>
                <a:gd name="T7" fmla="*/ 11 h 12"/>
                <a:gd name="T8" fmla="*/ 4 w 8"/>
                <a:gd name="T9" fmla="*/ 12 h 12"/>
                <a:gd name="T10" fmla="*/ 8 w 8"/>
                <a:gd name="T11" fmla="*/ 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12">
                  <a:moveTo>
                    <a:pt x="8" y="1"/>
                  </a:moveTo>
                  <a:cubicBezTo>
                    <a:pt x="8" y="1"/>
                    <a:pt x="8" y="1"/>
                    <a:pt x="8" y="1"/>
                  </a:cubicBezTo>
                  <a:cubicBezTo>
                    <a:pt x="6" y="0"/>
                    <a:pt x="3" y="1"/>
                    <a:pt x="2" y="3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4" y="12"/>
                    <a:pt x="4" y="12"/>
                    <a:pt x="4" y="12"/>
                  </a:cubicBezTo>
                  <a:lnTo>
                    <a:pt x="8" y="1"/>
                  </a:lnTo>
                  <a:close/>
                </a:path>
              </a:pathLst>
            </a:custGeom>
            <a:solidFill>
              <a:srgbClr val="424C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84" name="Freeform 156"/>
            <p:cNvSpPr/>
            <p:nvPr userDrawn="1"/>
          </p:nvSpPr>
          <p:spPr bwMode="auto">
            <a:xfrm>
              <a:off x="7287418" y="3152776"/>
              <a:ext cx="22225" cy="34925"/>
            </a:xfrm>
            <a:custGeom>
              <a:avLst/>
              <a:gdLst>
                <a:gd name="T0" fmla="*/ 4 w 8"/>
                <a:gd name="T1" fmla="*/ 0 h 13"/>
                <a:gd name="T2" fmla="*/ 4 w 8"/>
                <a:gd name="T3" fmla="*/ 0 h 13"/>
                <a:gd name="T4" fmla="*/ 8 w 8"/>
                <a:gd name="T5" fmla="*/ 6 h 13"/>
                <a:gd name="T6" fmla="*/ 5 w 8"/>
                <a:gd name="T7" fmla="*/ 13 h 13"/>
                <a:gd name="T8" fmla="*/ 0 w 8"/>
                <a:gd name="T9" fmla="*/ 11 h 13"/>
                <a:gd name="T10" fmla="*/ 4 w 8"/>
                <a:gd name="T11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13"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7" y="1"/>
                    <a:pt x="8" y="4"/>
                    <a:pt x="8" y="6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0" y="11"/>
                    <a:pt x="0" y="11"/>
                    <a:pt x="0" y="11"/>
                  </a:cubicBezTo>
                  <a:lnTo>
                    <a:pt x="4" y="0"/>
                  </a:lnTo>
                  <a:close/>
                </a:path>
              </a:pathLst>
            </a:custGeom>
            <a:solidFill>
              <a:srgbClr val="424C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85" name="Freeform 157"/>
            <p:cNvSpPr/>
            <p:nvPr userDrawn="1"/>
          </p:nvSpPr>
          <p:spPr bwMode="auto">
            <a:xfrm>
              <a:off x="7190581" y="3114676"/>
              <a:ext cx="107950" cy="58738"/>
            </a:xfrm>
            <a:custGeom>
              <a:avLst/>
              <a:gdLst>
                <a:gd name="T0" fmla="*/ 37 w 40"/>
                <a:gd name="T1" fmla="*/ 22 h 22"/>
                <a:gd name="T2" fmla="*/ 20 w 40"/>
                <a:gd name="T3" fmla="*/ 12 h 22"/>
                <a:gd name="T4" fmla="*/ 0 w 40"/>
                <a:gd name="T5" fmla="*/ 9 h 22"/>
                <a:gd name="T6" fmla="*/ 2 w 40"/>
                <a:gd name="T7" fmla="*/ 1 h 22"/>
                <a:gd name="T8" fmla="*/ 22 w 40"/>
                <a:gd name="T9" fmla="*/ 5 h 22"/>
                <a:gd name="T10" fmla="*/ 40 w 40"/>
                <a:gd name="T11" fmla="*/ 14 h 22"/>
                <a:gd name="T12" fmla="*/ 37 w 40"/>
                <a:gd name="T1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" h="22">
                  <a:moveTo>
                    <a:pt x="37" y="22"/>
                  </a:moveTo>
                  <a:cubicBezTo>
                    <a:pt x="37" y="22"/>
                    <a:pt x="33" y="17"/>
                    <a:pt x="20" y="12"/>
                  </a:cubicBezTo>
                  <a:cubicBezTo>
                    <a:pt x="6" y="8"/>
                    <a:pt x="0" y="9"/>
                    <a:pt x="0" y="9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9" y="0"/>
                    <a:pt x="22" y="5"/>
                  </a:cubicBezTo>
                  <a:cubicBezTo>
                    <a:pt x="36" y="9"/>
                    <a:pt x="40" y="14"/>
                    <a:pt x="40" y="14"/>
                  </a:cubicBezTo>
                  <a:lnTo>
                    <a:pt x="37" y="22"/>
                  </a:lnTo>
                  <a:close/>
                </a:path>
              </a:pathLst>
            </a:custGeom>
            <a:solidFill>
              <a:srgbClr val="4740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86" name="Freeform 158"/>
            <p:cNvSpPr/>
            <p:nvPr userDrawn="1"/>
          </p:nvSpPr>
          <p:spPr bwMode="auto">
            <a:xfrm>
              <a:off x="7236618" y="3195638"/>
              <a:ext cx="314325" cy="223838"/>
            </a:xfrm>
            <a:custGeom>
              <a:avLst/>
              <a:gdLst>
                <a:gd name="T0" fmla="*/ 98 w 116"/>
                <a:gd name="T1" fmla="*/ 82 h 82"/>
                <a:gd name="T2" fmla="*/ 1 w 116"/>
                <a:gd name="T3" fmla="*/ 48 h 82"/>
                <a:gd name="T4" fmla="*/ 0 w 116"/>
                <a:gd name="T5" fmla="*/ 46 h 82"/>
                <a:gd name="T6" fmla="*/ 16 w 116"/>
                <a:gd name="T7" fmla="*/ 2 h 82"/>
                <a:gd name="T8" fmla="*/ 17 w 116"/>
                <a:gd name="T9" fmla="*/ 1 h 82"/>
                <a:gd name="T10" fmla="*/ 115 w 116"/>
                <a:gd name="T11" fmla="*/ 34 h 82"/>
                <a:gd name="T12" fmla="*/ 115 w 116"/>
                <a:gd name="T13" fmla="*/ 36 h 82"/>
                <a:gd name="T14" fmla="*/ 100 w 116"/>
                <a:gd name="T15" fmla="*/ 81 h 82"/>
                <a:gd name="T16" fmla="*/ 98 w 116"/>
                <a:gd name="T17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6" h="82">
                  <a:moveTo>
                    <a:pt x="98" y="82"/>
                  </a:moveTo>
                  <a:cubicBezTo>
                    <a:pt x="1" y="48"/>
                    <a:pt x="1" y="48"/>
                    <a:pt x="1" y="48"/>
                  </a:cubicBezTo>
                  <a:cubicBezTo>
                    <a:pt x="0" y="48"/>
                    <a:pt x="0" y="47"/>
                    <a:pt x="0" y="46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1"/>
                    <a:pt x="17" y="0"/>
                    <a:pt x="17" y="1"/>
                  </a:cubicBezTo>
                  <a:cubicBezTo>
                    <a:pt x="115" y="34"/>
                    <a:pt x="115" y="34"/>
                    <a:pt x="115" y="34"/>
                  </a:cubicBezTo>
                  <a:cubicBezTo>
                    <a:pt x="115" y="35"/>
                    <a:pt x="116" y="35"/>
                    <a:pt x="115" y="36"/>
                  </a:cubicBezTo>
                  <a:cubicBezTo>
                    <a:pt x="100" y="81"/>
                    <a:pt x="100" y="81"/>
                    <a:pt x="100" y="81"/>
                  </a:cubicBezTo>
                  <a:cubicBezTo>
                    <a:pt x="100" y="82"/>
                    <a:pt x="99" y="82"/>
                    <a:pt x="98" y="82"/>
                  </a:cubicBezTo>
                  <a:close/>
                </a:path>
              </a:pathLst>
            </a:custGeom>
            <a:solidFill>
              <a:srgbClr val="5F96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87" name="Freeform 159"/>
            <p:cNvSpPr/>
            <p:nvPr userDrawn="1"/>
          </p:nvSpPr>
          <p:spPr bwMode="auto">
            <a:xfrm>
              <a:off x="7255668" y="3214688"/>
              <a:ext cx="274638" cy="185738"/>
            </a:xfrm>
            <a:custGeom>
              <a:avLst/>
              <a:gdLst>
                <a:gd name="T0" fmla="*/ 85 w 101"/>
                <a:gd name="T1" fmla="*/ 66 h 68"/>
                <a:gd name="T2" fmla="*/ 84 w 101"/>
                <a:gd name="T3" fmla="*/ 66 h 68"/>
                <a:gd name="T4" fmla="*/ 81 w 101"/>
                <a:gd name="T5" fmla="*/ 68 h 68"/>
                <a:gd name="T6" fmla="*/ 5 w 101"/>
                <a:gd name="T7" fmla="*/ 41 h 68"/>
                <a:gd name="T8" fmla="*/ 3 w 101"/>
                <a:gd name="T9" fmla="*/ 38 h 68"/>
                <a:gd name="T10" fmla="*/ 3 w 101"/>
                <a:gd name="T11" fmla="*/ 38 h 68"/>
                <a:gd name="T12" fmla="*/ 2 w 101"/>
                <a:gd name="T13" fmla="*/ 35 h 68"/>
                <a:gd name="T14" fmla="*/ 2 w 101"/>
                <a:gd name="T15" fmla="*/ 35 h 68"/>
                <a:gd name="T16" fmla="*/ 1 w 101"/>
                <a:gd name="T17" fmla="*/ 31 h 68"/>
                <a:gd name="T18" fmla="*/ 10 w 101"/>
                <a:gd name="T19" fmla="*/ 5 h 68"/>
                <a:gd name="T20" fmla="*/ 13 w 101"/>
                <a:gd name="T21" fmla="*/ 4 h 68"/>
                <a:gd name="T22" fmla="*/ 13 w 101"/>
                <a:gd name="T23" fmla="*/ 4 h 68"/>
                <a:gd name="T24" fmla="*/ 16 w 101"/>
                <a:gd name="T25" fmla="*/ 2 h 68"/>
                <a:gd name="T26" fmla="*/ 16 w 101"/>
                <a:gd name="T27" fmla="*/ 2 h 68"/>
                <a:gd name="T28" fmla="*/ 19 w 101"/>
                <a:gd name="T29" fmla="*/ 0 h 68"/>
                <a:gd name="T30" fmla="*/ 96 w 101"/>
                <a:gd name="T31" fmla="*/ 27 h 68"/>
                <a:gd name="T32" fmla="*/ 97 w 101"/>
                <a:gd name="T33" fmla="*/ 30 h 68"/>
                <a:gd name="T34" fmla="*/ 97 w 101"/>
                <a:gd name="T35" fmla="*/ 30 h 68"/>
                <a:gd name="T36" fmla="*/ 98 w 101"/>
                <a:gd name="T37" fmla="*/ 33 h 68"/>
                <a:gd name="T38" fmla="*/ 99 w 101"/>
                <a:gd name="T39" fmla="*/ 34 h 68"/>
                <a:gd name="T40" fmla="*/ 101 w 101"/>
                <a:gd name="T41" fmla="*/ 37 h 68"/>
                <a:gd name="T42" fmla="*/ 92 w 101"/>
                <a:gd name="T43" fmla="*/ 63 h 68"/>
                <a:gd name="T44" fmla="*/ 89 w 101"/>
                <a:gd name="T45" fmla="*/ 65 h 68"/>
                <a:gd name="T46" fmla="*/ 88 w 101"/>
                <a:gd name="T47" fmla="*/ 64 h 68"/>
                <a:gd name="T48" fmla="*/ 85 w 101"/>
                <a:gd name="T49" fmla="*/ 66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1" h="68">
                  <a:moveTo>
                    <a:pt x="85" y="66"/>
                  </a:moveTo>
                  <a:cubicBezTo>
                    <a:pt x="84" y="66"/>
                    <a:pt x="84" y="66"/>
                    <a:pt x="84" y="66"/>
                  </a:cubicBezTo>
                  <a:cubicBezTo>
                    <a:pt x="84" y="68"/>
                    <a:pt x="83" y="68"/>
                    <a:pt x="81" y="68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3" y="41"/>
                    <a:pt x="3" y="39"/>
                    <a:pt x="3" y="38"/>
                  </a:cubicBezTo>
                  <a:cubicBezTo>
                    <a:pt x="3" y="38"/>
                    <a:pt x="3" y="38"/>
                    <a:pt x="3" y="38"/>
                  </a:cubicBezTo>
                  <a:cubicBezTo>
                    <a:pt x="4" y="36"/>
                    <a:pt x="3" y="35"/>
                    <a:pt x="2" y="35"/>
                  </a:cubicBezTo>
                  <a:cubicBezTo>
                    <a:pt x="2" y="35"/>
                    <a:pt x="2" y="35"/>
                    <a:pt x="2" y="35"/>
                  </a:cubicBezTo>
                  <a:cubicBezTo>
                    <a:pt x="1" y="34"/>
                    <a:pt x="0" y="33"/>
                    <a:pt x="1" y="31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4"/>
                    <a:pt x="11" y="3"/>
                    <a:pt x="13" y="4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4" y="4"/>
                    <a:pt x="15" y="3"/>
                    <a:pt x="16" y="2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0"/>
                    <a:pt x="18" y="0"/>
                    <a:pt x="19" y="0"/>
                  </a:cubicBezTo>
                  <a:cubicBezTo>
                    <a:pt x="96" y="27"/>
                    <a:pt x="96" y="27"/>
                    <a:pt x="96" y="27"/>
                  </a:cubicBezTo>
                  <a:cubicBezTo>
                    <a:pt x="97" y="27"/>
                    <a:pt x="97" y="29"/>
                    <a:pt x="97" y="30"/>
                  </a:cubicBezTo>
                  <a:cubicBezTo>
                    <a:pt x="97" y="30"/>
                    <a:pt x="97" y="30"/>
                    <a:pt x="97" y="30"/>
                  </a:cubicBezTo>
                  <a:cubicBezTo>
                    <a:pt x="96" y="32"/>
                    <a:pt x="97" y="33"/>
                    <a:pt x="98" y="33"/>
                  </a:cubicBezTo>
                  <a:cubicBezTo>
                    <a:pt x="99" y="34"/>
                    <a:pt x="99" y="34"/>
                    <a:pt x="99" y="34"/>
                  </a:cubicBezTo>
                  <a:cubicBezTo>
                    <a:pt x="101" y="34"/>
                    <a:pt x="101" y="36"/>
                    <a:pt x="101" y="37"/>
                  </a:cubicBezTo>
                  <a:cubicBezTo>
                    <a:pt x="92" y="63"/>
                    <a:pt x="92" y="63"/>
                    <a:pt x="92" y="63"/>
                  </a:cubicBezTo>
                  <a:cubicBezTo>
                    <a:pt x="91" y="64"/>
                    <a:pt x="90" y="65"/>
                    <a:pt x="89" y="65"/>
                  </a:cubicBezTo>
                  <a:cubicBezTo>
                    <a:pt x="88" y="64"/>
                    <a:pt x="88" y="64"/>
                    <a:pt x="88" y="64"/>
                  </a:cubicBezTo>
                  <a:cubicBezTo>
                    <a:pt x="86" y="64"/>
                    <a:pt x="85" y="65"/>
                    <a:pt x="85" y="66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88" name="Freeform 160"/>
            <p:cNvSpPr/>
            <p:nvPr userDrawn="1"/>
          </p:nvSpPr>
          <p:spPr bwMode="auto">
            <a:xfrm>
              <a:off x="7352506" y="3260726"/>
              <a:ext cx="79375" cy="92075"/>
            </a:xfrm>
            <a:custGeom>
              <a:avLst/>
              <a:gdLst>
                <a:gd name="T0" fmla="*/ 26 w 29"/>
                <a:gd name="T1" fmla="*/ 21 h 34"/>
                <a:gd name="T2" fmla="*/ 10 w 29"/>
                <a:gd name="T3" fmla="*/ 32 h 34"/>
                <a:gd name="T4" fmla="*/ 3 w 29"/>
                <a:gd name="T5" fmla="*/ 13 h 34"/>
                <a:gd name="T6" fmla="*/ 20 w 29"/>
                <a:gd name="T7" fmla="*/ 2 h 34"/>
                <a:gd name="T8" fmla="*/ 26 w 29"/>
                <a:gd name="T9" fmla="*/ 2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34">
                  <a:moveTo>
                    <a:pt x="26" y="21"/>
                  </a:moveTo>
                  <a:cubicBezTo>
                    <a:pt x="23" y="30"/>
                    <a:pt x="16" y="34"/>
                    <a:pt x="10" y="32"/>
                  </a:cubicBezTo>
                  <a:cubicBezTo>
                    <a:pt x="3" y="30"/>
                    <a:pt x="0" y="22"/>
                    <a:pt x="3" y="13"/>
                  </a:cubicBezTo>
                  <a:cubicBezTo>
                    <a:pt x="6" y="5"/>
                    <a:pt x="14" y="0"/>
                    <a:pt x="20" y="2"/>
                  </a:cubicBezTo>
                  <a:cubicBezTo>
                    <a:pt x="26" y="5"/>
                    <a:pt x="29" y="13"/>
                    <a:pt x="26" y="21"/>
                  </a:cubicBezTo>
                  <a:close/>
                </a:path>
              </a:pathLst>
            </a:custGeom>
            <a:solidFill>
              <a:srgbClr val="5F96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89" name="Freeform 161"/>
            <p:cNvSpPr/>
            <p:nvPr userDrawn="1"/>
          </p:nvSpPr>
          <p:spPr bwMode="auto">
            <a:xfrm>
              <a:off x="7301706" y="3267076"/>
              <a:ext cx="30163" cy="28575"/>
            </a:xfrm>
            <a:custGeom>
              <a:avLst/>
              <a:gdLst>
                <a:gd name="T0" fmla="*/ 1 w 11"/>
                <a:gd name="T1" fmla="*/ 4 h 11"/>
                <a:gd name="T2" fmla="*/ 7 w 11"/>
                <a:gd name="T3" fmla="*/ 1 h 11"/>
                <a:gd name="T4" fmla="*/ 10 w 11"/>
                <a:gd name="T5" fmla="*/ 7 h 11"/>
                <a:gd name="T6" fmla="*/ 4 w 11"/>
                <a:gd name="T7" fmla="*/ 10 h 11"/>
                <a:gd name="T8" fmla="*/ 1 w 11"/>
                <a:gd name="T9" fmla="*/ 4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1">
                  <a:moveTo>
                    <a:pt x="1" y="4"/>
                  </a:moveTo>
                  <a:cubicBezTo>
                    <a:pt x="2" y="1"/>
                    <a:pt x="5" y="0"/>
                    <a:pt x="7" y="1"/>
                  </a:cubicBezTo>
                  <a:cubicBezTo>
                    <a:pt x="10" y="2"/>
                    <a:pt x="11" y="5"/>
                    <a:pt x="10" y="7"/>
                  </a:cubicBezTo>
                  <a:cubicBezTo>
                    <a:pt x="10" y="10"/>
                    <a:pt x="7" y="11"/>
                    <a:pt x="4" y="10"/>
                  </a:cubicBezTo>
                  <a:cubicBezTo>
                    <a:pt x="1" y="9"/>
                    <a:pt x="0" y="7"/>
                    <a:pt x="1" y="4"/>
                  </a:cubicBezTo>
                  <a:close/>
                </a:path>
              </a:pathLst>
            </a:custGeom>
            <a:solidFill>
              <a:srgbClr val="5F96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90" name="Freeform 162"/>
            <p:cNvSpPr/>
            <p:nvPr userDrawn="1"/>
          </p:nvSpPr>
          <p:spPr bwMode="auto">
            <a:xfrm>
              <a:off x="7454106" y="3317876"/>
              <a:ext cx="30163" cy="33338"/>
            </a:xfrm>
            <a:custGeom>
              <a:avLst/>
              <a:gdLst>
                <a:gd name="T0" fmla="*/ 1 w 11"/>
                <a:gd name="T1" fmla="*/ 4 h 12"/>
                <a:gd name="T2" fmla="*/ 7 w 11"/>
                <a:gd name="T3" fmla="*/ 1 h 12"/>
                <a:gd name="T4" fmla="*/ 10 w 11"/>
                <a:gd name="T5" fmla="*/ 8 h 12"/>
                <a:gd name="T6" fmla="*/ 4 w 11"/>
                <a:gd name="T7" fmla="*/ 11 h 12"/>
                <a:gd name="T8" fmla="*/ 1 w 11"/>
                <a:gd name="T9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2">
                  <a:moveTo>
                    <a:pt x="1" y="4"/>
                  </a:moveTo>
                  <a:cubicBezTo>
                    <a:pt x="2" y="2"/>
                    <a:pt x="5" y="0"/>
                    <a:pt x="7" y="1"/>
                  </a:cubicBezTo>
                  <a:cubicBezTo>
                    <a:pt x="10" y="2"/>
                    <a:pt x="11" y="5"/>
                    <a:pt x="10" y="8"/>
                  </a:cubicBezTo>
                  <a:cubicBezTo>
                    <a:pt x="9" y="10"/>
                    <a:pt x="7" y="12"/>
                    <a:pt x="4" y="11"/>
                  </a:cubicBezTo>
                  <a:cubicBezTo>
                    <a:pt x="1" y="10"/>
                    <a:pt x="0" y="7"/>
                    <a:pt x="1" y="4"/>
                  </a:cubicBezTo>
                  <a:close/>
                </a:path>
              </a:pathLst>
            </a:custGeom>
            <a:solidFill>
              <a:srgbClr val="5F96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91" name="Freeform 163"/>
            <p:cNvSpPr/>
            <p:nvPr userDrawn="1"/>
          </p:nvSpPr>
          <p:spPr bwMode="auto">
            <a:xfrm>
              <a:off x="7333456" y="3333751"/>
              <a:ext cx="79375" cy="79375"/>
            </a:xfrm>
            <a:custGeom>
              <a:avLst/>
              <a:gdLst>
                <a:gd name="T0" fmla="*/ 4 w 29"/>
                <a:gd name="T1" fmla="*/ 7 h 29"/>
                <a:gd name="T2" fmla="*/ 22 w 29"/>
                <a:gd name="T3" fmla="*/ 4 h 29"/>
                <a:gd name="T4" fmla="*/ 25 w 29"/>
                <a:gd name="T5" fmla="*/ 22 h 29"/>
                <a:gd name="T6" fmla="*/ 7 w 29"/>
                <a:gd name="T7" fmla="*/ 25 h 29"/>
                <a:gd name="T8" fmla="*/ 4 w 29"/>
                <a:gd name="T9" fmla="*/ 7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29">
                  <a:moveTo>
                    <a:pt x="4" y="7"/>
                  </a:moveTo>
                  <a:cubicBezTo>
                    <a:pt x="8" y="2"/>
                    <a:pt x="16" y="0"/>
                    <a:pt x="22" y="4"/>
                  </a:cubicBezTo>
                  <a:cubicBezTo>
                    <a:pt x="28" y="8"/>
                    <a:pt x="29" y="16"/>
                    <a:pt x="25" y="22"/>
                  </a:cubicBezTo>
                  <a:cubicBezTo>
                    <a:pt x="21" y="28"/>
                    <a:pt x="13" y="29"/>
                    <a:pt x="7" y="25"/>
                  </a:cubicBezTo>
                  <a:cubicBezTo>
                    <a:pt x="2" y="21"/>
                    <a:pt x="0" y="13"/>
                    <a:pt x="4" y="7"/>
                  </a:cubicBezTo>
                  <a:close/>
                </a:path>
              </a:pathLst>
            </a:custGeom>
            <a:solidFill>
              <a:srgbClr val="6B6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92" name="Freeform 164"/>
            <p:cNvSpPr/>
            <p:nvPr userDrawn="1"/>
          </p:nvSpPr>
          <p:spPr bwMode="auto">
            <a:xfrm>
              <a:off x="7339806" y="3340101"/>
              <a:ext cx="68263" cy="68263"/>
            </a:xfrm>
            <a:custGeom>
              <a:avLst/>
              <a:gdLst>
                <a:gd name="T0" fmla="*/ 4 w 25"/>
                <a:gd name="T1" fmla="*/ 7 h 25"/>
                <a:gd name="T2" fmla="*/ 19 w 25"/>
                <a:gd name="T3" fmla="*/ 4 h 25"/>
                <a:gd name="T4" fmla="*/ 22 w 25"/>
                <a:gd name="T5" fmla="*/ 19 h 25"/>
                <a:gd name="T6" fmla="*/ 7 w 25"/>
                <a:gd name="T7" fmla="*/ 22 h 25"/>
                <a:gd name="T8" fmla="*/ 4 w 25"/>
                <a:gd name="T9" fmla="*/ 7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25">
                  <a:moveTo>
                    <a:pt x="4" y="7"/>
                  </a:moveTo>
                  <a:cubicBezTo>
                    <a:pt x="7" y="2"/>
                    <a:pt x="14" y="0"/>
                    <a:pt x="19" y="4"/>
                  </a:cubicBezTo>
                  <a:cubicBezTo>
                    <a:pt x="24" y="7"/>
                    <a:pt x="25" y="14"/>
                    <a:pt x="22" y="19"/>
                  </a:cubicBezTo>
                  <a:cubicBezTo>
                    <a:pt x="18" y="24"/>
                    <a:pt x="12" y="25"/>
                    <a:pt x="7" y="22"/>
                  </a:cubicBezTo>
                  <a:cubicBezTo>
                    <a:pt x="2" y="18"/>
                    <a:pt x="0" y="12"/>
                    <a:pt x="4" y="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93" name="Freeform 165"/>
            <p:cNvSpPr/>
            <p:nvPr userDrawn="1"/>
          </p:nvSpPr>
          <p:spPr bwMode="auto">
            <a:xfrm>
              <a:off x="7358856" y="3355976"/>
              <a:ext cx="31750" cy="38100"/>
            </a:xfrm>
            <a:custGeom>
              <a:avLst/>
              <a:gdLst>
                <a:gd name="T0" fmla="*/ 2 w 12"/>
                <a:gd name="T1" fmla="*/ 8 h 14"/>
                <a:gd name="T2" fmla="*/ 3 w 12"/>
                <a:gd name="T3" fmla="*/ 10 h 14"/>
                <a:gd name="T4" fmla="*/ 5 w 12"/>
                <a:gd name="T5" fmla="*/ 10 h 14"/>
                <a:gd name="T6" fmla="*/ 4 w 12"/>
                <a:gd name="T7" fmla="*/ 3 h 14"/>
                <a:gd name="T8" fmla="*/ 8 w 12"/>
                <a:gd name="T9" fmla="*/ 1 h 14"/>
                <a:gd name="T10" fmla="*/ 10 w 12"/>
                <a:gd name="T11" fmla="*/ 0 h 14"/>
                <a:gd name="T12" fmla="*/ 11 w 12"/>
                <a:gd name="T13" fmla="*/ 1 h 14"/>
                <a:gd name="T14" fmla="*/ 10 w 12"/>
                <a:gd name="T15" fmla="*/ 2 h 14"/>
                <a:gd name="T16" fmla="*/ 12 w 12"/>
                <a:gd name="T17" fmla="*/ 5 h 14"/>
                <a:gd name="T18" fmla="*/ 10 w 12"/>
                <a:gd name="T19" fmla="*/ 6 h 14"/>
                <a:gd name="T20" fmla="*/ 8 w 12"/>
                <a:gd name="T21" fmla="*/ 4 h 14"/>
                <a:gd name="T22" fmla="*/ 6 w 12"/>
                <a:gd name="T23" fmla="*/ 4 h 14"/>
                <a:gd name="T24" fmla="*/ 7 w 12"/>
                <a:gd name="T25" fmla="*/ 11 h 14"/>
                <a:gd name="T26" fmla="*/ 3 w 12"/>
                <a:gd name="T27" fmla="*/ 12 h 14"/>
                <a:gd name="T28" fmla="*/ 2 w 12"/>
                <a:gd name="T29" fmla="*/ 14 h 14"/>
                <a:gd name="T30" fmla="*/ 1 w 12"/>
                <a:gd name="T31" fmla="*/ 13 h 14"/>
                <a:gd name="T32" fmla="*/ 2 w 12"/>
                <a:gd name="T33" fmla="*/ 11 h 14"/>
                <a:gd name="T34" fmla="*/ 0 w 12"/>
                <a:gd name="T35" fmla="*/ 8 h 14"/>
                <a:gd name="T36" fmla="*/ 2 w 12"/>
                <a:gd name="T37" fmla="*/ 8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" h="14">
                  <a:moveTo>
                    <a:pt x="2" y="8"/>
                  </a:moveTo>
                  <a:cubicBezTo>
                    <a:pt x="2" y="9"/>
                    <a:pt x="3" y="9"/>
                    <a:pt x="3" y="10"/>
                  </a:cubicBezTo>
                  <a:cubicBezTo>
                    <a:pt x="4" y="10"/>
                    <a:pt x="5" y="10"/>
                    <a:pt x="5" y="10"/>
                  </a:cubicBezTo>
                  <a:cubicBezTo>
                    <a:pt x="6" y="8"/>
                    <a:pt x="2" y="6"/>
                    <a:pt x="4" y="3"/>
                  </a:cubicBezTo>
                  <a:cubicBezTo>
                    <a:pt x="5" y="1"/>
                    <a:pt x="7" y="1"/>
                    <a:pt x="8" y="1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1" y="3"/>
                    <a:pt x="12" y="4"/>
                    <a:pt x="12" y="5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9" y="5"/>
                    <a:pt x="9" y="4"/>
                    <a:pt x="8" y="4"/>
                  </a:cubicBezTo>
                  <a:cubicBezTo>
                    <a:pt x="7" y="3"/>
                    <a:pt x="7" y="3"/>
                    <a:pt x="6" y="4"/>
                  </a:cubicBezTo>
                  <a:cubicBezTo>
                    <a:pt x="5" y="6"/>
                    <a:pt x="9" y="8"/>
                    <a:pt x="7" y="11"/>
                  </a:cubicBezTo>
                  <a:cubicBezTo>
                    <a:pt x="6" y="13"/>
                    <a:pt x="5" y="13"/>
                    <a:pt x="3" y="12"/>
                  </a:cubicBezTo>
                  <a:cubicBezTo>
                    <a:pt x="2" y="14"/>
                    <a:pt x="2" y="14"/>
                    <a:pt x="2" y="14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1" y="10"/>
                    <a:pt x="0" y="10"/>
                    <a:pt x="0" y="8"/>
                  </a:cubicBezTo>
                  <a:lnTo>
                    <a:pt x="2" y="8"/>
                  </a:lnTo>
                  <a:close/>
                </a:path>
              </a:pathLst>
            </a:custGeom>
            <a:solidFill>
              <a:srgbClr val="6B6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94" name="Freeform 166"/>
            <p:cNvSpPr/>
            <p:nvPr userDrawn="1"/>
          </p:nvSpPr>
          <p:spPr bwMode="auto">
            <a:xfrm>
              <a:off x="7306468" y="3192463"/>
              <a:ext cx="90488" cy="90488"/>
            </a:xfrm>
            <a:custGeom>
              <a:avLst/>
              <a:gdLst>
                <a:gd name="T0" fmla="*/ 31 w 33"/>
                <a:gd name="T1" fmla="*/ 14 h 33"/>
                <a:gd name="T2" fmla="*/ 19 w 33"/>
                <a:gd name="T3" fmla="*/ 32 h 33"/>
                <a:gd name="T4" fmla="*/ 1 w 33"/>
                <a:gd name="T5" fmla="*/ 19 h 33"/>
                <a:gd name="T6" fmla="*/ 14 w 33"/>
                <a:gd name="T7" fmla="*/ 2 h 33"/>
                <a:gd name="T8" fmla="*/ 31 w 33"/>
                <a:gd name="T9" fmla="*/ 14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33">
                  <a:moveTo>
                    <a:pt x="31" y="14"/>
                  </a:moveTo>
                  <a:cubicBezTo>
                    <a:pt x="33" y="22"/>
                    <a:pt x="27" y="30"/>
                    <a:pt x="19" y="32"/>
                  </a:cubicBezTo>
                  <a:cubicBezTo>
                    <a:pt x="10" y="33"/>
                    <a:pt x="3" y="27"/>
                    <a:pt x="1" y="19"/>
                  </a:cubicBezTo>
                  <a:cubicBezTo>
                    <a:pt x="0" y="11"/>
                    <a:pt x="5" y="3"/>
                    <a:pt x="14" y="2"/>
                  </a:cubicBezTo>
                  <a:cubicBezTo>
                    <a:pt x="22" y="0"/>
                    <a:pt x="30" y="6"/>
                    <a:pt x="31" y="14"/>
                  </a:cubicBezTo>
                  <a:close/>
                </a:path>
              </a:pathLst>
            </a:custGeom>
            <a:solidFill>
              <a:srgbClr val="9171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95" name="Freeform 167"/>
            <p:cNvSpPr/>
            <p:nvPr userDrawn="1"/>
          </p:nvSpPr>
          <p:spPr bwMode="auto">
            <a:xfrm>
              <a:off x="7312818" y="3201988"/>
              <a:ext cx="76200" cy="73025"/>
            </a:xfrm>
            <a:custGeom>
              <a:avLst/>
              <a:gdLst>
                <a:gd name="T0" fmla="*/ 27 w 28"/>
                <a:gd name="T1" fmla="*/ 11 h 27"/>
                <a:gd name="T2" fmla="*/ 16 w 28"/>
                <a:gd name="T3" fmla="*/ 26 h 27"/>
                <a:gd name="T4" fmla="*/ 2 w 28"/>
                <a:gd name="T5" fmla="*/ 16 h 27"/>
                <a:gd name="T6" fmla="*/ 12 w 28"/>
                <a:gd name="T7" fmla="*/ 1 h 27"/>
                <a:gd name="T8" fmla="*/ 27 w 28"/>
                <a:gd name="T9" fmla="*/ 11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27">
                  <a:moveTo>
                    <a:pt x="27" y="11"/>
                  </a:moveTo>
                  <a:cubicBezTo>
                    <a:pt x="28" y="18"/>
                    <a:pt x="23" y="25"/>
                    <a:pt x="16" y="26"/>
                  </a:cubicBezTo>
                  <a:cubicBezTo>
                    <a:pt x="9" y="27"/>
                    <a:pt x="3" y="23"/>
                    <a:pt x="2" y="16"/>
                  </a:cubicBezTo>
                  <a:cubicBezTo>
                    <a:pt x="0" y="9"/>
                    <a:pt x="5" y="2"/>
                    <a:pt x="12" y="1"/>
                  </a:cubicBezTo>
                  <a:cubicBezTo>
                    <a:pt x="19" y="0"/>
                    <a:pt x="25" y="4"/>
                    <a:pt x="27" y="11"/>
                  </a:cubicBezTo>
                  <a:close/>
                </a:path>
              </a:pathLst>
            </a:custGeom>
            <a:solidFill>
              <a:srgbClr val="F3B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96" name="Freeform 168"/>
            <p:cNvSpPr/>
            <p:nvPr userDrawn="1"/>
          </p:nvSpPr>
          <p:spPr bwMode="auto">
            <a:xfrm>
              <a:off x="7336631" y="3211513"/>
              <a:ext cx="26988" cy="52388"/>
            </a:xfrm>
            <a:custGeom>
              <a:avLst/>
              <a:gdLst>
                <a:gd name="T0" fmla="*/ 7 w 10"/>
                <a:gd name="T1" fmla="*/ 6 h 19"/>
                <a:gd name="T2" fmla="*/ 4 w 10"/>
                <a:gd name="T3" fmla="*/ 5 h 19"/>
                <a:gd name="T4" fmla="*/ 3 w 10"/>
                <a:gd name="T5" fmla="*/ 7 h 19"/>
                <a:gd name="T6" fmla="*/ 10 w 10"/>
                <a:gd name="T7" fmla="*/ 12 h 19"/>
                <a:gd name="T8" fmla="*/ 7 w 10"/>
                <a:gd name="T9" fmla="*/ 16 h 19"/>
                <a:gd name="T10" fmla="*/ 8 w 10"/>
                <a:gd name="T11" fmla="*/ 19 h 19"/>
                <a:gd name="T12" fmla="*/ 6 w 10"/>
                <a:gd name="T13" fmla="*/ 19 h 19"/>
                <a:gd name="T14" fmla="*/ 5 w 10"/>
                <a:gd name="T15" fmla="*/ 17 h 19"/>
                <a:gd name="T16" fmla="*/ 1 w 10"/>
                <a:gd name="T17" fmla="*/ 16 h 19"/>
                <a:gd name="T18" fmla="*/ 2 w 10"/>
                <a:gd name="T19" fmla="*/ 14 h 19"/>
                <a:gd name="T20" fmla="*/ 5 w 10"/>
                <a:gd name="T21" fmla="*/ 14 h 19"/>
                <a:gd name="T22" fmla="*/ 7 w 10"/>
                <a:gd name="T23" fmla="*/ 12 h 19"/>
                <a:gd name="T24" fmla="*/ 0 w 10"/>
                <a:gd name="T25" fmla="*/ 7 h 19"/>
                <a:gd name="T26" fmla="*/ 3 w 10"/>
                <a:gd name="T27" fmla="*/ 3 h 19"/>
                <a:gd name="T28" fmla="*/ 2 w 10"/>
                <a:gd name="T29" fmla="*/ 0 h 19"/>
                <a:gd name="T30" fmla="*/ 4 w 10"/>
                <a:gd name="T31" fmla="*/ 0 h 19"/>
                <a:gd name="T32" fmla="*/ 5 w 10"/>
                <a:gd name="T33" fmla="*/ 2 h 19"/>
                <a:gd name="T34" fmla="*/ 8 w 10"/>
                <a:gd name="T35" fmla="*/ 4 h 19"/>
                <a:gd name="T36" fmla="*/ 7 w 10"/>
                <a:gd name="T37" fmla="*/ 6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" h="19">
                  <a:moveTo>
                    <a:pt x="7" y="6"/>
                  </a:moveTo>
                  <a:cubicBezTo>
                    <a:pt x="6" y="5"/>
                    <a:pt x="5" y="5"/>
                    <a:pt x="4" y="5"/>
                  </a:cubicBezTo>
                  <a:cubicBezTo>
                    <a:pt x="3" y="5"/>
                    <a:pt x="3" y="6"/>
                    <a:pt x="3" y="7"/>
                  </a:cubicBezTo>
                  <a:cubicBezTo>
                    <a:pt x="3" y="9"/>
                    <a:pt x="9" y="8"/>
                    <a:pt x="10" y="12"/>
                  </a:cubicBezTo>
                  <a:cubicBezTo>
                    <a:pt x="10" y="14"/>
                    <a:pt x="9" y="16"/>
                    <a:pt x="7" y="16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4" y="17"/>
                    <a:pt x="2" y="17"/>
                    <a:pt x="1" y="16"/>
                  </a:cubicBezTo>
                  <a:cubicBezTo>
                    <a:pt x="2" y="14"/>
                    <a:pt x="2" y="14"/>
                    <a:pt x="2" y="14"/>
                  </a:cubicBezTo>
                  <a:cubicBezTo>
                    <a:pt x="3" y="14"/>
                    <a:pt x="4" y="14"/>
                    <a:pt x="5" y="14"/>
                  </a:cubicBezTo>
                  <a:cubicBezTo>
                    <a:pt x="7" y="14"/>
                    <a:pt x="7" y="13"/>
                    <a:pt x="7" y="12"/>
                  </a:cubicBezTo>
                  <a:cubicBezTo>
                    <a:pt x="7" y="10"/>
                    <a:pt x="1" y="11"/>
                    <a:pt x="0" y="7"/>
                  </a:cubicBezTo>
                  <a:cubicBezTo>
                    <a:pt x="0" y="5"/>
                    <a:pt x="1" y="3"/>
                    <a:pt x="3" y="3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6" y="2"/>
                    <a:pt x="7" y="3"/>
                    <a:pt x="8" y="4"/>
                  </a:cubicBezTo>
                  <a:lnTo>
                    <a:pt x="7" y="6"/>
                  </a:lnTo>
                  <a:close/>
                </a:path>
              </a:pathLst>
            </a:custGeom>
            <a:solidFill>
              <a:srgbClr val="9171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97" name="Freeform 169"/>
            <p:cNvSpPr/>
            <p:nvPr userDrawn="1"/>
          </p:nvSpPr>
          <p:spPr bwMode="auto">
            <a:xfrm>
              <a:off x="7103268" y="2649538"/>
              <a:ext cx="88900" cy="144463"/>
            </a:xfrm>
            <a:custGeom>
              <a:avLst/>
              <a:gdLst>
                <a:gd name="T0" fmla="*/ 43 w 56"/>
                <a:gd name="T1" fmla="*/ 91 h 91"/>
                <a:gd name="T2" fmla="*/ 0 w 56"/>
                <a:gd name="T3" fmla="*/ 84 h 91"/>
                <a:gd name="T4" fmla="*/ 12 w 56"/>
                <a:gd name="T5" fmla="*/ 0 h 91"/>
                <a:gd name="T6" fmla="*/ 56 w 56"/>
                <a:gd name="T7" fmla="*/ 7 h 91"/>
                <a:gd name="T8" fmla="*/ 43 w 56"/>
                <a:gd name="T9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" h="91">
                  <a:moveTo>
                    <a:pt x="43" y="91"/>
                  </a:moveTo>
                  <a:lnTo>
                    <a:pt x="0" y="84"/>
                  </a:lnTo>
                  <a:lnTo>
                    <a:pt x="12" y="0"/>
                  </a:lnTo>
                  <a:lnTo>
                    <a:pt x="56" y="7"/>
                  </a:lnTo>
                  <a:lnTo>
                    <a:pt x="43" y="91"/>
                  </a:lnTo>
                  <a:close/>
                </a:path>
              </a:pathLst>
            </a:custGeom>
            <a:solidFill>
              <a:srgbClr val="BD87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98" name="Freeform 170"/>
            <p:cNvSpPr/>
            <p:nvPr userDrawn="1"/>
          </p:nvSpPr>
          <p:spPr bwMode="auto">
            <a:xfrm>
              <a:off x="6931818" y="2722563"/>
              <a:ext cx="381000" cy="223838"/>
            </a:xfrm>
            <a:custGeom>
              <a:avLst/>
              <a:gdLst>
                <a:gd name="T0" fmla="*/ 139 w 140"/>
                <a:gd name="T1" fmla="*/ 34 h 82"/>
                <a:gd name="T2" fmla="*/ 93 w 140"/>
                <a:gd name="T3" fmla="*/ 6 h 82"/>
                <a:gd name="T4" fmla="*/ 76 w 140"/>
                <a:gd name="T5" fmla="*/ 23 h 82"/>
                <a:gd name="T6" fmla="*/ 64 w 140"/>
                <a:gd name="T7" fmla="*/ 1 h 82"/>
                <a:gd name="T8" fmla="*/ 11 w 140"/>
                <a:gd name="T9" fmla="*/ 13 h 82"/>
                <a:gd name="T10" fmla="*/ 0 w 140"/>
                <a:gd name="T11" fmla="*/ 59 h 82"/>
                <a:gd name="T12" fmla="*/ 136 w 140"/>
                <a:gd name="T13" fmla="*/ 82 h 82"/>
                <a:gd name="T14" fmla="*/ 139 w 140"/>
                <a:gd name="T15" fmla="*/ 34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0" h="82">
                  <a:moveTo>
                    <a:pt x="139" y="34"/>
                  </a:moveTo>
                  <a:cubicBezTo>
                    <a:pt x="140" y="23"/>
                    <a:pt x="94" y="5"/>
                    <a:pt x="93" y="6"/>
                  </a:cubicBezTo>
                  <a:cubicBezTo>
                    <a:pt x="76" y="23"/>
                    <a:pt x="76" y="23"/>
                    <a:pt x="76" y="23"/>
                  </a:cubicBezTo>
                  <a:cubicBezTo>
                    <a:pt x="64" y="1"/>
                    <a:pt x="64" y="1"/>
                    <a:pt x="64" y="1"/>
                  </a:cubicBezTo>
                  <a:cubicBezTo>
                    <a:pt x="64" y="0"/>
                    <a:pt x="14" y="2"/>
                    <a:pt x="11" y="13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136" y="82"/>
                    <a:pt x="136" y="82"/>
                    <a:pt x="136" y="82"/>
                  </a:cubicBezTo>
                  <a:lnTo>
                    <a:pt x="139" y="34"/>
                  </a:lnTo>
                  <a:close/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99" name="Freeform 171"/>
            <p:cNvSpPr/>
            <p:nvPr userDrawn="1"/>
          </p:nvSpPr>
          <p:spPr bwMode="auto">
            <a:xfrm>
              <a:off x="7061993" y="2703513"/>
              <a:ext cx="76200" cy="80963"/>
            </a:xfrm>
            <a:custGeom>
              <a:avLst/>
              <a:gdLst>
                <a:gd name="T0" fmla="*/ 31 w 48"/>
                <a:gd name="T1" fmla="*/ 17 h 51"/>
                <a:gd name="T2" fmla="*/ 48 w 48"/>
                <a:gd name="T3" fmla="*/ 51 h 51"/>
                <a:gd name="T4" fmla="*/ 0 w 48"/>
                <a:gd name="T5" fmla="*/ 7 h 51"/>
                <a:gd name="T6" fmla="*/ 33 w 48"/>
                <a:gd name="T7" fmla="*/ 0 h 51"/>
                <a:gd name="T8" fmla="*/ 31 w 48"/>
                <a:gd name="T9" fmla="*/ 17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51">
                  <a:moveTo>
                    <a:pt x="31" y="17"/>
                  </a:moveTo>
                  <a:lnTo>
                    <a:pt x="48" y="51"/>
                  </a:lnTo>
                  <a:lnTo>
                    <a:pt x="0" y="7"/>
                  </a:lnTo>
                  <a:lnTo>
                    <a:pt x="33" y="0"/>
                  </a:lnTo>
                  <a:lnTo>
                    <a:pt x="31" y="17"/>
                  </a:lnTo>
                  <a:close/>
                </a:path>
              </a:pathLst>
            </a:custGeom>
            <a:solidFill>
              <a:srgbClr val="2424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00" name="Freeform 172"/>
            <p:cNvSpPr/>
            <p:nvPr userDrawn="1"/>
          </p:nvSpPr>
          <p:spPr bwMode="auto">
            <a:xfrm>
              <a:off x="7138193" y="2714626"/>
              <a:ext cx="92075" cy="69850"/>
            </a:xfrm>
            <a:custGeom>
              <a:avLst/>
              <a:gdLst>
                <a:gd name="T0" fmla="*/ 26 w 58"/>
                <a:gd name="T1" fmla="*/ 19 h 44"/>
                <a:gd name="T2" fmla="*/ 0 w 58"/>
                <a:gd name="T3" fmla="*/ 44 h 44"/>
                <a:gd name="T4" fmla="*/ 58 w 58"/>
                <a:gd name="T5" fmla="*/ 17 h 44"/>
                <a:gd name="T6" fmla="*/ 29 w 58"/>
                <a:gd name="T7" fmla="*/ 0 h 44"/>
                <a:gd name="T8" fmla="*/ 26 w 58"/>
                <a:gd name="T9" fmla="*/ 19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44">
                  <a:moveTo>
                    <a:pt x="26" y="19"/>
                  </a:moveTo>
                  <a:lnTo>
                    <a:pt x="0" y="44"/>
                  </a:lnTo>
                  <a:lnTo>
                    <a:pt x="58" y="17"/>
                  </a:lnTo>
                  <a:lnTo>
                    <a:pt x="29" y="0"/>
                  </a:lnTo>
                  <a:lnTo>
                    <a:pt x="26" y="19"/>
                  </a:lnTo>
                  <a:close/>
                </a:path>
              </a:pathLst>
            </a:custGeom>
            <a:solidFill>
              <a:srgbClr val="2424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01" name="Freeform 173"/>
            <p:cNvSpPr/>
            <p:nvPr userDrawn="1"/>
          </p:nvSpPr>
          <p:spPr bwMode="auto">
            <a:xfrm>
              <a:off x="7058818" y="2508251"/>
              <a:ext cx="231775" cy="176213"/>
            </a:xfrm>
            <a:custGeom>
              <a:avLst/>
              <a:gdLst>
                <a:gd name="T0" fmla="*/ 7 w 85"/>
                <a:gd name="T1" fmla="*/ 8 h 65"/>
                <a:gd name="T2" fmla="*/ 15 w 85"/>
                <a:gd name="T3" fmla="*/ 57 h 65"/>
                <a:gd name="T4" fmla="*/ 55 w 85"/>
                <a:gd name="T5" fmla="*/ 64 h 65"/>
                <a:gd name="T6" fmla="*/ 79 w 85"/>
                <a:gd name="T7" fmla="*/ 20 h 65"/>
                <a:gd name="T8" fmla="*/ 48 w 85"/>
                <a:gd name="T9" fmla="*/ 0 h 65"/>
                <a:gd name="T10" fmla="*/ 7 w 85"/>
                <a:gd name="T11" fmla="*/ 8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65">
                  <a:moveTo>
                    <a:pt x="7" y="8"/>
                  </a:moveTo>
                  <a:cubicBezTo>
                    <a:pt x="0" y="18"/>
                    <a:pt x="6" y="56"/>
                    <a:pt x="15" y="57"/>
                  </a:cubicBezTo>
                  <a:cubicBezTo>
                    <a:pt x="23" y="59"/>
                    <a:pt x="47" y="62"/>
                    <a:pt x="55" y="64"/>
                  </a:cubicBezTo>
                  <a:cubicBezTo>
                    <a:pt x="64" y="65"/>
                    <a:pt x="85" y="29"/>
                    <a:pt x="79" y="20"/>
                  </a:cubicBezTo>
                  <a:cubicBezTo>
                    <a:pt x="70" y="12"/>
                    <a:pt x="48" y="0"/>
                    <a:pt x="48" y="0"/>
                  </a:cubicBezTo>
                  <a:cubicBezTo>
                    <a:pt x="48" y="0"/>
                    <a:pt x="15" y="3"/>
                    <a:pt x="7" y="8"/>
                  </a:cubicBezTo>
                  <a:close/>
                </a:path>
              </a:pathLst>
            </a:custGeom>
            <a:solidFill>
              <a:srgbClr val="6650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02" name="Freeform 174"/>
            <p:cNvSpPr/>
            <p:nvPr userDrawn="1"/>
          </p:nvSpPr>
          <p:spPr bwMode="auto">
            <a:xfrm>
              <a:off x="7054056" y="2532063"/>
              <a:ext cx="41275" cy="57150"/>
            </a:xfrm>
            <a:custGeom>
              <a:avLst/>
              <a:gdLst>
                <a:gd name="T0" fmla="*/ 10 w 15"/>
                <a:gd name="T1" fmla="*/ 21 h 21"/>
                <a:gd name="T2" fmla="*/ 0 w 15"/>
                <a:gd name="T3" fmla="*/ 11 h 21"/>
                <a:gd name="T4" fmla="*/ 9 w 15"/>
                <a:gd name="T5" fmla="*/ 1 h 21"/>
                <a:gd name="T6" fmla="*/ 10 w 15"/>
                <a:gd name="T7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21">
                  <a:moveTo>
                    <a:pt x="10" y="21"/>
                  </a:moveTo>
                  <a:cubicBezTo>
                    <a:pt x="5" y="21"/>
                    <a:pt x="1" y="17"/>
                    <a:pt x="0" y="11"/>
                  </a:cubicBezTo>
                  <a:cubicBezTo>
                    <a:pt x="0" y="5"/>
                    <a:pt x="4" y="1"/>
                    <a:pt x="9" y="1"/>
                  </a:cubicBezTo>
                  <a:cubicBezTo>
                    <a:pt x="14" y="0"/>
                    <a:pt x="15" y="21"/>
                    <a:pt x="10" y="21"/>
                  </a:cubicBezTo>
                  <a:close/>
                </a:path>
              </a:pathLst>
            </a:custGeom>
            <a:solidFill>
              <a:srgbClr val="FFB7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03" name="Freeform 175"/>
            <p:cNvSpPr/>
            <p:nvPr userDrawn="1"/>
          </p:nvSpPr>
          <p:spPr bwMode="auto">
            <a:xfrm>
              <a:off x="7236618" y="2559051"/>
              <a:ext cx="50800" cy="63500"/>
            </a:xfrm>
            <a:custGeom>
              <a:avLst/>
              <a:gdLst>
                <a:gd name="T0" fmla="*/ 5 w 19"/>
                <a:gd name="T1" fmla="*/ 21 h 23"/>
                <a:gd name="T2" fmla="*/ 17 w 19"/>
                <a:gd name="T3" fmla="*/ 15 h 23"/>
                <a:gd name="T4" fmla="*/ 12 w 19"/>
                <a:gd name="T5" fmla="*/ 2 h 23"/>
                <a:gd name="T6" fmla="*/ 5 w 19"/>
                <a:gd name="T7" fmla="*/ 2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23">
                  <a:moveTo>
                    <a:pt x="5" y="21"/>
                  </a:moveTo>
                  <a:cubicBezTo>
                    <a:pt x="10" y="23"/>
                    <a:pt x="15" y="20"/>
                    <a:pt x="17" y="15"/>
                  </a:cubicBezTo>
                  <a:cubicBezTo>
                    <a:pt x="19" y="10"/>
                    <a:pt x="17" y="4"/>
                    <a:pt x="12" y="2"/>
                  </a:cubicBezTo>
                  <a:cubicBezTo>
                    <a:pt x="8" y="0"/>
                    <a:pt x="0" y="19"/>
                    <a:pt x="5" y="21"/>
                  </a:cubicBezTo>
                  <a:close/>
                </a:path>
              </a:pathLst>
            </a:custGeom>
            <a:solidFill>
              <a:srgbClr val="FFB7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04" name="Freeform 176"/>
            <p:cNvSpPr/>
            <p:nvPr userDrawn="1"/>
          </p:nvSpPr>
          <p:spPr bwMode="auto">
            <a:xfrm>
              <a:off x="7047706" y="2439988"/>
              <a:ext cx="228600" cy="277813"/>
            </a:xfrm>
            <a:custGeom>
              <a:avLst/>
              <a:gdLst>
                <a:gd name="T0" fmla="*/ 37 w 84"/>
                <a:gd name="T1" fmla="*/ 96 h 102"/>
                <a:gd name="T2" fmla="*/ 82 w 84"/>
                <a:gd name="T3" fmla="*/ 33 h 102"/>
                <a:gd name="T4" fmla="*/ 53 w 84"/>
                <a:gd name="T5" fmla="*/ 5 h 102"/>
                <a:gd name="T6" fmla="*/ 16 w 84"/>
                <a:gd name="T7" fmla="*/ 22 h 102"/>
                <a:gd name="T8" fmla="*/ 37 w 84"/>
                <a:gd name="T9" fmla="*/ 96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4" h="102">
                  <a:moveTo>
                    <a:pt x="37" y="96"/>
                  </a:moveTo>
                  <a:cubicBezTo>
                    <a:pt x="75" y="102"/>
                    <a:pt x="82" y="33"/>
                    <a:pt x="82" y="33"/>
                  </a:cubicBezTo>
                  <a:cubicBezTo>
                    <a:pt x="82" y="33"/>
                    <a:pt x="84" y="10"/>
                    <a:pt x="53" y="5"/>
                  </a:cubicBezTo>
                  <a:cubicBezTo>
                    <a:pt x="26" y="0"/>
                    <a:pt x="16" y="22"/>
                    <a:pt x="16" y="22"/>
                  </a:cubicBezTo>
                  <a:cubicBezTo>
                    <a:pt x="16" y="22"/>
                    <a:pt x="0" y="90"/>
                    <a:pt x="37" y="96"/>
                  </a:cubicBezTo>
                  <a:close/>
                </a:path>
              </a:pathLst>
            </a:custGeom>
            <a:solidFill>
              <a:srgbClr val="FFB7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05" name="Freeform 177"/>
            <p:cNvSpPr/>
            <p:nvPr userDrawn="1"/>
          </p:nvSpPr>
          <p:spPr bwMode="auto">
            <a:xfrm>
              <a:off x="7065168" y="2401888"/>
              <a:ext cx="260350" cy="184150"/>
            </a:xfrm>
            <a:custGeom>
              <a:avLst/>
              <a:gdLst>
                <a:gd name="T0" fmla="*/ 3 w 96"/>
                <a:gd name="T1" fmla="*/ 49 h 68"/>
                <a:gd name="T2" fmla="*/ 9 w 96"/>
                <a:gd name="T3" fmla="*/ 56 h 68"/>
                <a:gd name="T4" fmla="*/ 14 w 96"/>
                <a:gd name="T5" fmla="*/ 32 h 68"/>
                <a:gd name="T6" fmla="*/ 61 w 96"/>
                <a:gd name="T7" fmla="*/ 32 h 68"/>
                <a:gd name="T8" fmla="*/ 72 w 96"/>
                <a:gd name="T9" fmla="*/ 41 h 68"/>
                <a:gd name="T10" fmla="*/ 71 w 96"/>
                <a:gd name="T11" fmla="*/ 67 h 68"/>
                <a:gd name="T12" fmla="*/ 78 w 96"/>
                <a:gd name="T13" fmla="*/ 62 h 68"/>
                <a:gd name="T14" fmla="*/ 48 w 96"/>
                <a:gd name="T15" fmla="*/ 8 h 68"/>
                <a:gd name="T16" fmla="*/ 3 w 96"/>
                <a:gd name="T17" fmla="*/ 49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6" h="68">
                  <a:moveTo>
                    <a:pt x="3" y="49"/>
                  </a:moveTo>
                  <a:cubicBezTo>
                    <a:pt x="6" y="49"/>
                    <a:pt x="9" y="56"/>
                    <a:pt x="9" y="56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52" y="45"/>
                    <a:pt x="61" y="32"/>
                  </a:cubicBezTo>
                  <a:cubicBezTo>
                    <a:pt x="72" y="29"/>
                    <a:pt x="72" y="41"/>
                    <a:pt x="72" y="41"/>
                  </a:cubicBezTo>
                  <a:cubicBezTo>
                    <a:pt x="72" y="41"/>
                    <a:pt x="71" y="68"/>
                    <a:pt x="71" y="67"/>
                  </a:cubicBezTo>
                  <a:cubicBezTo>
                    <a:pt x="74" y="60"/>
                    <a:pt x="78" y="62"/>
                    <a:pt x="78" y="62"/>
                  </a:cubicBezTo>
                  <a:cubicBezTo>
                    <a:pt x="78" y="62"/>
                    <a:pt x="96" y="16"/>
                    <a:pt x="48" y="8"/>
                  </a:cubicBezTo>
                  <a:cubicBezTo>
                    <a:pt x="0" y="0"/>
                    <a:pt x="3" y="48"/>
                    <a:pt x="3" y="49"/>
                  </a:cubicBezTo>
                  <a:close/>
                </a:path>
              </a:pathLst>
            </a:custGeom>
            <a:solidFill>
              <a:srgbClr val="6650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06" name="Freeform 178"/>
            <p:cNvSpPr>
              <a:spLocks noEditPoints="1"/>
            </p:cNvSpPr>
            <p:nvPr userDrawn="1"/>
          </p:nvSpPr>
          <p:spPr bwMode="auto">
            <a:xfrm>
              <a:off x="7081043" y="2532063"/>
              <a:ext cx="182563" cy="82550"/>
            </a:xfrm>
            <a:custGeom>
              <a:avLst/>
              <a:gdLst>
                <a:gd name="T0" fmla="*/ 51 w 67"/>
                <a:gd name="T1" fmla="*/ 7 h 30"/>
                <a:gd name="T2" fmla="*/ 34 w 67"/>
                <a:gd name="T3" fmla="*/ 14 h 30"/>
                <a:gd name="T4" fmla="*/ 19 w 67"/>
                <a:gd name="T5" fmla="*/ 2 h 30"/>
                <a:gd name="T6" fmla="*/ 1 w 67"/>
                <a:gd name="T7" fmla="*/ 10 h 30"/>
                <a:gd name="T8" fmla="*/ 15 w 67"/>
                <a:gd name="T9" fmla="*/ 24 h 30"/>
                <a:gd name="T10" fmla="*/ 33 w 67"/>
                <a:gd name="T11" fmla="*/ 17 h 30"/>
                <a:gd name="T12" fmla="*/ 48 w 67"/>
                <a:gd name="T13" fmla="*/ 29 h 30"/>
                <a:gd name="T14" fmla="*/ 66 w 67"/>
                <a:gd name="T15" fmla="*/ 21 h 30"/>
                <a:gd name="T16" fmla="*/ 51 w 67"/>
                <a:gd name="T17" fmla="*/ 7 h 30"/>
                <a:gd name="T18" fmla="*/ 17 w 67"/>
                <a:gd name="T19" fmla="*/ 16 h 30"/>
                <a:gd name="T20" fmla="*/ 8 w 67"/>
                <a:gd name="T21" fmla="*/ 11 h 30"/>
                <a:gd name="T22" fmla="*/ 18 w 67"/>
                <a:gd name="T23" fmla="*/ 9 h 30"/>
                <a:gd name="T24" fmla="*/ 26 w 67"/>
                <a:gd name="T25" fmla="*/ 14 h 30"/>
                <a:gd name="T26" fmla="*/ 17 w 67"/>
                <a:gd name="T27" fmla="*/ 16 h 30"/>
                <a:gd name="T28" fmla="*/ 49 w 67"/>
                <a:gd name="T29" fmla="*/ 21 h 30"/>
                <a:gd name="T30" fmla="*/ 40 w 67"/>
                <a:gd name="T31" fmla="*/ 16 h 30"/>
                <a:gd name="T32" fmla="*/ 50 w 67"/>
                <a:gd name="T33" fmla="*/ 14 h 30"/>
                <a:gd name="T34" fmla="*/ 59 w 67"/>
                <a:gd name="T35" fmla="*/ 19 h 30"/>
                <a:gd name="T36" fmla="*/ 49 w 67"/>
                <a:gd name="T37" fmla="*/ 21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7" h="30">
                  <a:moveTo>
                    <a:pt x="51" y="7"/>
                  </a:moveTo>
                  <a:cubicBezTo>
                    <a:pt x="43" y="6"/>
                    <a:pt x="36" y="9"/>
                    <a:pt x="34" y="14"/>
                  </a:cubicBezTo>
                  <a:cubicBezTo>
                    <a:pt x="33" y="8"/>
                    <a:pt x="27" y="3"/>
                    <a:pt x="19" y="2"/>
                  </a:cubicBezTo>
                  <a:cubicBezTo>
                    <a:pt x="10" y="0"/>
                    <a:pt x="2" y="4"/>
                    <a:pt x="1" y="10"/>
                  </a:cubicBezTo>
                  <a:cubicBezTo>
                    <a:pt x="0" y="16"/>
                    <a:pt x="6" y="22"/>
                    <a:pt x="15" y="24"/>
                  </a:cubicBezTo>
                  <a:cubicBezTo>
                    <a:pt x="24" y="25"/>
                    <a:pt x="31" y="22"/>
                    <a:pt x="33" y="17"/>
                  </a:cubicBezTo>
                  <a:cubicBezTo>
                    <a:pt x="33" y="22"/>
                    <a:pt x="40" y="28"/>
                    <a:pt x="48" y="29"/>
                  </a:cubicBezTo>
                  <a:cubicBezTo>
                    <a:pt x="57" y="30"/>
                    <a:pt x="65" y="27"/>
                    <a:pt x="66" y="21"/>
                  </a:cubicBezTo>
                  <a:cubicBezTo>
                    <a:pt x="67" y="15"/>
                    <a:pt x="60" y="9"/>
                    <a:pt x="51" y="7"/>
                  </a:cubicBezTo>
                  <a:close/>
                  <a:moveTo>
                    <a:pt x="17" y="16"/>
                  </a:moveTo>
                  <a:cubicBezTo>
                    <a:pt x="12" y="15"/>
                    <a:pt x="8" y="13"/>
                    <a:pt x="8" y="11"/>
                  </a:cubicBezTo>
                  <a:cubicBezTo>
                    <a:pt x="8" y="9"/>
                    <a:pt x="13" y="8"/>
                    <a:pt x="18" y="9"/>
                  </a:cubicBezTo>
                  <a:cubicBezTo>
                    <a:pt x="23" y="10"/>
                    <a:pt x="27" y="12"/>
                    <a:pt x="26" y="14"/>
                  </a:cubicBezTo>
                  <a:cubicBezTo>
                    <a:pt x="26" y="15"/>
                    <a:pt x="22" y="16"/>
                    <a:pt x="17" y="16"/>
                  </a:cubicBezTo>
                  <a:close/>
                  <a:moveTo>
                    <a:pt x="49" y="21"/>
                  </a:moveTo>
                  <a:cubicBezTo>
                    <a:pt x="44" y="20"/>
                    <a:pt x="40" y="18"/>
                    <a:pt x="40" y="16"/>
                  </a:cubicBezTo>
                  <a:cubicBezTo>
                    <a:pt x="41" y="14"/>
                    <a:pt x="45" y="13"/>
                    <a:pt x="50" y="14"/>
                  </a:cubicBezTo>
                  <a:cubicBezTo>
                    <a:pt x="55" y="15"/>
                    <a:pt x="59" y="17"/>
                    <a:pt x="59" y="19"/>
                  </a:cubicBezTo>
                  <a:cubicBezTo>
                    <a:pt x="58" y="21"/>
                    <a:pt x="54" y="22"/>
                    <a:pt x="49" y="21"/>
                  </a:cubicBezTo>
                  <a:close/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07" name="Freeform 179"/>
            <p:cNvSpPr/>
            <p:nvPr userDrawn="1"/>
          </p:nvSpPr>
          <p:spPr bwMode="auto">
            <a:xfrm>
              <a:off x="7084218" y="2393951"/>
              <a:ext cx="214313" cy="114300"/>
            </a:xfrm>
            <a:custGeom>
              <a:avLst/>
              <a:gdLst>
                <a:gd name="T0" fmla="*/ 77 w 79"/>
                <a:gd name="T1" fmla="*/ 42 h 42"/>
                <a:gd name="T2" fmla="*/ 44 w 79"/>
                <a:gd name="T3" fmla="*/ 4 h 42"/>
                <a:gd name="T4" fmla="*/ 0 w 79"/>
                <a:gd name="T5" fmla="*/ 29 h 42"/>
                <a:gd name="T6" fmla="*/ 77 w 79"/>
                <a:gd name="T7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9" h="42">
                  <a:moveTo>
                    <a:pt x="77" y="42"/>
                  </a:moveTo>
                  <a:cubicBezTo>
                    <a:pt x="79" y="32"/>
                    <a:pt x="65" y="7"/>
                    <a:pt x="44" y="4"/>
                  </a:cubicBezTo>
                  <a:cubicBezTo>
                    <a:pt x="22" y="0"/>
                    <a:pt x="2" y="19"/>
                    <a:pt x="0" y="29"/>
                  </a:cubicBezTo>
                  <a:lnTo>
                    <a:pt x="77" y="42"/>
                  </a:lnTo>
                  <a:close/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08" name="Freeform 180"/>
            <p:cNvSpPr/>
            <p:nvPr userDrawn="1"/>
          </p:nvSpPr>
          <p:spPr bwMode="auto">
            <a:xfrm>
              <a:off x="7084218" y="2463801"/>
              <a:ext cx="209550" cy="44450"/>
            </a:xfrm>
            <a:custGeom>
              <a:avLst/>
              <a:gdLst>
                <a:gd name="T0" fmla="*/ 77 w 77"/>
                <a:gd name="T1" fmla="*/ 16 h 16"/>
                <a:gd name="T2" fmla="*/ 77 w 77"/>
                <a:gd name="T3" fmla="*/ 13 h 16"/>
                <a:gd name="T4" fmla="*/ 1 w 77"/>
                <a:gd name="T5" fmla="*/ 0 h 16"/>
                <a:gd name="T6" fmla="*/ 0 w 77"/>
                <a:gd name="T7" fmla="*/ 3 h 16"/>
                <a:gd name="T8" fmla="*/ 77 w 77"/>
                <a:gd name="T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" h="16">
                  <a:moveTo>
                    <a:pt x="77" y="16"/>
                  </a:moveTo>
                  <a:cubicBezTo>
                    <a:pt x="77" y="15"/>
                    <a:pt x="77" y="14"/>
                    <a:pt x="77" y="13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2"/>
                    <a:pt x="0" y="3"/>
                  </a:cubicBezTo>
                  <a:lnTo>
                    <a:pt x="77" y="16"/>
                  </a:lnTo>
                  <a:close/>
                </a:path>
              </a:pathLst>
            </a:custGeom>
            <a:solidFill>
              <a:srgbClr val="2424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09" name="Freeform 181"/>
            <p:cNvSpPr/>
            <p:nvPr userDrawn="1"/>
          </p:nvSpPr>
          <p:spPr bwMode="auto">
            <a:xfrm>
              <a:off x="7058818" y="2470151"/>
              <a:ext cx="246063" cy="69850"/>
            </a:xfrm>
            <a:custGeom>
              <a:avLst/>
              <a:gdLst>
                <a:gd name="T0" fmla="*/ 84 w 90"/>
                <a:gd name="T1" fmla="*/ 26 h 26"/>
                <a:gd name="T2" fmla="*/ 4 w 90"/>
                <a:gd name="T3" fmla="*/ 13 h 26"/>
                <a:gd name="T4" fmla="*/ 0 w 90"/>
                <a:gd name="T5" fmla="*/ 10 h 26"/>
                <a:gd name="T6" fmla="*/ 2 w 90"/>
                <a:gd name="T7" fmla="*/ 2 h 26"/>
                <a:gd name="T8" fmla="*/ 6 w 90"/>
                <a:gd name="T9" fmla="*/ 1 h 26"/>
                <a:gd name="T10" fmla="*/ 86 w 90"/>
                <a:gd name="T11" fmla="*/ 14 h 26"/>
                <a:gd name="T12" fmla="*/ 90 w 90"/>
                <a:gd name="T13" fmla="*/ 16 h 26"/>
                <a:gd name="T14" fmla="*/ 88 w 90"/>
                <a:gd name="T15" fmla="*/ 25 h 26"/>
                <a:gd name="T16" fmla="*/ 84 w 90"/>
                <a:gd name="T17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0" h="26">
                  <a:moveTo>
                    <a:pt x="84" y="26"/>
                  </a:moveTo>
                  <a:cubicBezTo>
                    <a:pt x="4" y="13"/>
                    <a:pt x="4" y="13"/>
                    <a:pt x="4" y="13"/>
                  </a:cubicBezTo>
                  <a:cubicBezTo>
                    <a:pt x="2" y="13"/>
                    <a:pt x="0" y="12"/>
                    <a:pt x="0" y="10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1"/>
                    <a:pt x="4" y="0"/>
                    <a:pt x="6" y="1"/>
                  </a:cubicBezTo>
                  <a:cubicBezTo>
                    <a:pt x="86" y="14"/>
                    <a:pt x="86" y="14"/>
                    <a:pt x="86" y="14"/>
                  </a:cubicBezTo>
                  <a:cubicBezTo>
                    <a:pt x="88" y="14"/>
                    <a:pt x="90" y="15"/>
                    <a:pt x="90" y="16"/>
                  </a:cubicBezTo>
                  <a:cubicBezTo>
                    <a:pt x="88" y="25"/>
                    <a:pt x="88" y="25"/>
                    <a:pt x="88" y="25"/>
                  </a:cubicBezTo>
                  <a:cubicBezTo>
                    <a:pt x="88" y="26"/>
                    <a:pt x="86" y="26"/>
                    <a:pt x="84" y="26"/>
                  </a:cubicBezTo>
                  <a:close/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10" name="Freeform 182"/>
            <p:cNvSpPr/>
            <p:nvPr userDrawn="1"/>
          </p:nvSpPr>
          <p:spPr bwMode="auto">
            <a:xfrm>
              <a:off x="5357018" y="1890713"/>
              <a:ext cx="160338" cy="290513"/>
            </a:xfrm>
            <a:custGeom>
              <a:avLst/>
              <a:gdLst>
                <a:gd name="T0" fmla="*/ 49 w 59"/>
                <a:gd name="T1" fmla="*/ 0 h 107"/>
                <a:gd name="T2" fmla="*/ 49 w 59"/>
                <a:gd name="T3" fmla="*/ 77 h 107"/>
                <a:gd name="T4" fmla="*/ 29 w 59"/>
                <a:gd name="T5" fmla="*/ 96 h 107"/>
                <a:gd name="T6" fmla="*/ 10 w 59"/>
                <a:gd name="T7" fmla="*/ 77 h 107"/>
                <a:gd name="T8" fmla="*/ 5 w 59"/>
                <a:gd name="T9" fmla="*/ 72 h 107"/>
                <a:gd name="T10" fmla="*/ 0 w 59"/>
                <a:gd name="T11" fmla="*/ 77 h 107"/>
                <a:gd name="T12" fmla="*/ 29 w 59"/>
                <a:gd name="T13" fmla="*/ 107 h 107"/>
                <a:gd name="T14" fmla="*/ 59 w 59"/>
                <a:gd name="T15" fmla="*/ 77 h 107"/>
                <a:gd name="T16" fmla="*/ 59 w 59"/>
                <a:gd name="T17" fmla="*/ 0 h 107"/>
                <a:gd name="T18" fmla="*/ 49 w 59"/>
                <a:gd name="T19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9" h="107">
                  <a:moveTo>
                    <a:pt x="49" y="0"/>
                  </a:moveTo>
                  <a:cubicBezTo>
                    <a:pt x="49" y="77"/>
                    <a:pt x="49" y="77"/>
                    <a:pt x="49" y="77"/>
                  </a:cubicBezTo>
                  <a:cubicBezTo>
                    <a:pt x="49" y="88"/>
                    <a:pt x="40" y="96"/>
                    <a:pt x="29" y="96"/>
                  </a:cubicBezTo>
                  <a:cubicBezTo>
                    <a:pt x="19" y="96"/>
                    <a:pt x="10" y="88"/>
                    <a:pt x="10" y="77"/>
                  </a:cubicBezTo>
                  <a:cubicBezTo>
                    <a:pt x="10" y="74"/>
                    <a:pt x="8" y="72"/>
                    <a:pt x="5" y="72"/>
                  </a:cubicBezTo>
                  <a:cubicBezTo>
                    <a:pt x="2" y="72"/>
                    <a:pt x="0" y="74"/>
                    <a:pt x="0" y="77"/>
                  </a:cubicBezTo>
                  <a:cubicBezTo>
                    <a:pt x="0" y="93"/>
                    <a:pt x="13" y="107"/>
                    <a:pt x="29" y="107"/>
                  </a:cubicBezTo>
                  <a:cubicBezTo>
                    <a:pt x="46" y="107"/>
                    <a:pt x="59" y="93"/>
                    <a:pt x="59" y="77"/>
                  </a:cubicBezTo>
                  <a:cubicBezTo>
                    <a:pt x="59" y="0"/>
                    <a:pt x="59" y="0"/>
                    <a:pt x="59" y="0"/>
                  </a:cubicBezTo>
                  <a:lnTo>
                    <a:pt x="49" y="0"/>
                  </a:lnTo>
                  <a:close/>
                </a:path>
              </a:pathLst>
            </a:custGeom>
            <a:solidFill>
              <a:srgbClr val="6969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11" name="Freeform 183"/>
            <p:cNvSpPr/>
            <p:nvPr userDrawn="1"/>
          </p:nvSpPr>
          <p:spPr bwMode="auto">
            <a:xfrm>
              <a:off x="5345906" y="1658938"/>
              <a:ext cx="307975" cy="231775"/>
            </a:xfrm>
            <a:custGeom>
              <a:avLst/>
              <a:gdLst>
                <a:gd name="T0" fmla="*/ 58 w 113"/>
                <a:gd name="T1" fmla="*/ 0 h 85"/>
                <a:gd name="T2" fmla="*/ 58 w 113"/>
                <a:gd name="T3" fmla="*/ 0 h 85"/>
                <a:gd name="T4" fmla="*/ 0 w 113"/>
                <a:gd name="T5" fmla="*/ 85 h 85"/>
                <a:gd name="T6" fmla="*/ 113 w 113"/>
                <a:gd name="T7" fmla="*/ 85 h 85"/>
                <a:gd name="T8" fmla="*/ 58 w 113"/>
                <a:gd name="T9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3" h="85">
                  <a:moveTo>
                    <a:pt x="58" y="0"/>
                  </a:moveTo>
                  <a:cubicBezTo>
                    <a:pt x="58" y="0"/>
                    <a:pt x="58" y="0"/>
                    <a:pt x="58" y="0"/>
                  </a:cubicBezTo>
                  <a:cubicBezTo>
                    <a:pt x="58" y="0"/>
                    <a:pt x="0" y="22"/>
                    <a:pt x="0" y="85"/>
                  </a:cubicBezTo>
                  <a:cubicBezTo>
                    <a:pt x="113" y="85"/>
                    <a:pt x="113" y="85"/>
                    <a:pt x="113" y="85"/>
                  </a:cubicBezTo>
                  <a:cubicBezTo>
                    <a:pt x="113" y="22"/>
                    <a:pt x="58" y="0"/>
                    <a:pt x="58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12" name="Freeform 184"/>
            <p:cNvSpPr/>
            <p:nvPr userDrawn="1"/>
          </p:nvSpPr>
          <p:spPr bwMode="auto">
            <a:xfrm>
              <a:off x="5447506" y="1658938"/>
              <a:ext cx="111125" cy="231775"/>
            </a:xfrm>
            <a:custGeom>
              <a:avLst/>
              <a:gdLst>
                <a:gd name="T0" fmla="*/ 21 w 41"/>
                <a:gd name="T1" fmla="*/ 0 h 85"/>
                <a:gd name="T2" fmla="*/ 21 w 41"/>
                <a:gd name="T3" fmla="*/ 0 h 85"/>
                <a:gd name="T4" fmla="*/ 0 w 41"/>
                <a:gd name="T5" fmla="*/ 85 h 85"/>
                <a:gd name="T6" fmla="*/ 41 w 41"/>
                <a:gd name="T7" fmla="*/ 85 h 85"/>
                <a:gd name="T8" fmla="*/ 21 w 41"/>
                <a:gd name="T9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85"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0" y="22"/>
                    <a:pt x="0" y="85"/>
                  </a:cubicBezTo>
                  <a:cubicBezTo>
                    <a:pt x="41" y="85"/>
                    <a:pt x="41" y="85"/>
                    <a:pt x="41" y="85"/>
                  </a:cubicBezTo>
                  <a:cubicBezTo>
                    <a:pt x="41" y="22"/>
                    <a:pt x="21" y="0"/>
                    <a:pt x="21" y="0"/>
                  </a:cubicBezTo>
                  <a:close/>
                </a:path>
              </a:pathLst>
            </a:custGeom>
            <a:solidFill>
              <a:schemeClr val="accent5">
                <a:lumMod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13" name="Freeform 185"/>
            <p:cNvSpPr/>
            <p:nvPr userDrawn="1"/>
          </p:nvSpPr>
          <p:spPr bwMode="auto">
            <a:xfrm>
              <a:off x="5269706" y="1658938"/>
              <a:ext cx="233363" cy="231775"/>
            </a:xfrm>
            <a:custGeom>
              <a:avLst/>
              <a:gdLst>
                <a:gd name="T0" fmla="*/ 86 w 86"/>
                <a:gd name="T1" fmla="*/ 0 h 85"/>
                <a:gd name="T2" fmla="*/ 0 w 86"/>
                <a:gd name="T3" fmla="*/ 85 h 85"/>
                <a:gd name="T4" fmla="*/ 1 w 86"/>
                <a:gd name="T5" fmla="*/ 85 h 85"/>
                <a:gd name="T6" fmla="*/ 28 w 86"/>
                <a:gd name="T7" fmla="*/ 85 h 85"/>
                <a:gd name="T8" fmla="*/ 86 w 86"/>
                <a:gd name="T9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6" h="85">
                  <a:moveTo>
                    <a:pt x="86" y="0"/>
                  </a:moveTo>
                  <a:cubicBezTo>
                    <a:pt x="39" y="0"/>
                    <a:pt x="0" y="38"/>
                    <a:pt x="0" y="85"/>
                  </a:cubicBezTo>
                  <a:cubicBezTo>
                    <a:pt x="1" y="85"/>
                    <a:pt x="1" y="85"/>
                    <a:pt x="1" y="85"/>
                  </a:cubicBezTo>
                  <a:cubicBezTo>
                    <a:pt x="28" y="85"/>
                    <a:pt x="28" y="85"/>
                    <a:pt x="28" y="85"/>
                  </a:cubicBezTo>
                  <a:cubicBezTo>
                    <a:pt x="28" y="22"/>
                    <a:pt x="86" y="0"/>
                    <a:pt x="86" y="0"/>
                  </a:cubicBezTo>
                  <a:close/>
                </a:path>
              </a:pathLst>
            </a:custGeom>
            <a:solidFill>
              <a:schemeClr val="accent5">
                <a:lumMod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14" name="Freeform 186"/>
            <p:cNvSpPr/>
            <p:nvPr userDrawn="1"/>
          </p:nvSpPr>
          <p:spPr bwMode="auto">
            <a:xfrm>
              <a:off x="5503068" y="1658938"/>
              <a:ext cx="234950" cy="231775"/>
            </a:xfrm>
            <a:custGeom>
              <a:avLst/>
              <a:gdLst>
                <a:gd name="T0" fmla="*/ 0 w 86"/>
                <a:gd name="T1" fmla="*/ 0 h 85"/>
                <a:gd name="T2" fmla="*/ 0 w 86"/>
                <a:gd name="T3" fmla="*/ 0 h 85"/>
                <a:gd name="T4" fmla="*/ 55 w 86"/>
                <a:gd name="T5" fmla="*/ 85 h 85"/>
                <a:gd name="T6" fmla="*/ 85 w 86"/>
                <a:gd name="T7" fmla="*/ 85 h 85"/>
                <a:gd name="T8" fmla="*/ 86 w 86"/>
                <a:gd name="T9" fmla="*/ 85 h 85"/>
                <a:gd name="T10" fmla="*/ 0 w 86"/>
                <a:gd name="T11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85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55" y="22"/>
                    <a:pt x="55" y="85"/>
                  </a:cubicBezTo>
                  <a:cubicBezTo>
                    <a:pt x="85" y="85"/>
                    <a:pt x="85" y="85"/>
                    <a:pt x="85" y="85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6" y="38"/>
                    <a:pt x="47" y="0"/>
                    <a:pt x="0" y="0"/>
                  </a:cubicBezTo>
                  <a:close/>
                </a:path>
              </a:pathLst>
            </a:custGeom>
            <a:solidFill>
              <a:schemeClr val="accent5">
                <a:lumMod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15" name="Freeform 187"/>
            <p:cNvSpPr/>
            <p:nvPr userDrawn="1"/>
          </p:nvSpPr>
          <p:spPr bwMode="auto">
            <a:xfrm>
              <a:off x="5276056" y="1600201"/>
              <a:ext cx="123825" cy="130175"/>
            </a:xfrm>
            <a:custGeom>
              <a:avLst/>
              <a:gdLst>
                <a:gd name="T0" fmla="*/ 23 w 46"/>
                <a:gd name="T1" fmla="*/ 35 h 48"/>
                <a:gd name="T2" fmla="*/ 2 w 46"/>
                <a:gd name="T3" fmla="*/ 0 h 48"/>
                <a:gd name="T4" fmla="*/ 23 w 46"/>
                <a:gd name="T5" fmla="*/ 35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6" h="48">
                  <a:moveTo>
                    <a:pt x="23" y="35"/>
                  </a:moveTo>
                  <a:cubicBezTo>
                    <a:pt x="0" y="48"/>
                    <a:pt x="2" y="0"/>
                    <a:pt x="2" y="0"/>
                  </a:cubicBezTo>
                  <a:cubicBezTo>
                    <a:pt x="2" y="0"/>
                    <a:pt x="46" y="22"/>
                    <a:pt x="23" y="35"/>
                  </a:cubicBezTo>
                  <a:close/>
                </a:path>
              </a:pathLst>
            </a:custGeom>
            <a:solidFill>
              <a:srgbClr val="6A90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16" name="Freeform 188"/>
            <p:cNvSpPr/>
            <p:nvPr userDrawn="1"/>
          </p:nvSpPr>
          <p:spPr bwMode="auto">
            <a:xfrm>
              <a:off x="5314156" y="1509713"/>
              <a:ext cx="76200" cy="79375"/>
            </a:xfrm>
            <a:custGeom>
              <a:avLst/>
              <a:gdLst>
                <a:gd name="T0" fmla="*/ 14 w 28"/>
                <a:gd name="T1" fmla="*/ 21 h 29"/>
                <a:gd name="T2" fmla="*/ 2 w 28"/>
                <a:gd name="T3" fmla="*/ 0 h 29"/>
                <a:gd name="T4" fmla="*/ 14 w 28"/>
                <a:gd name="T5" fmla="*/ 21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8" h="29">
                  <a:moveTo>
                    <a:pt x="14" y="21"/>
                  </a:moveTo>
                  <a:cubicBezTo>
                    <a:pt x="0" y="29"/>
                    <a:pt x="2" y="0"/>
                    <a:pt x="2" y="0"/>
                  </a:cubicBezTo>
                  <a:cubicBezTo>
                    <a:pt x="2" y="0"/>
                    <a:pt x="28" y="14"/>
                    <a:pt x="14" y="21"/>
                  </a:cubicBezTo>
                  <a:close/>
                </a:path>
              </a:pathLst>
            </a:custGeom>
            <a:solidFill>
              <a:srgbClr val="6A90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17" name="Freeform 189"/>
            <p:cNvSpPr/>
            <p:nvPr userDrawn="1"/>
          </p:nvSpPr>
          <p:spPr bwMode="auto">
            <a:xfrm>
              <a:off x="5418931" y="1536701"/>
              <a:ext cx="98425" cy="103188"/>
            </a:xfrm>
            <a:custGeom>
              <a:avLst/>
              <a:gdLst>
                <a:gd name="T0" fmla="*/ 18 w 36"/>
                <a:gd name="T1" fmla="*/ 28 h 38"/>
                <a:gd name="T2" fmla="*/ 2 w 36"/>
                <a:gd name="T3" fmla="*/ 0 h 38"/>
                <a:gd name="T4" fmla="*/ 18 w 36"/>
                <a:gd name="T5" fmla="*/ 2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6" h="38">
                  <a:moveTo>
                    <a:pt x="18" y="28"/>
                  </a:moveTo>
                  <a:cubicBezTo>
                    <a:pt x="0" y="38"/>
                    <a:pt x="2" y="0"/>
                    <a:pt x="2" y="0"/>
                  </a:cubicBezTo>
                  <a:cubicBezTo>
                    <a:pt x="2" y="0"/>
                    <a:pt x="36" y="18"/>
                    <a:pt x="18" y="28"/>
                  </a:cubicBezTo>
                  <a:close/>
                </a:path>
              </a:pathLst>
            </a:custGeom>
            <a:solidFill>
              <a:srgbClr val="6A90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18" name="Freeform 190"/>
            <p:cNvSpPr/>
            <p:nvPr userDrawn="1"/>
          </p:nvSpPr>
          <p:spPr bwMode="auto">
            <a:xfrm>
              <a:off x="5585618" y="1493838"/>
              <a:ext cx="117475" cy="271463"/>
            </a:xfrm>
            <a:custGeom>
              <a:avLst/>
              <a:gdLst>
                <a:gd name="T0" fmla="*/ 22 w 74"/>
                <a:gd name="T1" fmla="*/ 3 h 171"/>
                <a:gd name="T2" fmla="*/ 0 w 74"/>
                <a:gd name="T3" fmla="*/ 79 h 171"/>
                <a:gd name="T4" fmla="*/ 38 w 74"/>
                <a:gd name="T5" fmla="*/ 74 h 171"/>
                <a:gd name="T6" fmla="*/ 0 w 74"/>
                <a:gd name="T7" fmla="*/ 171 h 171"/>
                <a:gd name="T8" fmla="*/ 74 w 74"/>
                <a:gd name="T9" fmla="*/ 58 h 171"/>
                <a:gd name="T10" fmla="*/ 27 w 74"/>
                <a:gd name="T11" fmla="*/ 60 h 171"/>
                <a:gd name="T12" fmla="*/ 55 w 74"/>
                <a:gd name="T13" fmla="*/ 0 h 171"/>
                <a:gd name="T14" fmla="*/ 22 w 74"/>
                <a:gd name="T15" fmla="*/ 3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4" h="171">
                  <a:moveTo>
                    <a:pt x="22" y="3"/>
                  </a:moveTo>
                  <a:lnTo>
                    <a:pt x="0" y="79"/>
                  </a:lnTo>
                  <a:lnTo>
                    <a:pt x="38" y="74"/>
                  </a:lnTo>
                  <a:lnTo>
                    <a:pt x="0" y="171"/>
                  </a:lnTo>
                  <a:lnTo>
                    <a:pt x="74" y="58"/>
                  </a:lnTo>
                  <a:lnTo>
                    <a:pt x="27" y="60"/>
                  </a:lnTo>
                  <a:lnTo>
                    <a:pt x="55" y="0"/>
                  </a:lnTo>
                  <a:lnTo>
                    <a:pt x="22" y="3"/>
                  </a:ln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19" name="Freeform 191"/>
            <p:cNvSpPr/>
            <p:nvPr userDrawn="1"/>
          </p:nvSpPr>
          <p:spPr bwMode="auto">
            <a:xfrm>
              <a:off x="4887118" y="3040063"/>
              <a:ext cx="458788" cy="563563"/>
            </a:xfrm>
            <a:custGeom>
              <a:avLst/>
              <a:gdLst>
                <a:gd name="T0" fmla="*/ 289 w 289"/>
                <a:gd name="T1" fmla="*/ 317 h 355"/>
                <a:gd name="T2" fmla="*/ 42 w 289"/>
                <a:gd name="T3" fmla="*/ 355 h 355"/>
                <a:gd name="T4" fmla="*/ 0 w 289"/>
                <a:gd name="T5" fmla="*/ 72 h 355"/>
                <a:gd name="T6" fmla="*/ 25 w 289"/>
                <a:gd name="T7" fmla="*/ 35 h 355"/>
                <a:gd name="T8" fmla="*/ 239 w 289"/>
                <a:gd name="T9" fmla="*/ 0 h 355"/>
                <a:gd name="T10" fmla="*/ 289 w 289"/>
                <a:gd name="T11" fmla="*/ 317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9" h="355">
                  <a:moveTo>
                    <a:pt x="289" y="317"/>
                  </a:moveTo>
                  <a:lnTo>
                    <a:pt x="42" y="355"/>
                  </a:lnTo>
                  <a:lnTo>
                    <a:pt x="0" y="72"/>
                  </a:lnTo>
                  <a:lnTo>
                    <a:pt x="25" y="35"/>
                  </a:lnTo>
                  <a:lnTo>
                    <a:pt x="239" y="0"/>
                  </a:lnTo>
                  <a:lnTo>
                    <a:pt x="289" y="317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20" name="Freeform 192"/>
            <p:cNvSpPr/>
            <p:nvPr userDrawn="1"/>
          </p:nvSpPr>
          <p:spPr bwMode="auto">
            <a:xfrm>
              <a:off x="4887118" y="3095626"/>
              <a:ext cx="47625" cy="58738"/>
            </a:xfrm>
            <a:custGeom>
              <a:avLst/>
              <a:gdLst>
                <a:gd name="T0" fmla="*/ 25 w 30"/>
                <a:gd name="T1" fmla="*/ 0 h 37"/>
                <a:gd name="T2" fmla="*/ 0 w 30"/>
                <a:gd name="T3" fmla="*/ 37 h 37"/>
                <a:gd name="T4" fmla="*/ 30 w 30"/>
                <a:gd name="T5" fmla="*/ 32 h 37"/>
                <a:gd name="T6" fmla="*/ 25 w 30"/>
                <a:gd name="T7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" h="37">
                  <a:moveTo>
                    <a:pt x="25" y="0"/>
                  </a:moveTo>
                  <a:lnTo>
                    <a:pt x="0" y="37"/>
                  </a:lnTo>
                  <a:lnTo>
                    <a:pt x="30" y="32"/>
                  </a:lnTo>
                  <a:lnTo>
                    <a:pt x="25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21" name="Freeform 193"/>
            <p:cNvSpPr/>
            <p:nvPr userDrawn="1"/>
          </p:nvSpPr>
          <p:spPr bwMode="auto">
            <a:xfrm>
              <a:off x="5006181" y="3554413"/>
              <a:ext cx="87313" cy="111125"/>
            </a:xfrm>
            <a:custGeom>
              <a:avLst/>
              <a:gdLst>
                <a:gd name="T0" fmla="*/ 55 w 55"/>
                <a:gd name="T1" fmla="*/ 64 h 70"/>
                <a:gd name="T2" fmla="*/ 31 w 55"/>
                <a:gd name="T3" fmla="*/ 55 h 70"/>
                <a:gd name="T4" fmla="*/ 9 w 55"/>
                <a:gd name="T5" fmla="*/ 70 h 70"/>
                <a:gd name="T6" fmla="*/ 0 w 55"/>
                <a:gd name="T7" fmla="*/ 7 h 70"/>
                <a:gd name="T8" fmla="*/ 45 w 55"/>
                <a:gd name="T9" fmla="*/ 0 h 70"/>
                <a:gd name="T10" fmla="*/ 55 w 55"/>
                <a:gd name="T11" fmla="*/ 64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5" h="70">
                  <a:moveTo>
                    <a:pt x="55" y="64"/>
                  </a:moveTo>
                  <a:lnTo>
                    <a:pt x="31" y="55"/>
                  </a:lnTo>
                  <a:lnTo>
                    <a:pt x="9" y="70"/>
                  </a:lnTo>
                  <a:lnTo>
                    <a:pt x="0" y="7"/>
                  </a:lnTo>
                  <a:lnTo>
                    <a:pt x="45" y="0"/>
                  </a:lnTo>
                  <a:lnTo>
                    <a:pt x="55" y="64"/>
                  </a:lnTo>
                  <a:close/>
                </a:path>
              </a:pathLst>
            </a:custGeom>
            <a:solidFill>
              <a:srgbClr val="943E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22" name="Freeform 194"/>
            <p:cNvSpPr/>
            <p:nvPr userDrawn="1"/>
          </p:nvSpPr>
          <p:spPr bwMode="auto">
            <a:xfrm>
              <a:off x="4976018" y="3462338"/>
              <a:ext cx="117475" cy="117475"/>
            </a:xfrm>
            <a:custGeom>
              <a:avLst/>
              <a:gdLst>
                <a:gd name="T0" fmla="*/ 41 w 43"/>
                <a:gd name="T1" fmla="*/ 19 h 43"/>
                <a:gd name="T2" fmla="*/ 25 w 43"/>
                <a:gd name="T3" fmla="*/ 42 h 43"/>
                <a:gd name="T4" fmla="*/ 2 w 43"/>
                <a:gd name="T5" fmla="*/ 25 h 43"/>
                <a:gd name="T6" fmla="*/ 18 w 43"/>
                <a:gd name="T7" fmla="*/ 2 h 43"/>
                <a:gd name="T8" fmla="*/ 41 w 43"/>
                <a:gd name="T9" fmla="*/ 19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43">
                  <a:moveTo>
                    <a:pt x="41" y="19"/>
                  </a:moveTo>
                  <a:cubicBezTo>
                    <a:pt x="43" y="30"/>
                    <a:pt x="36" y="40"/>
                    <a:pt x="25" y="42"/>
                  </a:cubicBezTo>
                  <a:cubicBezTo>
                    <a:pt x="14" y="43"/>
                    <a:pt x="3" y="36"/>
                    <a:pt x="2" y="25"/>
                  </a:cubicBezTo>
                  <a:cubicBezTo>
                    <a:pt x="0" y="14"/>
                    <a:pt x="7" y="4"/>
                    <a:pt x="18" y="2"/>
                  </a:cubicBezTo>
                  <a:cubicBezTo>
                    <a:pt x="29" y="0"/>
                    <a:pt x="40" y="8"/>
                    <a:pt x="41" y="19"/>
                  </a:cubicBezTo>
                  <a:close/>
                </a:path>
              </a:pathLst>
            </a:custGeom>
            <a:solidFill>
              <a:srgbClr val="BD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23" name="Freeform 195"/>
            <p:cNvSpPr/>
            <p:nvPr userDrawn="1"/>
          </p:nvSpPr>
          <p:spPr bwMode="auto">
            <a:xfrm>
              <a:off x="4987131" y="3476626"/>
              <a:ext cx="95250" cy="92075"/>
            </a:xfrm>
            <a:custGeom>
              <a:avLst/>
              <a:gdLst>
                <a:gd name="T0" fmla="*/ 33 w 35"/>
                <a:gd name="T1" fmla="*/ 14 h 34"/>
                <a:gd name="T2" fmla="*/ 20 w 35"/>
                <a:gd name="T3" fmla="*/ 33 h 34"/>
                <a:gd name="T4" fmla="*/ 2 w 35"/>
                <a:gd name="T5" fmla="*/ 19 h 34"/>
                <a:gd name="T6" fmla="*/ 15 w 35"/>
                <a:gd name="T7" fmla="*/ 1 h 34"/>
                <a:gd name="T8" fmla="*/ 33 w 35"/>
                <a:gd name="T9" fmla="*/ 1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34">
                  <a:moveTo>
                    <a:pt x="33" y="14"/>
                  </a:moveTo>
                  <a:cubicBezTo>
                    <a:pt x="35" y="23"/>
                    <a:pt x="29" y="31"/>
                    <a:pt x="20" y="33"/>
                  </a:cubicBezTo>
                  <a:cubicBezTo>
                    <a:pt x="11" y="34"/>
                    <a:pt x="3" y="28"/>
                    <a:pt x="2" y="19"/>
                  </a:cubicBezTo>
                  <a:cubicBezTo>
                    <a:pt x="0" y="11"/>
                    <a:pt x="6" y="2"/>
                    <a:pt x="15" y="1"/>
                  </a:cubicBezTo>
                  <a:cubicBezTo>
                    <a:pt x="24" y="0"/>
                    <a:pt x="32" y="6"/>
                    <a:pt x="33" y="14"/>
                  </a:cubicBezTo>
                  <a:close/>
                </a:path>
              </a:pathLst>
            </a:custGeom>
            <a:solidFill>
              <a:srgbClr val="8247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24" name="Freeform 196"/>
            <p:cNvSpPr/>
            <p:nvPr userDrawn="1"/>
          </p:nvSpPr>
          <p:spPr bwMode="auto">
            <a:xfrm>
              <a:off x="4926806" y="3130551"/>
              <a:ext cx="311150" cy="80963"/>
            </a:xfrm>
            <a:custGeom>
              <a:avLst/>
              <a:gdLst>
                <a:gd name="T0" fmla="*/ 196 w 196"/>
                <a:gd name="T1" fmla="*/ 21 h 51"/>
                <a:gd name="T2" fmla="*/ 2 w 196"/>
                <a:gd name="T3" fmla="*/ 51 h 51"/>
                <a:gd name="T4" fmla="*/ 0 w 196"/>
                <a:gd name="T5" fmla="*/ 31 h 51"/>
                <a:gd name="T6" fmla="*/ 192 w 196"/>
                <a:gd name="T7" fmla="*/ 0 h 51"/>
                <a:gd name="T8" fmla="*/ 196 w 196"/>
                <a:gd name="T9" fmla="*/ 2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6" h="51">
                  <a:moveTo>
                    <a:pt x="196" y="21"/>
                  </a:moveTo>
                  <a:lnTo>
                    <a:pt x="2" y="51"/>
                  </a:lnTo>
                  <a:lnTo>
                    <a:pt x="0" y="31"/>
                  </a:lnTo>
                  <a:lnTo>
                    <a:pt x="192" y="0"/>
                  </a:lnTo>
                  <a:lnTo>
                    <a:pt x="196" y="21"/>
                  </a:lnTo>
                  <a:close/>
                </a:path>
              </a:pathLst>
            </a:custGeom>
            <a:solidFill>
              <a:srgbClr val="5E82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25" name="Freeform 197"/>
            <p:cNvSpPr/>
            <p:nvPr userDrawn="1"/>
          </p:nvSpPr>
          <p:spPr bwMode="auto">
            <a:xfrm>
              <a:off x="4934743" y="3192463"/>
              <a:ext cx="312738" cy="82550"/>
            </a:xfrm>
            <a:custGeom>
              <a:avLst/>
              <a:gdLst>
                <a:gd name="T0" fmla="*/ 197 w 197"/>
                <a:gd name="T1" fmla="*/ 21 h 52"/>
                <a:gd name="T2" fmla="*/ 4 w 197"/>
                <a:gd name="T3" fmla="*/ 52 h 52"/>
                <a:gd name="T4" fmla="*/ 0 w 197"/>
                <a:gd name="T5" fmla="*/ 31 h 52"/>
                <a:gd name="T6" fmla="*/ 194 w 197"/>
                <a:gd name="T7" fmla="*/ 0 h 52"/>
                <a:gd name="T8" fmla="*/ 197 w 197"/>
                <a:gd name="T9" fmla="*/ 21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7" h="52">
                  <a:moveTo>
                    <a:pt x="197" y="21"/>
                  </a:moveTo>
                  <a:lnTo>
                    <a:pt x="4" y="52"/>
                  </a:lnTo>
                  <a:lnTo>
                    <a:pt x="0" y="31"/>
                  </a:lnTo>
                  <a:lnTo>
                    <a:pt x="194" y="0"/>
                  </a:lnTo>
                  <a:lnTo>
                    <a:pt x="197" y="21"/>
                  </a:lnTo>
                  <a:close/>
                </a:path>
              </a:pathLst>
            </a:custGeom>
            <a:solidFill>
              <a:srgbClr val="5E82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26" name="Freeform 198"/>
            <p:cNvSpPr/>
            <p:nvPr userDrawn="1"/>
          </p:nvSpPr>
          <p:spPr bwMode="auto">
            <a:xfrm>
              <a:off x="4945856" y="3255963"/>
              <a:ext cx="311150" cy="80963"/>
            </a:xfrm>
            <a:custGeom>
              <a:avLst/>
              <a:gdLst>
                <a:gd name="T0" fmla="*/ 196 w 196"/>
                <a:gd name="T1" fmla="*/ 20 h 51"/>
                <a:gd name="T2" fmla="*/ 4 w 196"/>
                <a:gd name="T3" fmla="*/ 51 h 51"/>
                <a:gd name="T4" fmla="*/ 0 w 196"/>
                <a:gd name="T5" fmla="*/ 31 h 51"/>
                <a:gd name="T6" fmla="*/ 192 w 196"/>
                <a:gd name="T7" fmla="*/ 0 h 51"/>
                <a:gd name="T8" fmla="*/ 196 w 196"/>
                <a:gd name="T9" fmla="*/ 2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6" h="51">
                  <a:moveTo>
                    <a:pt x="196" y="20"/>
                  </a:moveTo>
                  <a:lnTo>
                    <a:pt x="4" y="51"/>
                  </a:lnTo>
                  <a:lnTo>
                    <a:pt x="0" y="31"/>
                  </a:lnTo>
                  <a:lnTo>
                    <a:pt x="192" y="0"/>
                  </a:lnTo>
                  <a:lnTo>
                    <a:pt x="196" y="20"/>
                  </a:lnTo>
                  <a:close/>
                </a:path>
              </a:pathLst>
            </a:custGeom>
            <a:solidFill>
              <a:srgbClr val="5E82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27" name="Freeform 199"/>
            <p:cNvSpPr/>
            <p:nvPr userDrawn="1"/>
          </p:nvSpPr>
          <p:spPr bwMode="auto">
            <a:xfrm>
              <a:off x="4953793" y="3333751"/>
              <a:ext cx="201613" cy="63500"/>
            </a:xfrm>
            <a:custGeom>
              <a:avLst/>
              <a:gdLst>
                <a:gd name="T0" fmla="*/ 127 w 127"/>
                <a:gd name="T1" fmla="*/ 21 h 40"/>
                <a:gd name="T2" fmla="*/ 4 w 127"/>
                <a:gd name="T3" fmla="*/ 40 h 40"/>
                <a:gd name="T4" fmla="*/ 0 w 127"/>
                <a:gd name="T5" fmla="*/ 21 h 40"/>
                <a:gd name="T6" fmla="*/ 124 w 127"/>
                <a:gd name="T7" fmla="*/ 0 h 40"/>
                <a:gd name="T8" fmla="*/ 127 w 127"/>
                <a:gd name="T9" fmla="*/ 21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40">
                  <a:moveTo>
                    <a:pt x="127" y="21"/>
                  </a:moveTo>
                  <a:lnTo>
                    <a:pt x="4" y="40"/>
                  </a:lnTo>
                  <a:lnTo>
                    <a:pt x="0" y="21"/>
                  </a:lnTo>
                  <a:lnTo>
                    <a:pt x="124" y="0"/>
                  </a:lnTo>
                  <a:lnTo>
                    <a:pt x="127" y="21"/>
                  </a:lnTo>
                  <a:close/>
                </a:path>
              </a:pathLst>
            </a:custGeom>
            <a:solidFill>
              <a:srgbClr val="5E82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28" name="Freeform 200"/>
            <p:cNvSpPr/>
            <p:nvPr userDrawn="1"/>
          </p:nvSpPr>
          <p:spPr bwMode="auto">
            <a:xfrm>
              <a:off x="5150643" y="3459163"/>
              <a:ext cx="138113" cy="53975"/>
            </a:xfrm>
            <a:custGeom>
              <a:avLst/>
              <a:gdLst>
                <a:gd name="T0" fmla="*/ 87 w 87"/>
                <a:gd name="T1" fmla="*/ 21 h 34"/>
                <a:gd name="T2" fmla="*/ 3 w 87"/>
                <a:gd name="T3" fmla="*/ 34 h 34"/>
                <a:gd name="T4" fmla="*/ 0 w 87"/>
                <a:gd name="T5" fmla="*/ 14 h 34"/>
                <a:gd name="T6" fmla="*/ 84 w 87"/>
                <a:gd name="T7" fmla="*/ 0 h 34"/>
                <a:gd name="T8" fmla="*/ 87 w 87"/>
                <a:gd name="T9" fmla="*/ 2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34">
                  <a:moveTo>
                    <a:pt x="87" y="21"/>
                  </a:moveTo>
                  <a:lnTo>
                    <a:pt x="3" y="34"/>
                  </a:lnTo>
                  <a:lnTo>
                    <a:pt x="0" y="14"/>
                  </a:lnTo>
                  <a:lnTo>
                    <a:pt x="84" y="0"/>
                  </a:lnTo>
                  <a:lnTo>
                    <a:pt x="87" y="21"/>
                  </a:lnTo>
                  <a:close/>
                </a:path>
              </a:pathLst>
            </a:custGeom>
            <a:solidFill>
              <a:srgbClr val="4058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29" name="Freeform 201"/>
            <p:cNvSpPr/>
            <p:nvPr userDrawn="1"/>
          </p:nvSpPr>
          <p:spPr bwMode="auto">
            <a:xfrm>
              <a:off x="4307681" y="3073401"/>
              <a:ext cx="485775" cy="514350"/>
            </a:xfrm>
            <a:custGeom>
              <a:avLst/>
              <a:gdLst>
                <a:gd name="T0" fmla="*/ 98 w 179"/>
                <a:gd name="T1" fmla="*/ 189 h 189"/>
                <a:gd name="T2" fmla="*/ 0 w 179"/>
                <a:gd name="T3" fmla="*/ 29 h 189"/>
                <a:gd name="T4" fmla="*/ 146 w 179"/>
                <a:gd name="T5" fmla="*/ 0 h 189"/>
                <a:gd name="T6" fmla="*/ 98 w 179"/>
                <a:gd name="T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9" h="189">
                  <a:moveTo>
                    <a:pt x="98" y="189"/>
                  </a:moveTo>
                  <a:cubicBezTo>
                    <a:pt x="98" y="189"/>
                    <a:pt x="99" y="104"/>
                    <a:pt x="0" y="29"/>
                  </a:cubicBezTo>
                  <a:cubicBezTo>
                    <a:pt x="146" y="0"/>
                    <a:pt x="146" y="0"/>
                    <a:pt x="146" y="0"/>
                  </a:cubicBezTo>
                  <a:cubicBezTo>
                    <a:pt x="179" y="93"/>
                    <a:pt x="98" y="189"/>
                    <a:pt x="98" y="18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30" name="Freeform 202"/>
            <p:cNvSpPr/>
            <p:nvPr userDrawn="1"/>
          </p:nvSpPr>
          <p:spPr bwMode="auto">
            <a:xfrm>
              <a:off x="4293393" y="3027363"/>
              <a:ext cx="415925" cy="160338"/>
            </a:xfrm>
            <a:custGeom>
              <a:avLst/>
              <a:gdLst>
                <a:gd name="T0" fmla="*/ 151 w 153"/>
                <a:gd name="T1" fmla="*/ 17 h 59"/>
                <a:gd name="T2" fmla="*/ 80 w 153"/>
                <a:gd name="T3" fmla="*/ 52 h 59"/>
                <a:gd name="T4" fmla="*/ 2 w 153"/>
                <a:gd name="T5" fmla="*/ 41 h 59"/>
                <a:gd name="T6" fmla="*/ 73 w 153"/>
                <a:gd name="T7" fmla="*/ 6 h 59"/>
                <a:gd name="T8" fmla="*/ 151 w 153"/>
                <a:gd name="T9" fmla="*/ 17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3" h="59">
                  <a:moveTo>
                    <a:pt x="151" y="17"/>
                  </a:moveTo>
                  <a:cubicBezTo>
                    <a:pt x="153" y="29"/>
                    <a:pt x="121" y="45"/>
                    <a:pt x="80" y="52"/>
                  </a:cubicBezTo>
                  <a:cubicBezTo>
                    <a:pt x="39" y="59"/>
                    <a:pt x="4" y="54"/>
                    <a:pt x="2" y="41"/>
                  </a:cubicBezTo>
                  <a:cubicBezTo>
                    <a:pt x="0" y="29"/>
                    <a:pt x="32" y="13"/>
                    <a:pt x="73" y="6"/>
                  </a:cubicBezTo>
                  <a:cubicBezTo>
                    <a:pt x="114" y="0"/>
                    <a:pt x="149" y="4"/>
                    <a:pt x="151" y="1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31" name="Freeform 203"/>
            <p:cNvSpPr/>
            <p:nvPr userDrawn="1"/>
          </p:nvSpPr>
          <p:spPr bwMode="auto">
            <a:xfrm>
              <a:off x="4337843" y="3040063"/>
              <a:ext cx="333375" cy="131763"/>
            </a:xfrm>
            <a:custGeom>
              <a:avLst/>
              <a:gdLst>
                <a:gd name="T0" fmla="*/ 121 w 123"/>
                <a:gd name="T1" fmla="*/ 14 h 48"/>
                <a:gd name="T2" fmla="*/ 64 w 123"/>
                <a:gd name="T3" fmla="*/ 42 h 48"/>
                <a:gd name="T4" fmla="*/ 1 w 123"/>
                <a:gd name="T5" fmla="*/ 34 h 48"/>
                <a:gd name="T6" fmla="*/ 58 w 123"/>
                <a:gd name="T7" fmla="*/ 6 h 48"/>
                <a:gd name="T8" fmla="*/ 121 w 123"/>
                <a:gd name="T9" fmla="*/ 1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3" h="48">
                  <a:moveTo>
                    <a:pt x="121" y="14"/>
                  </a:moveTo>
                  <a:cubicBezTo>
                    <a:pt x="123" y="24"/>
                    <a:pt x="97" y="37"/>
                    <a:pt x="64" y="42"/>
                  </a:cubicBezTo>
                  <a:cubicBezTo>
                    <a:pt x="31" y="48"/>
                    <a:pt x="3" y="44"/>
                    <a:pt x="1" y="34"/>
                  </a:cubicBezTo>
                  <a:cubicBezTo>
                    <a:pt x="0" y="24"/>
                    <a:pt x="25" y="11"/>
                    <a:pt x="58" y="6"/>
                  </a:cubicBezTo>
                  <a:cubicBezTo>
                    <a:pt x="91" y="0"/>
                    <a:pt x="120" y="4"/>
                    <a:pt x="121" y="1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32" name="Freeform 204"/>
            <p:cNvSpPr/>
            <p:nvPr userDrawn="1"/>
          </p:nvSpPr>
          <p:spPr bwMode="auto">
            <a:xfrm>
              <a:off x="4375943" y="3062288"/>
              <a:ext cx="257175" cy="98425"/>
            </a:xfrm>
            <a:custGeom>
              <a:avLst/>
              <a:gdLst>
                <a:gd name="T0" fmla="*/ 94 w 95"/>
                <a:gd name="T1" fmla="*/ 10 h 36"/>
                <a:gd name="T2" fmla="*/ 50 w 95"/>
                <a:gd name="T3" fmla="*/ 32 h 36"/>
                <a:gd name="T4" fmla="*/ 1 w 95"/>
                <a:gd name="T5" fmla="*/ 26 h 36"/>
                <a:gd name="T6" fmla="*/ 45 w 95"/>
                <a:gd name="T7" fmla="*/ 4 h 36"/>
                <a:gd name="T8" fmla="*/ 94 w 95"/>
                <a:gd name="T9" fmla="*/ 1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5" h="36">
                  <a:moveTo>
                    <a:pt x="94" y="10"/>
                  </a:moveTo>
                  <a:cubicBezTo>
                    <a:pt x="95" y="18"/>
                    <a:pt x="75" y="28"/>
                    <a:pt x="50" y="32"/>
                  </a:cubicBezTo>
                  <a:cubicBezTo>
                    <a:pt x="24" y="36"/>
                    <a:pt x="2" y="34"/>
                    <a:pt x="1" y="26"/>
                  </a:cubicBezTo>
                  <a:cubicBezTo>
                    <a:pt x="0" y="18"/>
                    <a:pt x="19" y="8"/>
                    <a:pt x="45" y="4"/>
                  </a:cubicBezTo>
                  <a:cubicBezTo>
                    <a:pt x="70" y="0"/>
                    <a:pt x="92" y="3"/>
                    <a:pt x="94" y="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33" name="Freeform 206"/>
            <p:cNvSpPr/>
            <p:nvPr userDrawn="1"/>
          </p:nvSpPr>
          <p:spPr bwMode="auto">
            <a:xfrm>
              <a:off x="4410868" y="3078163"/>
              <a:ext cx="190500" cy="74613"/>
            </a:xfrm>
            <a:custGeom>
              <a:avLst/>
              <a:gdLst>
                <a:gd name="T0" fmla="*/ 69 w 70"/>
                <a:gd name="T1" fmla="*/ 8 h 27"/>
                <a:gd name="T2" fmla="*/ 37 w 70"/>
                <a:gd name="T3" fmla="*/ 24 h 27"/>
                <a:gd name="T4" fmla="*/ 1 w 70"/>
                <a:gd name="T5" fmla="*/ 19 h 27"/>
                <a:gd name="T6" fmla="*/ 33 w 70"/>
                <a:gd name="T7" fmla="*/ 3 h 27"/>
                <a:gd name="T8" fmla="*/ 69 w 70"/>
                <a:gd name="T9" fmla="*/ 8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27">
                  <a:moveTo>
                    <a:pt x="69" y="8"/>
                  </a:moveTo>
                  <a:cubicBezTo>
                    <a:pt x="70" y="14"/>
                    <a:pt x="55" y="21"/>
                    <a:pt x="37" y="24"/>
                  </a:cubicBezTo>
                  <a:cubicBezTo>
                    <a:pt x="18" y="27"/>
                    <a:pt x="2" y="25"/>
                    <a:pt x="1" y="19"/>
                  </a:cubicBezTo>
                  <a:cubicBezTo>
                    <a:pt x="0" y="14"/>
                    <a:pt x="14" y="6"/>
                    <a:pt x="33" y="3"/>
                  </a:cubicBezTo>
                  <a:cubicBezTo>
                    <a:pt x="52" y="0"/>
                    <a:pt x="68" y="2"/>
                    <a:pt x="69" y="8"/>
                  </a:cubicBezTo>
                  <a:close/>
                </a:path>
              </a:pathLst>
            </a:custGeom>
            <a:solidFill>
              <a:srgbClr val="6E6E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34" name="Freeform 207"/>
            <p:cNvSpPr/>
            <p:nvPr userDrawn="1"/>
          </p:nvSpPr>
          <p:spPr bwMode="auto">
            <a:xfrm>
              <a:off x="4421981" y="3228975"/>
              <a:ext cx="225425" cy="57150"/>
            </a:xfrm>
            <a:custGeom>
              <a:avLst/>
              <a:gdLst>
                <a:gd name="T0" fmla="*/ 9 w 83"/>
                <a:gd name="T1" fmla="*/ 21 h 21"/>
                <a:gd name="T2" fmla="*/ 0 w 83"/>
                <a:gd name="T3" fmla="*/ 10 h 21"/>
                <a:gd name="T4" fmla="*/ 83 w 83"/>
                <a:gd name="T5" fmla="*/ 0 h 21"/>
                <a:gd name="T6" fmla="*/ 9 w 83"/>
                <a:gd name="T7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3" h="21">
                  <a:moveTo>
                    <a:pt x="9" y="21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29" y="15"/>
                    <a:pt x="83" y="0"/>
                  </a:cubicBezTo>
                  <a:cubicBezTo>
                    <a:pt x="47" y="20"/>
                    <a:pt x="9" y="21"/>
                    <a:pt x="9" y="21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35" name="Freeform 208"/>
            <p:cNvSpPr/>
            <p:nvPr userDrawn="1"/>
          </p:nvSpPr>
          <p:spPr bwMode="auto">
            <a:xfrm>
              <a:off x="4556918" y="3352800"/>
              <a:ext cx="144463" cy="49213"/>
            </a:xfrm>
            <a:custGeom>
              <a:avLst/>
              <a:gdLst>
                <a:gd name="T0" fmla="*/ 49 w 53"/>
                <a:gd name="T1" fmla="*/ 10 h 18"/>
                <a:gd name="T2" fmla="*/ 0 w 53"/>
                <a:gd name="T3" fmla="*/ 13 h 18"/>
                <a:gd name="T4" fmla="*/ 53 w 53"/>
                <a:gd name="T5" fmla="*/ 0 h 18"/>
                <a:gd name="T6" fmla="*/ 49 w 53"/>
                <a:gd name="T7" fmla="*/ 1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3" h="18">
                  <a:moveTo>
                    <a:pt x="49" y="10"/>
                  </a:moveTo>
                  <a:cubicBezTo>
                    <a:pt x="49" y="10"/>
                    <a:pt x="25" y="18"/>
                    <a:pt x="0" y="13"/>
                  </a:cubicBezTo>
                  <a:cubicBezTo>
                    <a:pt x="30" y="12"/>
                    <a:pt x="53" y="0"/>
                    <a:pt x="53" y="0"/>
                  </a:cubicBezTo>
                  <a:lnTo>
                    <a:pt x="49" y="1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36" name="Freeform 209"/>
            <p:cNvSpPr/>
            <p:nvPr userDrawn="1"/>
          </p:nvSpPr>
          <p:spPr bwMode="auto">
            <a:xfrm>
              <a:off x="4263231" y="3413125"/>
              <a:ext cx="236538" cy="63500"/>
            </a:xfrm>
            <a:custGeom>
              <a:avLst/>
              <a:gdLst>
                <a:gd name="T0" fmla="*/ 84 w 87"/>
                <a:gd name="T1" fmla="*/ 8 h 23"/>
                <a:gd name="T2" fmla="*/ 5 w 87"/>
                <a:gd name="T3" fmla="*/ 23 h 23"/>
                <a:gd name="T4" fmla="*/ 0 w 87"/>
                <a:gd name="T5" fmla="*/ 20 h 23"/>
                <a:gd name="T6" fmla="*/ 3 w 87"/>
                <a:gd name="T7" fmla="*/ 15 h 23"/>
                <a:gd name="T8" fmla="*/ 82 w 87"/>
                <a:gd name="T9" fmla="*/ 1 h 23"/>
                <a:gd name="T10" fmla="*/ 87 w 87"/>
                <a:gd name="T11" fmla="*/ 4 h 23"/>
                <a:gd name="T12" fmla="*/ 84 w 87"/>
                <a:gd name="T13" fmla="*/ 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23">
                  <a:moveTo>
                    <a:pt x="84" y="8"/>
                  </a:moveTo>
                  <a:cubicBezTo>
                    <a:pt x="5" y="23"/>
                    <a:pt x="5" y="23"/>
                    <a:pt x="5" y="23"/>
                  </a:cubicBezTo>
                  <a:cubicBezTo>
                    <a:pt x="3" y="23"/>
                    <a:pt x="1" y="22"/>
                    <a:pt x="0" y="20"/>
                  </a:cubicBezTo>
                  <a:cubicBezTo>
                    <a:pt x="0" y="18"/>
                    <a:pt x="1" y="16"/>
                    <a:pt x="3" y="15"/>
                  </a:cubicBezTo>
                  <a:cubicBezTo>
                    <a:pt x="82" y="1"/>
                    <a:pt x="82" y="1"/>
                    <a:pt x="82" y="1"/>
                  </a:cubicBezTo>
                  <a:cubicBezTo>
                    <a:pt x="84" y="0"/>
                    <a:pt x="86" y="2"/>
                    <a:pt x="87" y="4"/>
                  </a:cubicBezTo>
                  <a:cubicBezTo>
                    <a:pt x="87" y="6"/>
                    <a:pt x="86" y="8"/>
                    <a:pt x="84" y="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37" name="Freeform 210"/>
            <p:cNvSpPr/>
            <p:nvPr userDrawn="1"/>
          </p:nvSpPr>
          <p:spPr bwMode="auto">
            <a:xfrm>
              <a:off x="4252118" y="3362325"/>
              <a:ext cx="201613" cy="53975"/>
            </a:xfrm>
            <a:custGeom>
              <a:avLst/>
              <a:gdLst>
                <a:gd name="T0" fmla="*/ 70 w 74"/>
                <a:gd name="T1" fmla="*/ 8 h 20"/>
                <a:gd name="T2" fmla="*/ 5 w 74"/>
                <a:gd name="T3" fmla="*/ 20 h 20"/>
                <a:gd name="T4" fmla="*/ 0 w 74"/>
                <a:gd name="T5" fmla="*/ 17 h 20"/>
                <a:gd name="T6" fmla="*/ 3 w 74"/>
                <a:gd name="T7" fmla="*/ 12 h 20"/>
                <a:gd name="T8" fmla="*/ 69 w 74"/>
                <a:gd name="T9" fmla="*/ 0 h 20"/>
                <a:gd name="T10" fmla="*/ 74 w 74"/>
                <a:gd name="T11" fmla="*/ 3 h 20"/>
                <a:gd name="T12" fmla="*/ 70 w 74"/>
                <a:gd name="T13" fmla="*/ 8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4" h="20">
                  <a:moveTo>
                    <a:pt x="70" y="8"/>
                  </a:moveTo>
                  <a:cubicBezTo>
                    <a:pt x="5" y="20"/>
                    <a:pt x="5" y="20"/>
                    <a:pt x="5" y="20"/>
                  </a:cubicBezTo>
                  <a:cubicBezTo>
                    <a:pt x="3" y="20"/>
                    <a:pt x="0" y="19"/>
                    <a:pt x="0" y="17"/>
                  </a:cubicBezTo>
                  <a:cubicBezTo>
                    <a:pt x="0" y="15"/>
                    <a:pt x="1" y="13"/>
                    <a:pt x="3" y="12"/>
                  </a:cubicBezTo>
                  <a:cubicBezTo>
                    <a:pt x="69" y="0"/>
                    <a:pt x="69" y="0"/>
                    <a:pt x="69" y="0"/>
                  </a:cubicBezTo>
                  <a:cubicBezTo>
                    <a:pt x="71" y="0"/>
                    <a:pt x="73" y="1"/>
                    <a:pt x="74" y="3"/>
                  </a:cubicBezTo>
                  <a:cubicBezTo>
                    <a:pt x="74" y="5"/>
                    <a:pt x="73" y="7"/>
                    <a:pt x="70" y="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38" name="Freeform 211"/>
            <p:cNvSpPr/>
            <p:nvPr userDrawn="1"/>
          </p:nvSpPr>
          <p:spPr bwMode="auto">
            <a:xfrm>
              <a:off x="4250531" y="3306763"/>
              <a:ext cx="163513" cy="49213"/>
            </a:xfrm>
            <a:custGeom>
              <a:avLst/>
              <a:gdLst>
                <a:gd name="T0" fmla="*/ 57 w 60"/>
                <a:gd name="T1" fmla="*/ 8 h 18"/>
                <a:gd name="T2" fmla="*/ 4 w 60"/>
                <a:gd name="T3" fmla="*/ 17 h 18"/>
                <a:gd name="T4" fmla="*/ 0 w 60"/>
                <a:gd name="T5" fmla="*/ 14 h 18"/>
                <a:gd name="T6" fmla="*/ 3 w 60"/>
                <a:gd name="T7" fmla="*/ 10 h 18"/>
                <a:gd name="T8" fmla="*/ 56 w 60"/>
                <a:gd name="T9" fmla="*/ 0 h 18"/>
                <a:gd name="T10" fmla="*/ 60 w 60"/>
                <a:gd name="T11" fmla="*/ 3 h 18"/>
                <a:gd name="T12" fmla="*/ 57 w 60"/>
                <a:gd name="T13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18">
                  <a:moveTo>
                    <a:pt x="57" y="8"/>
                  </a:moveTo>
                  <a:cubicBezTo>
                    <a:pt x="4" y="17"/>
                    <a:pt x="4" y="17"/>
                    <a:pt x="4" y="17"/>
                  </a:cubicBezTo>
                  <a:cubicBezTo>
                    <a:pt x="2" y="18"/>
                    <a:pt x="0" y="16"/>
                    <a:pt x="0" y="14"/>
                  </a:cubicBezTo>
                  <a:cubicBezTo>
                    <a:pt x="0" y="12"/>
                    <a:pt x="1" y="10"/>
                    <a:pt x="3" y="1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8" y="0"/>
                    <a:pt x="60" y="1"/>
                    <a:pt x="60" y="3"/>
                  </a:cubicBezTo>
                  <a:cubicBezTo>
                    <a:pt x="60" y="5"/>
                    <a:pt x="59" y="7"/>
                    <a:pt x="57" y="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39" name="Freeform 212"/>
            <p:cNvSpPr/>
            <p:nvPr userDrawn="1"/>
          </p:nvSpPr>
          <p:spPr bwMode="auto">
            <a:xfrm>
              <a:off x="7439818" y="2671763"/>
              <a:ext cx="433388" cy="387350"/>
            </a:xfrm>
            <a:custGeom>
              <a:avLst/>
              <a:gdLst>
                <a:gd name="T0" fmla="*/ 273 w 273"/>
                <a:gd name="T1" fmla="*/ 107 h 244"/>
                <a:gd name="T2" fmla="*/ 82 w 273"/>
                <a:gd name="T3" fmla="*/ 244 h 244"/>
                <a:gd name="T4" fmla="*/ 0 w 273"/>
                <a:gd name="T5" fmla="*/ 193 h 244"/>
                <a:gd name="T6" fmla="*/ 267 w 273"/>
                <a:gd name="T7" fmla="*/ 0 h 244"/>
                <a:gd name="T8" fmla="*/ 273 w 273"/>
                <a:gd name="T9" fmla="*/ 107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3" h="244">
                  <a:moveTo>
                    <a:pt x="273" y="107"/>
                  </a:moveTo>
                  <a:lnTo>
                    <a:pt x="82" y="244"/>
                  </a:lnTo>
                  <a:lnTo>
                    <a:pt x="0" y="193"/>
                  </a:lnTo>
                  <a:lnTo>
                    <a:pt x="267" y="0"/>
                  </a:lnTo>
                  <a:lnTo>
                    <a:pt x="273" y="107"/>
                  </a:lnTo>
                  <a:close/>
                </a:path>
              </a:pathLst>
            </a:custGeom>
            <a:solidFill>
              <a:srgbClr val="3B4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40" name="Freeform 213"/>
            <p:cNvSpPr/>
            <p:nvPr userDrawn="1"/>
          </p:nvSpPr>
          <p:spPr bwMode="auto">
            <a:xfrm>
              <a:off x="7504906" y="2692400"/>
              <a:ext cx="215900" cy="193675"/>
            </a:xfrm>
            <a:custGeom>
              <a:avLst/>
              <a:gdLst>
                <a:gd name="T0" fmla="*/ 96 w 136"/>
                <a:gd name="T1" fmla="*/ 0 h 122"/>
                <a:gd name="T2" fmla="*/ 0 w 136"/>
                <a:gd name="T3" fmla="*/ 69 h 122"/>
                <a:gd name="T4" fmla="*/ 40 w 136"/>
                <a:gd name="T5" fmla="*/ 122 h 122"/>
                <a:gd name="T6" fmla="*/ 136 w 136"/>
                <a:gd name="T7" fmla="*/ 53 h 122"/>
                <a:gd name="T8" fmla="*/ 96 w 136"/>
                <a:gd name="T9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6" h="122">
                  <a:moveTo>
                    <a:pt x="96" y="0"/>
                  </a:moveTo>
                  <a:lnTo>
                    <a:pt x="0" y="69"/>
                  </a:lnTo>
                  <a:lnTo>
                    <a:pt x="40" y="122"/>
                  </a:lnTo>
                  <a:lnTo>
                    <a:pt x="136" y="53"/>
                  </a:lnTo>
                  <a:lnTo>
                    <a:pt x="96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41" name="Freeform 214"/>
            <p:cNvSpPr/>
            <p:nvPr userDrawn="1"/>
          </p:nvSpPr>
          <p:spPr bwMode="auto">
            <a:xfrm>
              <a:off x="7614443" y="2730500"/>
              <a:ext cx="61913" cy="65088"/>
            </a:xfrm>
            <a:custGeom>
              <a:avLst/>
              <a:gdLst>
                <a:gd name="T0" fmla="*/ 20 w 23"/>
                <a:gd name="T1" fmla="*/ 6 h 24"/>
                <a:gd name="T2" fmla="*/ 18 w 23"/>
                <a:gd name="T3" fmla="*/ 21 h 24"/>
                <a:gd name="T4" fmla="*/ 3 w 23"/>
                <a:gd name="T5" fmla="*/ 18 h 24"/>
                <a:gd name="T6" fmla="*/ 5 w 23"/>
                <a:gd name="T7" fmla="*/ 3 h 24"/>
                <a:gd name="T8" fmla="*/ 20 w 23"/>
                <a:gd name="T9" fmla="*/ 6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4">
                  <a:moveTo>
                    <a:pt x="20" y="6"/>
                  </a:moveTo>
                  <a:cubicBezTo>
                    <a:pt x="23" y="11"/>
                    <a:pt x="22" y="17"/>
                    <a:pt x="18" y="21"/>
                  </a:cubicBezTo>
                  <a:cubicBezTo>
                    <a:pt x="13" y="24"/>
                    <a:pt x="6" y="23"/>
                    <a:pt x="3" y="18"/>
                  </a:cubicBezTo>
                  <a:cubicBezTo>
                    <a:pt x="0" y="13"/>
                    <a:pt x="0" y="6"/>
                    <a:pt x="5" y="3"/>
                  </a:cubicBezTo>
                  <a:cubicBezTo>
                    <a:pt x="10" y="0"/>
                    <a:pt x="16" y="1"/>
                    <a:pt x="20" y="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42" name="Freeform 215"/>
            <p:cNvSpPr/>
            <p:nvPr userDrawn="1"/>
          </p:nvSpPr>
          <p:spPr bwMode="auto">
            <a:xfrm>
              <a:off x="7619206" y="2736850"/>
              <a:ext cx="52388" cy="53975"/>
            </a:xfrm>
            <a:custGeom>
              <a:avLst/>
              <a:gdLst>
                <a:gd name="T0" fmla="*/ 16 w 19"/>
                <a:gd name="T1" fmla="*/ 5 h 20"/>
                <a:gd name="T2" fmla="*/ 15 w 19"/>
                <a:gd name="T3" fmla="*/ 17 h 20"/>
                <a:gd name="T4" fmla="*/ 2 w 19"/>
                <a:gd name="T5" fmla="*/ 15 h 20"/>
                <a:gd name="T6" fmla="*/ 4 w 19"/>
                <a:gd name="T7" fmla="*/ 3 h 20"/>
                <a:gd name="T8" fmla="*/ 16 w 19"/>
                <a:gd name="T9" fmla="*/ 5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20">
                  <a:moveTo>
                    <a:pt x="16" y="5"/>
                  </a:moveTo>
                  <a:cubicBezTo>
                    <a:pt x="19" y="9"/>
                    <a:pt x="18" y="14"/>
                    <a:pt x="15" y="17"/>
                  </a:cubicBezTo>
                  <a:cubicBezTo>
                    <a:pt x="11" y="20"/>
                    <a:pt x="5" y="19"/>
                    <a:pt x="2" y="15"/>
                  </a:cubicBezTo>
                  <a:cubicBezTo>
                    <a:pt x="0" y="11"/>
                    <a:pt x="0" y="5"/>
                    <a:pt x="4" y="3"/>
                  </a:cubicBezTo>
                  <a:cubicBezTo>
                    <a:pt x="8" y="0"/>
                    <a:pt x="14" y="1"/>
                    <a:pt x="16" y="5"/>
                  </a:cubicBezTo>
                  <a:close/>
                </a:path>
              </a:pathLst>
            </a:custGeom>
            <a:solidFill>
              <a:srgbClr val="77A7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43" name="Freeform 216"/>
            <p:cNvSpPr/>
            <p:nvPr userDrawn="1"/>
          </p:nvSpPr>
          <p:spPr bwMode="auto">
            <a:xfrm>
              <a:off x="7469981" y="2727325"/>
              <a:ext cx="49213" cy="68263"/>
            </a:xfrm>
            <a:custGeom>
              <a:avLst/>
              <a:gdLst>
                <a:gd name="T0" fmla="*/ 3 w 31"/>
                <a:gd name="T1" fmla="*/ 0 h 43"/>
                <a:gd name="T2" fmla="*/ 0 w 31"/>
                <a:gd name="T3" fmla="*/ 4 h 43"/>
                <a:gd name="T4" fmla="*/ 27 w 31"/>
                <a:gd name="T5" fmla="*/ 43 h 43"/>
                <a:gd name="T6" fmla="*/ 31 w 31"/>
                <a:gd name="T7" fmla="*/ 40 h 43"/>
                <a:gd name="T8" fmla="*/ 3 w 31"/>
                <a:gd name="T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43">
                  <a:moveTo>
                    <a:pt x="3" y="0"/>
                  </a:moveTo>
                  <a:lnTo>
                    <a:pt x="0" y="4"/>
                  </a:lnTo>
                  <a:lnTo>
                    <a:pt x="27" y="43"/>
                  </a:lnTo>
                  <a:lnTo>
                    <a:pt x="31" y="4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44" name="Freeform 217"/>
            <p:cNvSpPr/>
            <p:nvPr userDrawn="1"/>
          </p:nvSpPr>
          <p:spPr bwMode="auto">
            <a:xfrm>
              <a:off x="7398543" y="2733675"/>
              <a:ext cx="95250" cy="84138"/>
            </a:xfrm>
            <a:custGeom>
              <a:avLst/>
              <a:gdLst>
                <a:gd name="T0" fmla="*/ 16 w 60"/>
                <a:gd name="T1" fmla="*/ 53 h 53"/>
                <a:gd name="T2" fmla="*/ 60 w 60"/>
                <a:gd name="T3" fmla="*/ 20 h 53"/>
                <a:gd name="T4" fmla="*/ 45 w 60"/>
                <a:gd name="T5" fmla="*/ 0 h 53"/>
                <a:gd name="T6" fmla="*/ 0 w 60"/>
                <a:gd name="T7" fmla="*/ 32 h 53"/>
                <a:gd name="T8" fmla="*/ 21 w 60"/>
                <a:gd name="T9" fmla="*/ 34 h 53"/>
                <a:gd name="T10" fmla="*/ 16 w 60"/>
                <a:gd name="T11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0" h="53">
                  <a:moveTo>
                    <a:pt x="16" y="53"/>
                  </a:moveTo>
                  <a:lnTo>
                    <a:pt x="60" y="20"/>
                  </a:lnTo>
                  <a:lnTo>
                    <a:pt x="45" y="0"/>
                  </a:lnTo>
                  <a:lnTo>
                    <a:pt x="0" y="32"/>
                  </a:lnTo>
                  <a:lnTo>
                    <a:pt x="21" y="34"/>
                  </a:lnTo>
                  <a:lnTo>
                    <a:pt x="16" y="53"/>
                  </a:ln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45" name="Freeform 218"/>
            <p:cNvSpPr/>
            <p:nvPr userDrawn="1"/>
          </p:nvSpPr>
          <p:spPr bwMode="auto">
            <a:xfrm>
              <a:off x="7466806" y="2708275"/>
              <a:ext cx="403225" cy="304800"/>
            </a:xfrm>
            <a:custGeom>
              <a:avLst/>
              <a:gdLst>
                <a:gd name="T0" fmla="*/ 254 w 254"/>
                <a:gd name="T1" fmla="*/ 23 h 192"/>
                <a:gd name="T2" fmla="*/ 17 w 254"/>
                <a:gd name="T3" fmla="*/ 192 h 192"/>
                <a:gd name="T4" fmla="*/ 0 w 254"/>
                <a:gd name="T5" fmla="*/ 180 h 192"/>
                <a:gd name="T6" fmla="*/ 252 w 254"/>
                <a:gd name="T7" fmla="*/ 0 h 192"/>
                <a:gd name="T8" fmla="*/ 254 w 254"/>
                <a:gd name="T9" fmla="*/ 23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4" h="192">
                  <a:moveTo>
                    <a:pt x="254" y="23"/>
                  </a:moveTo>
                  <a:lnTo>
                    <a:pt x="17" y="192"/>
                  </a:lnTo>
                  <a:lnTo>
                    <a:pt x="0" y="180"/>
                  </a:lnTo>
                  <a:lnTo>
                    <a:pt x="252" y="0"/>
                  </a:lnTo>
                  <a:lnTo>
                    <a:pt x="254" y="23"/>
                  </a:lnTo>
                  <a:close/>
                </a:path>
              </a:pathLst>
            </a:custGeom>
            <a:solidFill>
              <a:srgbClr val="A35C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46" name="Freeform 219"/>
            <p:cNvSpPr/>
            <p:nvPr userDrawn="1"/>
          </p:nvSpPr>
          <p:spPr bwMode="auto">
            <a:xfrm>
              <a:off x="7417593" y="2909888"/>
              <a:ext cx="490538" cy="136525"/>
            </a:xfrm>
            <a:custGeom>
              <a:avLst/>
              <a:gdLst>
                <a:gd name="T0" fmla="*/ 171 w 180"/>
                <a:gd name="T1" fmla="*/ 49 h 50"/>
                <a:gd name="T2" fmla="*/ 168 w 180"/>
                <a:gd name="T3" fmla="*/ 47 h 50"/>
                <a:gd name="T4" fmla="*/ 136 w 180"/>
                <a:gd name="T5" fmla="*/ 32 h 50"/>
                <a:gd name="T6" fmla="*/ 116 w 180"/>
                <a:gd name="T7" fmla="*/ 34 h 50"/>
                <a:gd name="T8" fmla="*/ 91 w 180"/>
                <a:gd name="T9" fmla="*/ 36 h 50"/>
                <a:gd name="T10" fmla="*/ 65 w 180"/>
                <a:gd name="T11" fmla="*/ 26 h 50"/>
                <a:gd name="T12" fmla="*/ 47 w 180"/>
                <a:gd name="T13" fmla="*/ 18 h 50"/>
                <a:gd name="T14" fmla="*/ 11 w 180"/>
                <a:gd name="T15" fmla="*/ 22 h 50"/>
                <a:gd name="T16" fmla="*/ 2 w 180"/>
                <a:gd name="T17" fmla="*/ 19 h 50"/>
                <a:gd name="T18" fmla="*/ 4 w 180"/>
                <a:gd name="T19" fmla="*/ 10 h 50"/>
                <a:gd name="T20" fmla="*/ 49 w 180"/>
                <a:gd name="T21" fmla="*/ 5 h 50"/>
                <a:gd name="T22" fmla="*/ 73 w 180"/>
                <a:gd name="T23" fmla="*/ 15 h 50"/>
                <a:gd name="T24" fmla="*/ 93 w 180"/>
                <a:gd name="T25" fmla="*/ 23 h 50"/>
                <a:gd name="T26" fmla="*/ 113 w 180"/>
                <a:gd name="T27" fmla="*/ 21 h 50"/>
                <a:gd name="T28" fmla="*/ 138 w 180"/>
                <a:gd name="T29" fmla="*/ 19 h 50"/>
                <a:gd name="T30" fmla="*/ 177 w 180"/>
                <a:gd name="T31" fmla="*/ 38 h 50"/>
                <a:gd name="T32" fmla="*/ 177 w 180"/>
                <a:gd name="T33" fmla="*/ 47 h 50"/>
                <a:gd name="T34" fmla="*/ 171 w 180"/>
                <a:gd name="T35" fmla="*/ 49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0" h="50">
                  <a:moveTo>
                    <a:pt x="171" y="49"/>
                  </a:moveTo>
                  <a:cubicBezTo>
                    <a:pt x="170" y="49"/>
                    <a:pt x="169" y="48"/>
                    <a:pt x="168" y="47"/>
                  </a:cubicBezTo>
                  <a:cubicBezTo>
                    <a:pt x="168" y="47"/>
                    <a:pt x="155" y="35"/>
                    <a:pt x="136" y="32"/>
                  </a:cubicBezTo>
                  <a:cubicBezTo>
                    <a:pt x="130" y="31"/>
                    <a:pt x="123" y="33"/>
                    <a:pt x="116" y="34"/>
                  </a:cubicBezTo>
                  <a:cubicBezTo>
                    <a:pt x="107" y="36"/>
                    <a:pt x="99" y="37"/>
                    <a:pt x="91" y="36"/>
                  </a:cubicBezTo>
                  <a:cubicBezTo>
                    <a:pt x="76" y="34"/>
                    <a:pt x="70" y="29"/>
                    <a:pt x="65" y="26"/>
                  </a:cubicBezTo>
                  <a:cubicBezTo>
                    <a:pt x="61" y="22"/>
                    <a:pt x="58" y="20"/>
                    <a:pt x="47" y="18"/>
                  </a:cubicBezTo>
                  <a:cubicBezTo>
                    <a:pt x="24" y="14"/>
                    <a:pt x="11" y="22"/>
                    <a:pt x="11" y="22"/>
                  </a:cubicBezTo>
                  <a:cubicBezTo>
                    <a:pt x="8" y="23"/>
                    <a:pt x="3" y="22"/>
                    <a:pt x="2" y="19"/>
                  </a:cubicBezTo>
                  <a:cubicBezTo>
                    <a:pt x="0" y="16"/>
                    <a:pt x="1" y="12"/>
                    <a:pt x="4" y="10"/>
                  </a:cubicBezTo>
                  <a:cubicBezTo>
                    <a:pt x="4" y="10"/>
                    <a:pt x="21" y="0"/>
                    <a:pt x="49" y="5"/>
                  </a:cubicBezTo>
                  <a:cubicBezTo>
                    <a:pt x="63" y="7"/>
                    <a:pt x="69" y="11"/>
                    <a:pt x="73" y="15"/>
                  </a:cubicBezTo>
                  <a:cubicBezTo>
                    <a:pt x="78" y="18"/>
                    <a:pt x="81" y="21"/>
                    <a:pt x="93" y="23"/>
                  </a:cubicBezTo>
                  <a:cubicBezTo>
                    <a:pt x="99" y="24"/>
                    <a:pt x="106" y="22"/>
                    <a:pt x="113" y="21"/>
                  </a:cubicBezTo>
                  <a:cubicBezTo>
                    <a:pt x="122" y="19"/>
                    <a:pt x="130" y="18"/>
                    <a:pt x="138" y="19"/>
                  </a:cubicBezTo>
                  <a:cubicBezTo>
                    <a:pt x="161" y="23"/>
                    <a:pt x="177" y="37"/>
                    <a:pt x="177" y="38"/>
                  </a:cubicBezTo>
                  <a:cubicBezTo>
                    <a:pt x="180" y="40"/>
                    <a:pt x="180" y="45"/>
                    <a:pt x="177" y="47"/>
                  </a:cubicBezTo>
                  <a:cubicBezTo>
                    <a:pt x="176" y="49"/>
                    <a:pt x="173" y="50"/>
                    <a:pt x="171" y="49"/>
                  </a:cubicBezTo>
                  <a:close/>
                </a:path>
              </a:pathLst>
            </a:custGeom>
            <a:solidFill>
              <a:srgbClr val="445F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47" name="Freeform 220"/>
            <p:cNvSpPr/>
            <p:nvPr userDrawn="1"/>
          </p:nvSpPr>
          <p:spPr bwMode="auto">
            <a:xfrm>
              <a:off x="7412831" y="2943225"/>
              <a:ext cx="488950" cy="134938"/>
            </a:xfrm>
            <a:custGeom>
              <a:avLst/>
              <a:gdLst>
                <a:gd name="T0" fmla="*/ 171 w 180"/>
                <a:gd name="T1" fmla="*/ 49 h 50"/>
                <a:gd name="T2" fmla="*/ 168 w 180"/>
                <a:gd name="T3" fmla="*/ 48 h 50"/>
                <a:gd name="T4" fmla="*/ 136 w 180"/>
                <a:gd name="T5" fmla="*/ 32 h 50"/>
                <a:gd name="T6" fmla="*/ 116 w 180"/>
                <a:gd name="T7" fmla="*/ 34 h 50"/>
                <a:gd name="T8" fmla="*/ 91 w 180"/>
                <a:gd name="T9" fmla="*/ 36 h 50"/>
                <a:gd name="T10" fmla="*/ 65 w 180"/>
                <a:gd name="T11" fmla="*/ 26 h 50"/>
                <a:gd name="T12" fmla="*/ 47 w 180"/>
                <a:gd name="T13" fmla="*/ 18 h 50"/>
                <a:gd name="T14" fmla="*/ 11 w 180"/>
                <a:gd name="T15" fmla="*/ 22 h 50"/>
                <a:gd name="T16" fmla="*/ 2 w 180"/>
                <a:gd name="T17" fmla="*/ 19 h 50"/>
                <a:gd name="T18" fmla="*/ 4 w 180"/>
                <a:gd name="T19" fmla="*/ 10 h 50"/>
                <a:gd name="T20" fmla="*/ 49 w 180"/>
                <a:gd name="T21" fmla="*/ 5 h 50"/>
                <a:gd name="T22" fmla="*/ 73 w 180"/>
                <a:gd name="T23" fmla="*/ 15 h 50"/>
                <a:gd name="T24" fmla="*/ 93 w 180"/>
                <a:gd name="T25" fmla="*/ 23 h 50"/>
                <a:gd name="T26" fmla="*/ 113 w 180"/>
                <a:gd name="T27" fmla="*/ 21 h 50"/>
                <a:gd name="T28" fmla="*/ 138 w 180"/>
                <a:gd name="T29" fmla="*/ 19 h 50"/>
                <a:gd name="T30" fmla="*/ 177 w 180"/>
                <a:gd name="T31" fmla="*/ 38 h 50"/>
                <a:gd name="T32" fmla="*/ 177 w 180"/>
                <a:gd name="T33" fmla="*/ 47 h 50"/>
                <a:gd name="T34" fmla="*/ 171 w 180"/>
                <a:gd name="T35" fmla="*/ 49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0" h="50">
                  <a:moveTo>
                    <a:pt x="171" y="49"/>
                  </a:moveTo>
                  <a:cubicBezTo>
                    <a:pt x="170" y="49"/>
                    <a:pt x="169" y="49"/>
                    <a:pt x="168" y="48"/>
                  </a:cubicBezTo>
                  <a:cubicBezTo>
                    <a:pt x="168" y="47"/>
                    <a:pt x="155" y="35"/>
                    <a:pt x="136" y="32"/>
                  </a:cubicBezTo>
                  <a:cubicBezTo>
                    <a:pt x="130" y="31"/>
                    <a:pt x="123" y="33"/>
                    <a:pt x="116" y="34"/>
                  </a:cubicBezTo>
                  <a:cubicBezTo>
                    <a:pt x="108" y="36"/>
                    <a:pt x="99" y="38"/>
                    <a:pt x="91" y="36"/>
                  </a:cubicBezTo>
                  <a:cubicBezTo>
                    <a:pt x="76" y="34"/>
                    <a:pt x="70" y="29"/>
                    <a:pt x="65" y="26"/>
                  </a:cubicBezTo>
                  <a:cubicBezTo>
                    <a:pt x="61" y="22"/>
                    <a:pt x="58" y="20"/>
                    <a:pt x="47" y="18"/>
                  </a:cubicBezTo>
                  <a:cubicBezTo>
                    <a:pt x="24" y="14"/>
                    <a:pt x="11" y="22"/>
                    <a:pt x="11" y="22"/>
                  </a:cubicBezTo>
                  <a:cubicBezTo>
                    <a:pt x="8" y="24"/>
                    <a:pt x="3" y="22"/>
                    <a:pt x="2" y="19"/>
                  </a:cubicBezTo>
                  <a:cubicBezTo>
                    <a:pt x="0" y="16"/>
                    <a:pt x="1" y="12"/>
                    <a:pt x="4" y="10"/>
                  </a:cubicBezTo>
                  <a:cubicBezTo>
                    <a:pt x="4" y="10"/>
                    <a:pt x="21" y="0"/>
                    <a:pt x="49" y="5"/>
                  </a:cubicBezTo>
                  <a:cubicBezTo>
                    <a:pt x="63" y="7"/>
                    <a:pt x="69" y="11"/>
                    <a:pt x="73" y="15"/>
                  </a:cubicBezTo>
                  <a:cubicBezTo>
                    <a:pt x="78" y="18"/>
                    <a:pt x="81" y="21"/>
                    <a:pt x="93" y="23"/>
                  </a:cubicBezTo>
                  <a:cubicBezTo>
                    <a:pt x="99" y="24"/>
                    <a:pt x="106" y="22"/>
                    <a:pt x="113" y="21"/>
                  </a:cubicBezTo>
                  <a:cubicBezTo>
                    <a:pt x="122" y="19"/>
                    <a:pt x="130" y="18"/>
                    <a:pt x="138" y="19"/>
                  </a:cubicBezTo>
                  <a:cubicBezTo>
                    <a:pt x="161" y="23"/>
                    <a:pt x="177" y="37"/>
                    <a:pt x="177" y="38"/>
                  </a:cubicBezTo>
                  <a:cubicBezTo>
                    <a:pt x="180" y="40"/>
                    <a:pt x="180" y="45"/>
                    <a:pt x="177" y="47"/>
                  </a:cubicBezTo>
                  <a:cubicBezTo>
                    <a:pt x="176" y="49"/>
                    <a:pt x="174" y="50"/>
                    <a:pt x="171" y="49"/>
                  </a:cubicBezTo>
                  <a:close/>
                </a:path>
              </a:pathLst>
            </a:custGeom>
            <a:solidFill>
              <a:srgbClr val="77A7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48" name="Freeform 221"/>
            <p:cNvSpPr/>
            <p:nvPr userDrawn="1"/>
          </p:nvSpPr>
          <p:spPr bwMode="auto">
            <a:xfrm>
              <a:off x="7408068" y="2974975"/>
              <a:ext cx="488950" cy="136525"/>
            </a:xfrm>
            <a:custGeom>
              <a:avLst/>
              <a:gdLst>
                <a:gd name="T0" fmla="*/ 171 w 180"/>
                <a:gd name="T1" fmla="*/ 49 h 50"/>
                <a:gd name="T2" fmla="*/ 168 w 180"/>
                <a:gd name="T3" fmla="*/ 48 h 50"/>
                <a:gd name="T4" fmla="*/ 136 w 180"/>
                <a:gd name="T5" fmla="*/ 32 h 50"/>
                <a:gd name="T6" fmla="*/ 116 w 180"/>
                <a:gd name="T7" fmla="*/ 34 h 50"/>
                <a:gd name="T8" fmla="*/ 91 w 180"/>
                <a:gd name="T9" fmla="*/ 36 h 50"/>
                <a:gd name="T10" fmla="*/ 65 w 180"/>
                <a:gd name="T11" fmla="*/ 26 h 50"/>
                <a:gd name="T12" fmla="*/ 47 w 180"/>
                <a:gd name="T13" fmla="*/ 18 h 50"/>
                <a:gd name="T14" fmla="*/ 11 w 180"/>
                <a:gd name="T15" fmla="*/ 22 h 50"/>
                <a:gd name="T16" fmla="*/ 2 w 180"/>
                <a:gd name="T17" fmla="*/ 19 h 50"/>
                <a:gd name="T18" fmla="*/ 4 w 180"/>
                <a:gd name="T19" fmla="*/ 10 h 50"/>
                <a:gd name="T20" fmla="*/ 49 w 180"/>
                <a:gd name="T21" fmla="*/ 5 h 50"/>
                <a:gd name="T22" fmla="*/ 74 w 180"/>
                <a:gd name="T23" fmla="*/ 15 h 50"/>
                <a:gd name="T24" fmla="*/ 93 w 180"/>
                <a:gd name="T25" fmla="*/ 23 h 50"/>
                <a:gd name="T26" fmla="*/ 113 w 180"/>
                <a:gd name="T27" fmla="*/ 21 h 50"/>
                <a:gd name="T28" fmla="*/ 138 w 180"/>
                <a:gd name="T29" fmla="*/ 19 h 50"/>
                <a:gd name="T30" fmla="*/ 177 w 180"/>
                <a:gd name="T31" fmla="*/ 38 h 50"/>
                <a:gd name="T32" fmla="*/ 177 w 180"/>
                <a:gd name="T33" fmla="*/ 47 h 50"/>
                <a:gd name="T34" fmla="*/ 171 w 180"/>
                <a:gd name="T35" fmla="*/ 49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0" h="50">
                  <a:moveTo>
                    <a:pt x="171" y="49"/>
                  </a:moveTo>
                  <a:cubicBezTo>
                    <a:pt x="170" y="49"/>
                    <a:pt x="169" y="49"/>
                    <a:pt x="168" y="48"/>
                  </a:cubicBezTo>
                  <a:cubicBezTo>
                    <a:pt x="168" y="48"/>
                    <a:pt x="155" y="36"/>
                    <a:pt x="136" y="32"/>
                  </a:cubicBezTo>
                  <a:cubicBezTo>
                    <a:pt x="130" y="32"/>
                    <a:pt x="123" y="33"/>
                    <a:pt x="116" y="34"/>
                  </a:cubicBezTo>
                  <a:cubicBezTo>
                    <a:pt x="108" y="36"/>
                    <a:pt x="99" y="38"/>
                    <a:pt x="91" y="36"/>
                  </a:cubicBezTo>
                  <a:cubicBezTo>
                    <a:pt x="76" y="34"/>
                    <a:pt x="70" y="30"/>
                    <a:pt x="65" y="26"/>
                  </a:cubicBezTo>
                  <a:cubicBezTo>
                    <a:pt x="61" y="22"/>
                    <a:pt x="58" y="20"/>
                    <a:pt x="47" y="18"/>
                  </a:cubicBezTo>
                  <a:cubicBezTo>
                    <a:pt x="24" y="14"/>
                    <a:pt x="11" y="22"/>
                    <a:pt x="11" y="22"/>
                  </a:cubicBezTo>
                  <a:cubicBezTo>
                    <a:pt x="8" y="24"/>
                    <a:pt x="4" y="23"/>
                    <a:pt x="2" y="19"/>
                  </a:cubicBezTo>
                  <a:cubicBezTo>
                    <a:pt x="0" y="16"/>
                    <a:pt x="1" y="12"/>
                    <a:pt x="4" y="10"/>
                  </a:cubicBezTo>
                  <a:cubicBezTo>
                    <a:pt x="5" y="10"/>
                    <a:pt x="21" y="0"/>
                    <a:pt x="49" y="5"/>
                  </a:cubicBezTo>
                  <a:cubicBezTo>
                    <a:pt x="63" y="7"/>
                    <a:pt x="69" y="11"/>
                    <a:pt x="74" y="15"/>
                  </a:cubicBezTo>
                  <a:cubicBezTo>
                    <a:pt x="78" y="18"/>
                    <a:pt x="81" y="21"/>
                    <a:pt x="93" y="23"/>
                  </a:cubicBezTo>
                  <a:cubicBezTo>
                    <a:pt x="99" y="24"/>
                    <a:pt x="106" y="23"/>
                    <a:pt x="113" y="21"/>
                  </a:cubicBezTo>
                  <a:cubicBezTo>
                    <a:pt x="122" y="20"/>
                    <a:pt x="130" y="18"/>
                    <a:pt x="138" y="19"/>
                  </a:cubicBezTo>
                  <a:cubicBezTo>
                    <a:pt x="162" y="23"/>
                    <a:pt x="177" y="37"/>
                    <a:pt x="177" y="38"/>
                  </a:cubicBezTo>
                  <a:cubicBezTo>
                    <a:pt x="180" y="41"/>
                    <a:pt x="180" y="45"/>
                    <a:pt x="177" y="47"/>
                  </a:cubicBezTo>
                  <a:cubicBezTo>
                    <a:pt x="176" y="49"/>
                    <a:pt x="174" y="50"/>
                    <a:pt x="171" y="49"/>
                  </a:cubicBezTo>
                  <a:close/>
                </a:path>
              </a:pathLst>
            </a:custGeom>
            <a:solidFill>
              <a:srgbClr val="445F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49" name="Freeform 222"/>
            <p:cNvSpPr/>
            <p:nvPr userDrawn="1"/>
          </p:nvSpPr>
          <p:spPr bwMode="auto">
            <a:xfrm>
              <a:off x="7401718" y="3008313"/>
              <a:ext cx="490538" cy="136525"/>
            </a:xfrm>
            <a:custGeom>
              <a:avLst/>
              <a:gdLst>
                <a:gd name="T0" fmla="*/ 171 w 180"/>
                <a:gd name="T1" fmla="*/ 50 h 50"/>
                <a:gd name="T2" fmla="*/ 168 w 180"/>
                <a:gd name="T3" fmla="*/ 48 h 50"/>
                <a:gd name="T4" fmla="*/ 136 w 180"/>
                <a:gd name="T5" fmla="*/ 33 h 50"/>
                <a:gd name="T6" fmla="*/ 116 w 180"/>
                <a:gd name="T7" fmla="*/ 35 h 50"/>
                <a:gd name="T8" fmla="*/ 91 w 180"/>
                <a:gd name="T9" fmla="*/ 37 h 50"/>
                <a:gd name="T10" fmla="*/ 65 w 180"/>
                <a:gd name="T11" fmla="*/ 26 h 50"/>
                <a:gd name="T12" fmla="*/ 47 w 180"/>
                <a:gd name="T13" fmla="*/ 18 h 50"/>
                <a:gd name="T14" fmla="*/ 11 w 180"/>
                <a:gd name="T15" fmla="*/ 22 h 50"/>
                <a:gd name="T16" fmla="*/ 2 w 180"/>
                <a:gd name="T17" fmla="*/ 20 h 50"/>
                <a:gd name="T18" fmla="*/ 4 w 180"/>
                <a:gd name="T19" fmla="*/ 11 h 50"/>
                <a:gd name="T20" fmla="*/ 49 w 180"/>
                <a:gd name="T21" fmla="*/ 5 h 50"/>
                <a:gd name="T22" fmla="*/ 74 w 180"/>
                <a:gd name="T23" fmla="*/ 15 h 50"/>
                <a:gd name="T24" fmla="*/ 93 w 180"/>
                <a:gd name="T25" fmla="*/ 23 h 50"/>
                <a:gd name="T26" fmla="*/ 113 w 180"/>
                <a:gd name="T27" fmla="*/ 21 h 50"/>
                <a:gd name="T28" fmla="*/ 138 w 180"/>
                <a:gd name="T29" fmla="*/ 19 h 50"/>
                <a:gd name="T30" fmla="*/ 177 w 180"/>
                <a:gd name="T31" fmla="*/ 38 h 50"/>
                <a:gd name="T32" fmla="*/ 177 w 180"/>
                <a:gd name="T33" fmla="*/ 48 h 50"/>
                <a:gd name="T34" fmla="*/ 171 w 180"/>
                <a:gd name="T35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0" h="50">
                  <a:moveTo>
                    <a:pt x="171" y="50"/>
                  </a:moveTo>
                  <a:cubicBezTo>
                    <a:pt x="170" y="49"/>
                    <a:pt x="169" y="49"/>
                    <a:pt x="168" y="48"/>
                  </a:cubicBezTo>
                  <a:cubicBezTo>
                    <a:pt x="168" y="48"/>
                    <a:pt x="155" y="36"/>
                    <a:pt x="136" y="33"/>
                  </a:cubicBezTo>
                  <a:cubicBezTo>
                    <a:pt x="130" y="32"/>
                    <a:pt x="123" y="33"/>
                    <a:pt x="116" y="35"/>
                  </a:cubicBezTo>
                  <a:cubicBezTo>
                    <a:pt x="108" y="36"/>
                    <a:pt x="99" y="38"/>
                    <a:pt x="91" y="37"/>
                  </a:cubicBezTo>
                  <a:cubicBezTo>
                    <a:pt x="76" y="34"/>
                    <a:pt x="70" y="30"/>
                    <a:pt x="65" y="26"/>
                  </a:cubicBezTo>
                  <a:cubicBezTo>
                    <a:pt x="61" y="23"/>
                    <a:pt x="58" y="20"/>
                    <a:pt x="47" y="18"/>
                  </a:cubicBezTo>
                  <a:cubicBezTo>
                    <a:pt x="24" y="15"/>
                    <a:pt x="11" y="22"/>
                    <a:pt x="11" y="22"/>
                  </a:cubicBezTo>
                  <a:cubicBezTo>
                    <a:pt x="8" y="24"/>
                    <a:pt x="4" y="23"/>
                    <a:pt x="2" y="20"/>
                  </a:cubicBezTo>
                  <a:cubicBezTo>
                    <a:pt x="0" y="17"/>
                    <a:pt x="1" y="12"/>
                    <a:pt x="4" y="11"/>
                  </a:cubicBezTo>
                  <a:cubicBezTo>
                    <a:pt x="5" y="10"/>
                    <a:pt x="21" y="0"/>
                    <a:pt x="49" y="5"/>
                  </a:cubicBezTo>
                  <a:cubicBezTo>
                    <a:pt x="63" y="7"/>
                    <a:pt x="69" y="12"/>
                    <a:pt x="74" y="15"/>
                  </a:cubicBezTo>
                  <a:cubicBezTo>
                    <a:pt x="78" y="19"/>
                    <a:pt x="81" y="21"/>
                    <a:pt x="93" y="23"/>
                  </a:cubicBezTo>
                  <a:cubicBezTo>
                    <a:pt x="99" y="24"/>
                    <a:pt x="106" y="23"/>
                    <a:pt x="113" y="21"/>
                  </a:cubicBezTo>
                  <a:cubicBezTo>
                    <a:pt x="122" y="20"/>
                    <a:pt x="130" y="18"/>
                    <a:pt x="138" y="19"/>
                  </a:cubicBezTo>
                  <a:cubicBezTo>
                    <a:pt x="162" y="23"/>
                    <a:pt x="177" y="38"/>
                    <a:pt x="177" y="38"/>
                  </a:cubicBezTo>
                  <a:cubicBezTo>
                    <a:pt x="180" y="41"/>
                    <a:pt x="180" y="45"/>
                    <a:pt x="177" y="48"/>
                  </a:cubicBezTo>
                  <a:cubicBezTo>
                    <a:pt x="176" y="49"/>
                    <a:pt x="174" y="50"/>
                    <a:pt x="171" y="50"/>
                  </a:cubicBezTo>
                  <a:close/>
                </a:path>
              </a:pathLst>
            </a:custGeom>
            <a:solidFill>
              <a:srgbClr val="77A7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50" name="Freeform 223"/>
            <p:cNvSpPr/>
            <p:nvPr userDrawn="1"/>
          </p:nvSpPr>
          <p:spPr bwMode="auto">
            <a:xfrm>
              <a:off x="7844631" y="2878138"/>
              <a:ext cx="63500" cy="122238"/>
            </a:xfrm>
            <a:custGeom>
              <a:avLst/>
              <a:gdLst>
                <a:gd name="T0" fmla="*/ 7 w 23"/>
                <a:gd name="T1" fmla="*/ 22 h 45"/>
                <a:gd name="T2" fmla="*/ 0 w 23"/>
                <a:gd name="T3" fmla="*/ 33 h 45"/>
                <a:gd name="T4" fmla="*/ 8 w 23"/>
                <a:gd name="T5" fmla="*/ 45 h 45"/>
                <a:gd name="T6" fmla="*/ 21 w 23"/>
                <a:gd name="T7" fmla="*/ 24 h 45"/>
                <a:gd name="T8" fmla="*/ 16 w 23"/>
                <a:gd name="T9" fmla="*/ 0 h 45"/>
                <a:gd name="T10" fmla="*/ 4 w 23"/>
                <a:gd name="T11" fmla="*/ 8 h 45"/>
                <a:gd name="T12" fmla="*/ 7 w 23"/>
                <a:gd name="T13" fmla="*/ 22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" h="45">
                  <a:moveTo>
                    <a:pt x="7" y="22"/>
                  </a:moveTo>
                  <a:cubicBezTo>
                    <a:pt x="6" y="27"/>
                    <a:pt x="3" y="31"/>
                    <a:pt x="0" y="33"/>
                  </a:cubicBezTo>
                  <a:cubicBezTo>
                    <a:pt x="8" y="45"/>
                    <a:pt x="8" y="45"/>
                    <a:pt x="8" y="45"/>
                  </a:cubicBezTo>
                  <a:cubicBezTo>
                    <a:pt x="15" y="40"/>
                    <a:pt x="20" y="33"/>
                    <a:pt x="21" y="24"/>
                  </a:cubicBezTo>
                  <a:cubicBezTo>
                    <a:pt x="23" y="15"/>
                    <a:pt x="20" y="6"/>
                    <a:pt x="16" y="0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6" y="12"/>
                    <a:pt x="8" y="17"/>
                    <a:pt x="7" y="22"/>
                  </a:cubicBezTo>
                  <a:close/>
                </a:path>
              </a:pathLst>
            </a:custGeom>
            <a:solidFill>
              <a:srgbClr val="FF90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51" name="Freeform 224"/>
            <p:cNvSpPr/>
            <p:nvPr userDrawn="1"/>
          </p:nvSpPr>
          <p:spPr bwMode="auto">
            <a:xfrm>
              <a:off x="7722393" y="2859088"/>
              <a:ext cx="60325" cy="119063"/>
            </a:xfrm>
            <a:custGeom>
              <a:avLst/>
              <a:gdLst>
                <a:gd name="T0" fmla="*/ 16 w 22"/>
                <a:gd name="T1" fmla="*/ 23 h 44"/>
                <a:gd name="T2" fmla="*/ 22 w 22"/>
                <a:gd name="T3" fmla="*/ 12 h 44"/>
                <a:gd name="T4" fmla="*/ 13 w 22"/>
                <a:gd name="T5" fmla="*/ 0 h 44"/>
                <a:gd name="T6" fmla="*/ 1 w 22"/>
                <a:gd name="T7" fmla="*/ 20 h 44"/>
                <a:gd name="T8" fmla="*/ 6 w 22"/>
                <a:gd name="T9" fmla="*/ 44 h 44"/>
                <a:gd name="T10" fmla="*/ 18 w 22"/>
                <a:gd name="T11" fmla="*/ 35 h 44"/>
                <a:gd name="T12" fmla="*/ 16 w 22"/>
                <a:gd name="T13" fmla="*/ 23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44">
                  <a:moveTo>
                    <a:pt x="16" y="23"/>
                  </a:moveTo>
                  <a:cubicBezTo>
                    <a:pt x="16" y="18"/>
                    <a:pt x="19" y="14"/>
                    <a:pt x="22" y="12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7" y="5"/>
                    <a:pt x="3" y="12"/>
                    <a:pt x="1" y="20"/>
                  </a:cubicBezTo>
                  <a:cubicBezTo>
                    <a:pt x="0" y="29"/>
                    <a:pt x="2" y="37"/>
                    <a:pt x="6" y="44"/>
                  </a:cubicBezTo>
                  <a:cubicBezTo>
                    <a:pt x="18" y="35"/>
                    <a:pt x="18" y="35"/>
                    <a:pt x="18" y="35"/>
                  </a:cubicBezTo>
                  <a:cubicBezTo>
                    <a:pt x="16" y="31"/>
                    <a:pt x="15" y="27"/>
                    <a:pt x="16" y="23"/>
                  </a:cubicBezTo>
                  <a:close/>
                </a:path>
              </a:pathLst>
            </a:custGeom>
            <a:solidFill>
              <a:srgbClr val="FF90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52" name="Freeform 225"/>
            <p:cNvSpPr/>
            <p:nvPr userDrawn="1"/>
          </p:nvSpPr>
          <p:spPr bwMode="auto">
            <a:xfrm>
              <a:off x="7758906" y="2836863"/>
              <a:ext cx="130175" cy="61913"/>
            </a:xfrm>
            <a:custGeom>
              <a:avLst/>
              <a:gdLst>
                <a:gd name="T0" fmla="*/ 47 w 48"/>
                <a:gd name="T1" fmla="*/ 13 h 23"/>
                <a:gd name="T2" fmla="*/ 26 w 48"/>
                <a:gd name="T3" fmla="*/ 1 h 23"/>
                <a:gd name="T4" fmla="*/ 2 w 48"/>
                <a:gd name="T5" fmla="*/ 7 h 23"/>
                <a:gd name="T6" fmla="*/ 0 w 48"/>
                <a:gd name="T7" fmla="*/ 8 h 23"/>
                <a:gd name="T8" fmla="*/ 9 w 48"/>
                <a:gd name="T9" fmla="*/ 20 h 23"/>
                <a:gd name="T10" fmla="*/ 10 w 48"/>
                <a:gd name="T11" fmla="*/ 19 h 23"/>
                <a:gd name="T12" fmla="*/ 24 w 48"/>
                <a:gd name="T13" fmla="*/ 15 h 23"/>
                <a:gd name="T14" fmla="*/ 35 w 48"/>
                <a:gd name="T15" fmla="*/ 22 h 23"/>
                <a:gd name="T16" fmla="*/ 36 w 48"/>
                <a:gd name="T17" fmla="*/ 23 h 23"/>
                <a:gd name="T18" fmla="*/ 48 w 48"/>
                <a:gd name="T19" fmla="*/ 15 h 23"/>
                <a:gd name="T20" fmla="*/ 47 w 48"/>
                <a:gd name="T21" fmla="*/ 1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8" h="23">
                  <a:moveTo>
                    <a:pt x="47" y="13"/>
                  </a:moveTo>
                  <a:cubicBezTo>
                    <a:pt x="42" y="7"/>
                    <a:pt x="34" y="2"/>
                    <a:pt x="26" y="1"/>
                  </a:cubicBezTo>
                  <a:cubicBezTo>
                    <a:pt x="17" y="0"/>
                    <a:pt x="8" y="2"/>
                    <a:pt x="2" y="7"/>
                  </a:cubicBezTo>
                  <a:cubicBezTo>
                    <a:pt x="1" y="7"/>
                    <a:pt x="1" y="8"/>
                    <a:pt x="0" y="8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9" y="19"/>
                    <a:pt x="10" y="19"/>
                    <a:pt x="10" y="19"/>
                  </a:cubicBezTo>
                  <a:cubicBezTo>
                    <a:pt x="14" y="16"/>
                    <a:pt x="19" y="15"/>
                    <a:pt x="24" y="15"/>
                  </a:cubicBezTo>
                  <a:cubicBezTo>
                    <a:pt x="28" y="16"/>
                    <a:pt x="32" y="19"/>
                    <a:pt x="35" y="22"/>
                  </a:cubicBezTo>
                  <a:cubicBezTo>
                    <a:pt x="35" y="22"/>
                    <a:pt x="35" y="23"/>
                    <a:pt x="36" y="23"/>
                  </a:cubicBezTo>
                  <a:cubicBezTo>
                    <a:pt x="48" y="15"/>
                    <a:pt x="48" y="15"/>
                    <a:pt x="48" y="15"/>
                  </a:cubicBezTo>
                  <a:cubicBezTo>
                    <a:pt x="47" y="14"/>
                    <a:pt x="47" y="14"/>
                    <a:pt x="47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53" name="Freeform 226"/>
            <p:cNvSpPr/>
            <p:nvPr userDrawn="1"/>
          </p:nvSpPr>
          <p:spPr bwMode="auto">
            <a:xfrm>
              <a:off x="7739856" y="2954338"/>
              <a:ext cx="127000" cy="65088"/>
            </a:xfrm>
            <a:custGeom>
              <a:avLst/>
              <a:gdLst>
                <a:gd name="T0" fmla="*/ 39 w 47"/>
                <a:gd name="T1" fmla="*/ 5 h 24"/>
                <a:gd name="T2" fmla="*/ 37 w 47"/>
                <a:gd name="T3" fmla="*/ 6 h 24"/>
                <a:gd name="T4" fmla="*/ 25 w 47"/>
                <a:gd name="T5" fmla="*/ 9 h 24"/>
                <a:gd name="T6" fmla="*/ 13 w 47"/>
                <a:gd name="T7" fmla="*/ 2 h 24"/>
                <a:gd name="T8" fmla="*/ 12 w 47"/>
                <a:gd name="T9" fmla="*/ 0 h 24"/>
                <a:gd name="T10" fmla="*/ 0 w 47"/>
                <a:gd name="T11" fmla="*/ 9 h 24"/>
                <a:gd name="T12" fmla="*/ 1 w 47"/>
                <a:gd name="T13" fmla="*/ 10 h 24"/>
                <a:gd name="T14" fmla="*/ 22 w 47"/>
                <a:gd name="T15" fmla="*/ 23 h 24"/>
                <a:gd name="T16" fmla="*/ 46 w 47"/>
                <a:gd name="T17" fmla="*/ 18 h 24"/>
                <a:gd name="T18" fmla="*/ 47 w 47"/>
                <a:gd name="T19" fmla="*/ 17 h 24"/>
                <a:gd name="T20" fmla="*/ 39 w 47"/>
                <a:gd name="T21" fmla="*/ 5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7" h="24">
                  <a:moveTo>
                    <a:pt x="39" y="5"/>
                  </a:moveTo>
                  <a:cubicBezTo>
                    <a:pt x="38" y="6"/>
                    <a:pt x="38" y="6"/>
                    <a:pt x="37" y="6"/>
                  </a:cubicBezTo>
                  <a:cubicBezTo>
                    <a:pt x="34" y="8"/>
                    <a:pt x="29" y="9"/>
                    <a:pt x="25" y="9"/>
                  </a:cubicBezTo>
                  <a:cubicBezTo>
                    <a:pt x="20" y="8"/>
                    <a:pt x="16" y="5"/>
                    <a:pt x="13" y="2"/>
                  </a:cubicBezTo>
                  <a:cubicBezTo>
                    <a:pt x="13" y="1"/>
                    <a:pt x="12" y="1"/>
                    <a:pt x="12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1" y="9"/>
                    <a:pt x="1" y="10"/>
                    <a:pt x="1" y="10"/>
                  </a:cubicBezTo>
                  <a:cubicBezTo>
                    <a:pt x="6" y="17"/>
                    <a:pt x="14" y="22"/>
                    <a:pt x="22" y="23"/>
                  </a:cubicBezTo>
                  <a:cubicBezTo>
                    <a:pt x="31" y="24"/>
                    <a:pt x="39" y="22"/>
                    <a:pt x="46" y="18"/>
                  </a:cubicBezTo>
                  <a:cubicBezTo>
                    <a:pt x="46" y="18"/>
                    <a:pt x="47" y="18"/>
                    <a:pt x="47" y="17"/>
                  </a:cubicBezTo>
                  <a:lnTo>
                    <a:pt x="39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54" name="Freeform 227"/>
            <p:cNvSpPr/>
            <p:nvPr userDrawn="1"/>
          </p:nvSpPr>
          <p:spPr bwMode="auto">
            <a:xfrm>
              <a:off x="6515893" y="1727200"/>
              <a:ext cx="495300" cy="450850"/>
            </a:xfrm>
            <a:custGeom>
              <a:avLst/>
              <a:gdLst>
                <a:gd name="T0" fmla="*/ 164 w 182"/>
                <a:gd name="T1" fmla="*/ 19 h 166"/>
                <a:gd name="T2" fmla="*/ 91 w 182"/>
                <a:gd name="T3" fmla="*/ 0 h 166"/>
                <a:gd name="T4" fmla="*/ 18 w 182"/>
                <a:gd name="T5" fmla="*/ 19 h 166"/>
                <a:gd name="T6" fmla="*/ 91 w 182"/>
                <a:gd name="T7" fmla="*/ 166 h 166"/>
                <a:gd name="T8" fmla="*/ 164 w 182"/>
                <a:gd name="T9" fmla="*/ 19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2" h="166">
                  <a:moveTo>
                    <a:pt x="164" y="19"/>
                  </a:moveTo>
                  <a:cubicBezTo>
                    <a:pt x="164" y="19"/>
                    <a:pt x="127" y="30"/>
                    <a:pt x="91" y="0"/>
                  </a:cubicBezTo>
                  <a:cubicBezTo>
                    <a:pt x="55" y="30"/>
                    <a:pt x="18" y="19"/>
                    <a:pt x="18" y="19"/>
                  </a:cubicBezTo>
                  <a:cubicBezTo>
                    <a:pt x="18" y="19"/>
                    <a:pt x="0" y="122"/>
                    <a:pt x="91" y="166"/>
                  </a:cubicBezTo>
                  <a:cubicBezTo>
                    <a:pt x="182" y="122"/>
                    <a:pt x="164" y="19"/>
                    <a:pt x="164" y="19"/>
                  </a:cubicBezTo>
                  <a:close/>
                </a:path>
              </a:pathLst>
            </a:custGeom>
            <a:solidFill>
              <a:schemeClr val="accent5">
                <a:lumMod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55" name="Freeform 228"/>
            <p:cNvSpPr/>
            <p:nvPr userDrawn="1"/>
          </p:nvSpPr>
          <p:spPr bwMode="auto">
            <a:xfrm>
              <a:off x="6547643" y="1765300"/>
              <a:ext cx="430213" cy="385763"/>
            </a:xfrm>
            <a:custGeom>
              <a:avLst/>
              <a:gdLst>
                <a:gd name="T0" fmla="*/ 142 w 158"/>
                <a:gd name="T1" fmla="*/ 17 h 142"/>
                <a:gd name="T2" fmla="*/ 79 w 158"/>
                <a:gd name="T3" fmla="*/ 0 h 142"/>
                <a:gd name="T4" fmla="*/ 16 w 158"/>
                <a:gd name="T5" fmla="*/ 17 h 142"/>
                <a:gd name="T6" fmla="*/ 79 w 158"/>
                <a:gd name="T7" fmla="*/ 142 h 142"/>
                <a:gd name="T8" fmla="*/ 142 w 158"/>
                <a:gd name="T9" fmla="*/ 17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8" h="142">
                  <a:moveTo>
                    <a:pt x="142" y="17"/>
                  </a:moveTo>
                  <a:cubicBezTo>
                    <a:pt x="142" y="17"/>
                    <a:pt x="110" y="26"/>
                    <a:pt x="79" y="0"/>
                  </a:cubicBezTo>
                  <a:cubicBezTo>
                    <a:pt x="48" y="26"/>
                    <a:pt x="16" y="17"/>
                    <a:pt x="16" y="17"/>
                  </a:cubicBezTo>
                  <a:cubicBezTo>
                    <a:pt x="16" y="17"/>
                    <a:pt x="0" y="104"/>
                    <a:pt x="79" y="142"/>
                  </a:cubicBezTo>
                  <a:cubicBezTo>
                    <a:pt x="158" y="104"/>
                    <a:pt x="142" y="17"/>
                    <a:pt x="142" y="1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56" name="Freeform 229"/>
            <p:cNvSpPr/>
            <p:nvPr userDrawn="1"/>
          </p:nvSpPr>
          <p:spPr bwMode="auto">
            <a:xfrm>
              <a:off x="6569868" y="1784350"/>
              <a:ext cx="384175" cy="350838"/>
            </a:xfrm>
            <a:custGeom>
              <a:avLst/>
              <a:gdLst>
                <a:gd name="T0" fmla="*/ 129 w 141"/>
                <a:gd name="T1" fmla="*/ 16 h 129"/>
                <a:gd name="T2" fmla="*/ 71 w 141"/>
                <a:gd name="T3" fmla="*/ 0 h 129"/>
                <a:gd name="T4" fmla="*/ 13 w 141"/>
                <a:gd name="T5" fmla="*/ 16 h 129"/>
                <a:gd name="T6" fmla="*/ 71 w 141"/>
                <a:gd name="T7" fmla="*/ 129 h 129"/>
                <a:gd name="T8" fmla="*/ 129 w 141"/>
                <a:gd name="T9" fmla="*/ 16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1" h="129">
                  <a:moveTo>
                    <a:pt x="129" y="16"/>
                  </a:moveTo>
                  <a:cubicBezTo>
                    <a:pt x="129" y="16"/>
                    <a:pt x="99" y="24"/>
                    <a:pt x="71" y="0"/>
                  </a:cubicBezTo>
                  <a:cubicBezTo>
                    <a:pt x="43" y="24"/>
                    <a:pt x="13" y="16"/>
                    <a:pt x="13" y="16"/>
                  </a:cubicBezTo>
                  <a:cubicBezTo>
                    <a:pt x="13" y="16"/>
                    <a:pt x="0" y="95"/>
                    <a:pt x="71" y="129"/>
                  </a:cubicBezTo>
                  <a:cubicBezTo>
                    <a:pt x="141" y="95"/>
                    <a:pt x="129" y="16"/>
                    <a:pt x="129" y="16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57" name="Freeform 230"/>
            <p:cNvSpPr/>
            <p:nvPr userDrawn="1"/>
          </p:nvSpPr>
          <p:spPr bwMode="auto">
            <a:xfrm>
              <a:off x="6673056" y="1857375"/>
              <a:ext cx="179388" cy="179388"/>
            </a:xfrm>
            <a:custGeom>
              <a:avLst/>
              <a:gdLst>
                <a:gd name="T0" fmla="*/ 70 w 113"/>
                <a:gd name="T1" fmla="*/ 43 h 113"/>
                <a:gd name="T2" fmla="*/ 70 w 113"/>
                <a:gd name="T3" fmla="*/ 0 h 113"/>
                <a:gd name="T4" fmla="*/ 43 w 113"/>
                <a:gd name="T5" fmla="*/ 0 h 113"/>
                <a:gd name="T6" fmla="*/ 43 w 113"/>
                <a:gd name="T7" fmla="*/ 43 h 113"/>
                <a:gd name="T8" fmla="*/ 0 w 113"/>
                <a:gd name="T9" fmla="*/ 43 h 113"/>
                <a:gd name="T10" fmla="*/ 0 w 113"/>
                <a:gd name="T11" fmla="*/ 69 h 113"/>
                <a:gd name="T12" fmla="*/ 43 w 113"/>
                <a:gd name="T13" fmla="*/ 69 h 113"/>
                <a:gd name="T14" fmla="*/ 43 w 113"/>
                <a:gd name="T15" fmla="*/ 113 h 113"/>
                <a:gd name="T16" fmla="*/ 70 w 113"/>
                <a:gd name="T17" fmla="*/ 113 h 113"/>
                <a:gd name="T18" fmla="*/ 70 w 113"/>
                <a:gd name="T19" fmla="*/ 69 h 113"/>
                <a:gd name="T20" fmla="*/ 113 w 113"/>
                <a:gd name="T21" fmla="*/ 69 h 113"/>
                <a:gd name="T22" fmla="*/ 113 w 113"/>
                <a:gd name="T23" fmla="*/ 43 h 113"/>
                <a:gd name="T24" fmla="*/ 70 w 113"/>
                <a:gd name="T25" fmla="*/ 4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3" h="113">
                  <a:moveTo>
                    <a:pt x="70" y="43"/>
                  </a:moveTo>
                  <a:lnTo>
                    <a:pt x="70" y="0"/>
                  </a:lnTo>
                  <a:lnTo>
                    <a:pt x="43" y="0"/>
                  </a:lnTo>
                  <a:lnTo>
                    <a:pt x="43" y="43"/>
                  </a:lnTo>
                  <a:lnTo>
                    <a:pt x="0" y="43"/>
                  </a:lnTo>
                  <a:lnTo>
                    <a:pt x="0" y="69"/>
                  </a:lnTo>
                  <a:lnTo>
                    <a:pt x="43" y="69"/>
                  </a:lnTo>
                  <a:lnTo>
                    <a:pt x="43" y="113"/>
                  </a:lnTo>
                  <a:lnTo>
                    <a:pt x="70" y="113"/>
                  </a:lnTo>
                  <a:lnTo>
                    <a:pt x="70" y="69"/>
                  </a:lnTo>
                  <a:lnTo>
                    <a:pt x="113" y="69"/>
                  </a:lnTo>
                  <a:lnTo>
                    <a:pt x="113" y="43"/>
                  </a:lnTo>
                  <a:lnTo>
                    <a:pt x="70" y="4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58" name="Freeform 231"/>
            <p:cNvSpPr/>
            <p:nvPr userDrawn="1"/>
          </p:nvSpPr>
          <p:spPr bwMode="auto">
            <a:xfrm>
              <a:off x="5795168" y="1357312"/>
              <a:ext cx="725488" cy="500063"/>
            </a:xfrm>
            <a:custGeom>
              <a:avLst/>
              <a:gdLst>
                <a:gd name="T0" fmla="*/ 134 w 267"/>
                <a:gd name="T1" fmla="*/ 64 h 184"/>
                <a:gd name="T2" fmla="*/ 220 w 267"/>
                <a:gd name="T3" fmla="*/ 51 h 184"/>
                <a:gd name="T4" fmla="*/ 134 w 267"/>
                <a:gd name="T5" fmla="*/ 184 h 184"/>
                <a:gd name="T6" fmla="*/ 47 w 267"/>
                <a:gd name="T7" fmla="*/ 51 h 184"/>
                <a:gd name="T8" fmla="*/ 134 w 267"/>
                <a:gd name="T9" fmla="*/ 64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7" h="184">
                  <a:moveTo>
                    <a:pt x="134" y="64"/>
                  </a:moveTo>
                  <a:cubicBezTo>
                    <a:pt x="134" y="64"/>
                    <a:pt x="183" y="0"/>
                    <a:pt x="220" y="51"/>
                  </a:cubicBezTo>
                  <a:cubicBezTo>
                    <a:pt x="267" y="117"/>
                    <a:pt x="134" y="184"/>
                    <a:pt x="134" y="184"/>
                  </a:cubicBezTo>
                  <a:cubicBezTo>
                    <a:pt x="134" y="184"/>
                    <a:pt x="0" y="117"/>
                    <a:pt x="47" y="51"/>
                  </a:cubicBezTo>
                  <a:cubicBezTo>
                    <a:pt x="84" y="0"/>
                    <a:pt x="134" y="64"/>
                    <a:pt x="134" y="64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59" name="Freeform 232"/>
            <p:cNvSpPr/>
            <p:nvPr userDrawn="1"/>
          </p:nvSpPr>
          <p:spPr bwMode="auto">
            <a:xfrm>
              <a:off x="5998368" y="1608138"/>
              <a:ext cx="311150" cy="138113"/>
            </a:xfrm>
            <a:custGeom>
              <a:avLst/>
              <a:gdLst>
                <a:gd name="T0" fmla="*/ 71 w 114"/>
                <a:gd name="T1" fmla="*/ 51 h 51"/>
                <a:gd name="T2" fmla="*/ 68 w 114"/>
                <a:gd name="T3" fmla="*/ 49 h 51"/>
                <a:gd name="T4" fmla="*/ 47 w 114"/>
                <a:gd name="T5" fmla="*/ 12 h 51"/>
                <a:gd name="T6" fmla="*/ 38 w 114"/>
                <a:gd name="T7" fmla="*/ 28 h 51"/>
                <a:gd name="T8" fmla="*/ 34 w 114"/>
                <a:gd name="T9" fmla="*/ 30 h 51"/>
                <a:gd name="T10" fmla="*/ 4 w 114"/>
                <a:gd name="T11" fmla="*/ 30 h 51"/>
                <a:gd name="T12" fmla="*/ 0 w 114"/>
                <a:gd name="T13" fmla="*/ 26 h 51"/>
                <a:gd name="T14" fmla="*/ 4 w 114"/>
                <a:gd name="T15" fmla="*/ 22 h 51"/>
                <a:gd name="T16" fmla="*/ 32 w 114"/>
                <a:gd name="T17" fmla="*/ 22 h 51"/>
                <a:gd name="T18" fmla="*/ 43 w 114"/>
                <a:gd name="T19" fmla="*/ 2 h 51"/>
                <a:gd name="T20" fmla="*/ 47 w 114"/>
                <a:gd name="T21" fmla="*/ 0 h 51"/>
                <a:gd name="T22" fmla="*/ 50 w 114"/>
                <a:gd name="T23" fmla="*/ 2 h 51"/>
                <a:gd name="T24" fmla="*/ 71 w 114"/>
                <a:gd name="T25" fmla="*/ 38 h 51"/>
                <a:gd name="T26" fmla="*/ 77 w 114"/>
                <a:gd name="T27" fmla="*/ 24 h 51"/>
                <a:gd name="T28" fmla="*/ 80 w 114"/>
                <a:gd name="T29" fmla="*/ 21 h 51"/>
                <a:gd name="T30" fmla="*/ 110 w 114"/>
                <a:gd name="T31" fmla="*/ 21 h 51"/>
                <a:gd name="T32" fmla="*/ 114 w 114"/>
                <a:gd name="T33" fmla="*/ 25 h 51"/>
                <a:gd name="T34" fmla="*/ 110 w 114"/>
                <a:gd name="T35" fmla="*/ 29 h 51"/>
                <a:gd name="T36" fmla="*/ 83 w 114"/>
                <a:gd name="T37" fmla="*/ 29 h 51"/>
                <a:gd name="T38" fmla="*/ 75 w 114"/>
                <a:gd name="T39" fmla="*/ 49 h 51"/>
                <a:gd name="T40" fmla="*/ 72 w 114"/>
                <a:gd name="T41" fmla="*/ 51 h 51"/>
                <a:gd name="T42" fmla="*/ 71 w 114"/>
                <a:gd name="T43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14" h="51">
                  <a:moveTo>
                    <a:pt x="71" y="51"/>
                  </a:moveTo>
                  <a:cubicBezTo>
                    <a:pt x="70" y="51"/>
                    <a:pt x="69" y="50"/>
                    <a:pt x="68" y="49"/>
                  </a:cubicBezTo>
                  <a:cubicBezTo>
                    <a:pt x="47" y="12"/>
                    <a:pt x="47" y="12"/>
                    <a:pt x="47" y="12"/>
                  </a:cubicBezTo>
                  <a:cubicBezTo>
                    <a:pt x="38" y="28"/>
                    <a:pt x="38" y="28"/>
                    <a:pt x="38" y="28"/>
                  </a:cubicBezTo>
                  <a:cubicBezTo>
                    <a:pt x="37" y="29"/>
                    <a:pt x="36" y="30"/>
                    <a:pt x="34" y="30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2" y="30"/>
                    <a:pt x="0" y="28"/>
                    <a:pt x="0" y="26"/>
                  </a:cubicBezTo>
                  <a:cubicBezTo>
                    <a:pt x="0" y="23"/>
                    <a:pt x="2" y="22"/>
                    <a:pt x="4" y="22"/>
                  </a:cubicBezTo>
                  <a:cubicBezTo>
                    <a:pt x="32" y="22"/>
                    <a:pt x="32" y="22"/>
                    <a:pt x="32" y="22"/>
                  </a:cubicBezTo>
                  <a:cubicBezTo>
                    <a:pt x="43" y="2"/>
                    <a:pt x="43" y="2"/>
                    <a:pt x="43" y="2"/>
                  </a:cubicBezTo>
                  <a:cubicBezTo>
                    <a:pt x="44" y="0"/>
                    <a:pt x="45" y="0"/>
                    <a:pt x="47" y="0"/>
                  </a:cubicBezTo>
                  <a:cubicBezTo>
                    <a:pt x="48" y="0"/>
                    <a:pt x="50" y="0"/>
                    <a:pt x="50" y="2"/>
                  </a:cubicBezTo>
                  <a:cubicBezTo>
                    <a:pt x="71" y="38"/>
                    <a:pt x="71" y="38"/>
                    <a:pt x="71" y="38"/>
                  </a:cubicBezTo>
                  <a:cubicBezTo>
                    <a:pt x="77" y="24"/>
                    <a:pt x="77" y="24"/>
                    <a:pt x="77" y="24"/>
                  </a:cubicBezTo>
                  <a:cubicBezTo>
                    <a:pt x="77" y="22"/>
                    <a:pt x="79" y="21"/>
                    <a:pt x="80" y="21"/>
                  </a:cubicBezTo>
                  <a:cubicBezTo>
                    <a:pt x="110" y="21"/>
                    <a:pt x="110" y="21"/>
                    <a:pt x="110" y="21"/>
                  </a:cubicBezTo>
                  <a:cubicBezTo>
                    <a:pt x="113" y="21"/>
                    <a:pt x="114" y="23"/>
                    <a:pt x="114" y="25"/>
                  </a:cubicBezTo>
                  <a:cubicBezTo>
                    <a:pt x="114" y="28"/>
                    <a:pt x="113" y="29"/>
                    <a:pt x="110" y="29"/>
                  </a:cubicBezTo>
                  <a:cubicBezTo>
                    <a:pt x="83" y="29"/>
                    <a:pt x="83" y="29"/>
                    <a:pt x="83" y="29"/>
                  </a:cubicBezTo>
                  <a:cubicBezTo>
                    <a:pt x="75" y="49"/>
                    <a:pt x="75" y="49"/>
                    <a:pt x="75" y="49"/>
                  </a:cubicBezTo>
                  <a:cubicBezTo>
                    <a:pt x="74" y="50"/>
                    <a:pt x="73" y="51"/>
                    <a:pt x="72" y="51"/>
                  </a:cubicBezTo>
                  <a:lnTo>
                    <a:pt x="71" y="51"/>
                  </a:lnTo>
                  <a:close/>
                </a:path>
              </a:pathLst>
            </a:custGeom>
            <a:solidFill>
              <a:srgbClr val="F3B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60" name="Freeform 233"/>
            <p:cNvSpPr/>
            <p:nvPr userDrawn="1"/>
          </p:nvSpPr>
          <p:spPr bwMode="auto">
            <a:xfrm>
              <a:off x="4952206" y="2089150"/>
              <a:ext cx="80963" cy="107950"/>
            </a:xfrm>
            <a:custGeom>
              <a:avLst/>
              <a:gdLst>
                <a:gd name="T0" fmla="*/ 51 w 51"/>
                <a:gd name="T1" fmla="*/ 62 h 68"/>
                <a:gd name="T2" fmla="*/ 8 w 51"/>
                <a:gd name="T3" fmla="*/ 68 h 68"/>
                <a:gd name="T4" fmla="*/ 0 w 51"/>
                <a:gd name="T5" fmla="*/ 7 h 68"/>
                <a:gd name="T6" fmla="*/ 43 w 51"/>
                <a:gd name="T7" fmla="*/ 0 h 68"/>
                <a:gd name="T8" fmla="*/ 51 w 51"/>
                <a:gd name="T9" fmla="*/ 62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68">
                  <a:moveTo>
                    <a:pt x="51" y="62"/>
                  </a:moveTo>
                  <a:lnTo>
                    <a:pt x="8" y="68"/>
                  </a:lnTo>
                  <a:lnTo>
                    <a:pt x="0" y="7"/>
                  </a:lnTo>
                  <a:lnTo>
                    <a:pt x="43" y="0"/>
                  </a:lnTo>
                  <a:lnTo>
                    <a:pt x="51" y="62"/>
                  </a:lnTo>
                  <a:close/>
                </a:path>
              </a:pathLst>
            </a:custGeom>
            <a:solidFill>
              <a:srgbClr val="BD87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61" name="Freeform 234"/>
            <p:cNvSpPr/>
            <p:nvPr userDrawn="1"/>
          </p:nvSpPr>
          <p:spPr bwMode="auto">
            <a:xfrm>
              <a:off x="4925218" y="2141538"/>
              <a:ext cx="180975" cy="173038"/>
            </a:xfrm>
            <a:custGeom>
              <a:avLst/>
              <a:gdLst>
                <a:gd name="T0" fmla="*/ 38 w 67"/>
                <a:gd name="T1" fmla="*/ 1 h 64"/>
                <a:gd name="T2" fmla="*/ 29 w 67"/>
                <a:gd name="T3" fmla="*/ 16 h 64"/>
                <a:gd name="T4" fmla="*/ 25 w 67"/>
                <a:gd name="T5" fmla="*/ 16 h 64"/>
                <a:gd name="T6" fmla="*/ 13 w 67"/>
                <a:gd name="T7" fmla="*/ 5 h 64"/>
                <a:gd name="T8" fmla="*/ 10 w 67"/>
                <a:gd name="T9" fmla="*/ 5 h 64"/>
                <a:gd name="T10" fmla="*/ 10 w 67"/>
                <a:gd name="T11" fmla="*/ 5 h 64"/>
                <a:gd name="T12" fmla="*/ 9 w 67"/>
                <a:gd name="T13" fmla="*/ 7 h 64"/>
                <a:gd name="T14" fmla="*/ 0 w 67"/>
                <a:gd name="T15" fmla="*/ 53 h 64"/>
                <a:gd name="T16" fmla="*/ 4 w 67"/>
                <a:gd name="T17" fmla="*/ 64 h 64"/>
                <a:gd name="T18" fmla="*/ 65 w 67"/>
                <a:gd name="T19" fmla="*/ 55 h 64"/>
                <a:gd name="T20" fmla="*/ 66 w 67"/>
                <a:gd name="T21" fmla="*/ 43 h 64"/>
                <a:gd name="T22" fmla="*/ 43 w 67"/>
                <a:gd name="T23" fmla="*/ 2 h 64"/>
                <a:gd name="T24" fmla="*/ 41 w 67"/>
                <a:gd name="T25" fmla="*/ 1 h 64"/>
                <a:gd name="T26" fmla="*/ 40 w 67"/>
                <a:gd name="T27" fmla="*/ 1 h 64"/>
                <a:gd name="T28" fmla="*/ 38 w 67"/>
                <a:gd name="T29" fmla="*/ 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7" h="64">
                  <a:moveTo>
                    <a:pt x="38" y="1"/>
                  </a:moveTo>
                  <a:cubicBezTo>
                    <a:pt x="29" y="16"/>
                    <a:pt x="29" y="16"/>
                    <a:pt x="29" y="16"/>
                  </a:cubicBezTo>
                  <a:cubicBezTo>
                    <a:pt x="28" y="17"/>
                    <a:pt x="26" y="17"/>
                    <a:pt x="25" y="16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2" y="4"/>
                    <a:pt x="11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6"/>
                    <a:pt x="9" y="6"/>
                    <a:pt x="9" y="7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55"/>
                    <a:pt x="2" y="64"/>
                    <a:pt x="4" y="64"/>
                  </a:cubicBezTo>
                  <a:cubicBezTo>
                    <a:pt x="65" y="55"/>
                    <a:pt x="65" y="55"/>
                    <a:pt x="65" y="55"/>
                  </a:cubicBezTo>
                  <a:cubicBezTo>
                    <a:pt x="67" y="55"/>
                    <a:pt x="66" y="45"/>
                    <a:pt x="66" y="43"/>
                  </a:cubicBezTo>
                  <a:cubicBezTo>
                    <a:pt x="43" y="2"/>
                    <a:pt x="43" y="2"/>
                    <a:pt x="43" y="2"/>
                  </a:cubicBezTo>
                  <a:cubicBezTo>
                    <a:pt x="43" y="1"/>
                    <a:pt x="42" y="1"/>
                    <a:pt x="41" y="1"/>
                  </a:cubicBezTo>
                  <a:cubicBezTo>
                    <a:pt x="40" y="1"/>
                    <a:pt x="40" y="1"/>
                    <a:pt x="40" y="1"/>
                  </a:cubicBezTo>
                  <a:cubicBezTo>
                    <a:pt x="39" y="1"/>
                    <a:pt x="38" y="0"/>
                    <a:pt x="38" y="1"/>
                  </a:cubicBezTo>
                  <a:close/>
                </a:path>
              </a:pathLst>
            </a:custGeom>
            <a:solidFill>
              <a:srgbClr val="D1FF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62" name="Freeform 235"/>
            <p:cNvSpPr/>
            <p:nvPr userDrawn="1"/>
          </p:nvSpPr>
          <p:spPr bwMode="auto">
            <a:xfrm>
              <a:off x="4869656" y="1947863"/>
              <a:ext cx="209550" cy="171450"/>
            </a:xfrm>
            <a:custGeom>
              <a:avLst/>
              <a:gdLst>
                <a:gd name="T0" fmla="*/ 1 w 77"/>
                <a:gd name="T1" fmla="*/ 20 h 63"/>
                <a:gd name="T2" fmla="*/ 26 w 77"/>
                <a:gd name="T3" fmla="*/ 63 h 63"/>
                <a:gd name="T4" fmla="*/ 60 w 77"/>
                <a:gd name="T5" fmla="*/ 58 h 63"/>
                <a:gd name="T6" fmla="*/ 72 w 77"/>
                <a:gd name="T7" fmla="*/ 9 h 63"/>
                <a:gd name="T8" fmla="*/ 37 w 77"/>
                <a:gd name="T9" fmla="*/ 0 h 63"/>
                <a:gd name="T10" fmla="*/ 1 w 77"/>
                <a:gd name="T11" fmla="*/ 2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7" h="63">
                  <a:moveTo>
                    <a:pt x="1" y="20"/>
                  </a:moveTo>
                  <a:cubicBezTo>
                    <a:pt x="0" y="33"/>
                    <a:pt x="8" y="57"/>
                    <a:pt x="26" y="63"/>
                  </a:cubicBezTo>
                  <a:cubicBezTo>
                    <a:pt x="34" y="61"/>
                    <a:pt x="52" y="59"/>
                    <a:pt x="60" y="58"/>
                  </a:cubicBezTo>
                  <a:cubicBezTo>
                    <a:pt x="77" y="45"/>
                    <a:pt x="76" y="17"/>
                    <a:pt x="72" y="9"/>
                  </a:cubicBezTo>
                  <a:cubicBezTo>
                    <a:pt x="62" y="5"/>
                    <a:pt x="37" y="0"/>
                    <a:pt x="37" y="0"/>
                  </a:cubicBezTo>
                  <a:cubicBezTo>
                    <a:pt x="37" y="0"/>
                    <a:pt x="7" y="13"/>
                    <a:pt x="1" y="20"/>
                  </a:cubicBezTo>
                  <a:close/>
                </a:path>
              </a:pathLst>
            </a:custGeom>
            <a:solidFill>
              <a:srgbClr val="8969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63" name="Freeform 236"/>
            <p:cNvSpPr/>
            <p:nvPr userDrawn="1"/>
          </p:nvSpPr>
          <p:spPr bwMode="auto">
            <a:xfrm>
              <a:off x="4783931" y="2143125"/>
              <a:ext cx="187325" cy="190500"/>
            </a:xfrm>
            <a:custGeom>
              <a:avLst/>
              <a:gdLst>
                <a:gd name="T0" fmla="*/ 69 w 69"/>
                <a:gd name="T1" fmla="*/ 61 h 70"/>
                <a:gd name="T2" fmla="*/ 6 w 69"/>
                <a:gd name="T3" fmla="*/ 70 h 70"/>
                <a:gd name="T4" fmla="*/ 10 w 69"/>
                <a:gd name="T5" fmla="*/ 25 h 70"/>
                <a:gd name="T6" fmla="*/ 60 w 69"/>
                <a:gd name="T7" fmla="*/ 0 h 70"/>
                <a:gd name="T8" fmla="*/ 69 w 69"/>
                <a:gd name="T9" fmla="*/ 61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9" h="70">
                  <a:moveTo>
                    <a:pt x="69" y="61"/>
                  </a:moveTo>
                  <a:cubicBezTo>
                    <a:pt x="6" y="70"/>
                    <a:pt x="6" y="70"/>
                    <a:pt x="6" y="70"/>
                  </a:cubicBezTo>
                  <a:cubicBezTo>
                    <a:pt x="6" y="70"/>
                    <a:pt x="0" y="47"/>
                    <a:pt x="10" y="25"/>
                  </a:cubicBezTo>
                  <a:cubicBezTo>
                    <a:pt x="9" y="16"/>
                    <a:pt x="60" y="0"/>
                    <a:pt x="60" y="0"/>
                  </a:cubicBezTo>
                  <a:lnTo>
                    <a:pt x="69" y="61"/>
                  </a:lnTo>
                  <a:close/>
                </a:path>
              </a:pathLst>
            </a:custGeom>
            <a:solidFill>
              <a:srgbClr val="3857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64" name="Freeform 237"/>
            <p:cNvSpPr/>
            <p:nvPr userDrawn="1"/>
          </p:nvSpPr>
          <p:spPr bwMode="auto">
            <a:xfrm>
              <a:off x="5033168" y="2130425"/>
              <a:ext cx="198438" cy="165100"/>
            </a:xfrm>
            <a:custGeom>
              <a:avLst/>
              <a:gdLst>
                <a:gd name="T0" fmla="*/ 9 w 73"/>
                <a:gd name="T1" fmla="*/ 61 h 61"/>
                <a:gd name="T2" fmla="*/ 73 w 73"/>
                <a:gd name="T3" fmla="*/ 52 h 61"/>
                <a:gd name="T4" fmla="*/ 56 w 73"/>
                <a:gd name="T5" fmla="*/ 10 h 61"/>
                <a:gd name="T6" fmla="*/ 0 w 73"/>
                <a:gd name="T7" fmla="*/ 0 h 61"/>
                <a:gd name="T8" fmla="*/ 9 w 73"/>
                <a:gd name="T9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3" h="61">
                  <a:moveTo>
                    <a:pt x="9" y="61"/>
                  </a:moveTo>
                  <a:cubicBezTo>
                    <a:pt x="73" y="52"/>
                    <a:pt x="73" y="52"/>
                    <a:pt x="73" y="52"/>
                  </a:cubicBezTo>
                  <a:cubicBezTo>
                    <a:pt x="73" y="52"/>
                    <a:pt x="71" y="28"/>
                    <a:pt x="56" y="10"/>
                  </a:cubicBezTo>
                  <a:cubicBezTo>
                    <a:pt x="55" y="0"/>
                    <a:pt x="0" y="0"/>
                    <a:pt x="0" y="0"/>
                  </a:cubicBezTo>
                  <a:lnTo>
                    <a:pt x="9" y="61"/>
                  </a:lnTo>
                  <a:close/>
                </a:path>
              </a:pathLst>
            </a:custGeom>
            <a:solidFill>
              <a:srgbClr val="3857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65" name="Freeform 238"/>
            <p:cNvSpPr/>
            <p:nvPr userDrawn="1"/>
          </p:nvSpPr>
          <p:spPr bwMode="auto">
            <a:xfrm>
              <a:off x="4841081" y="1971675"/>
              <a:ext cx="53975" cy="68263"/>
            </a:xfrm>
            <a:custGeom>
              <a:avLst/>
              <a:gdLst>
                <a:gd name="T0" fmla="*/ 15 w 20"/>
                <a:gd name="T1" fmla="*/ 23 h 25"/>
                <a:gd name="T2" fmla="*/ 3 w 20"/>
                <a:gd name="T3" fmla="*/ 16 h 25"/>
                <a:gd name="T4" fmla="*/ 8 w 20"/>
                <a:gd name="T5" fmla="*/ 2 h 25"/>
                <a:gd name="T6" fmla="*/ 15 w 20"/>
                <a:gd name="T7" fmla="*/ 2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25">
                  <a:moveTo>
                    <a:pt x="15" y="23"/>
                  </a:moveTo>
                  <a:cubicBezTo>
                    <a:pt x="10" y="25"/>
                    <a:pt x="5" y="21"/>
                    <a:pt x="3" y="16"/>
                  </a:cubicBezTo>
                  <a:cubicBezTo>
                    <a:pt x="0" y="10"/>
                    <a:pt x="3" y="4"/>
                    <a:pt x="8" y="2"/>
                  </a:cubicBezTo>
                  <a:cubicBezTo>
                    <a:pt x="13" y="0"/>
                    <a:pt x="20" y="21"/>
                    <a:pt x="15" y="23"/>
                  </a:cubicBezTo>
                  <a:close/>
                </a:path>
              </a:pathLst>
            </a:custGeom>
            <a:solidFill>
              <a:srgbClr val="FFB7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66" name="Freeform 239"/>
            <p:cNvSpPr/>
            <p:nvPr userDrawn="1"/>
          </p:nvSpPr>
          <p:spPr bwMode="auto">
            <a:xfrm>
              <a:off x="5049043" y="1947863"/>
              <a:ext cx="44450" cy="60325"/>
            </a:xfrm>
            <a:custGeom>
              <a:avLst/>
              <a:gdLst>
                <a:gd name="T0" fmla="*/ 5 w 16"/>
                <a:gd name="T1" fmla="*/ 22 h 22"/>
                <a:gd name="T2" fmla="*/ 16 w 16"/>
                <a:gd name="T3" fmla="*/ 12 h 22"/>
                <a:gd name="T4" fmla="*/ 6 w 16"/>
                <a:gd name="T5" fmla="*/ 0 h 22"/>
                <a:gd name="T6" fmla="*/ 5 w 16"/>
                <a:gd name="T7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22">
                  <a:moveTo>
                    <a:pt x="5" y="22"/>
                  </a:moveTo>
                  <a:cubicBezTo>
                    <a:pt x="11" y="22"/>
                    <a:pt x="15" y="18"/>
                    <a:pt x="16" y="12"/>
                  </a:cubicBezTo>
                  <a:cubicBezTo>
                    <a:pt x="16" y="6"/>
                    <a:pt x="12" y="0"/>
                    <a:pt x="6" y="0"/>
                  </a:cubicBezTo>
                  <a:cubicBezTo>
                    <a:pt x="1" y="0"/>
                    <a:pt x="0" y="22"/>
                    <a:pt x="5" y="22"/>
                  </a:cubicBezTo>
                  <a:close/>
                </a:path>
              </a:pathLst>
            </a:custGeom>
            <a:solidFill>
              <a:srgbClr val="FFB7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67" name="Freeform 240"/>
            <p:cNvSpPr/>
            <p:nvPr userDrawn="1"/>
          </p:nvSpPr>
          <p:spPr bwMode="auto">
            <a:xfrm>
              <a:off x="4864893" y="1844675"/>
              <a:ext cx="241300" cy="298450"/>
            </a:xfrm>
            <a:custGeom>
              <a:avLst/>
              <a:gdLst>
                <a:gd name="T0" fmla="*/ 46 w 89"/>
                <a:gd name="T1" fmla="*/ 103 h 110"/>
                <a:gd name="T2" fmla="*/ 71 w 89"/>
                <a:gd name="T3" fmla="*/ 24 h 110"/>
                <a:gd name="T4" fmla="*/ 32 w 89"/>
                <a:gd name="T5" fmla="*/ 5 h 110"/>
                <a:gd name="T6" fmla="*/ 0 w 89"/>
                <a:gd name="T7" fmla="*/ 35 h 110"/>
                <a:gd name="T8" fmla="*/ 46 w 89"/>
                <a:gd name="T9" fmla="*/ 103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110">
                  <a:moveTo>
                    <a:pt x="46" y="103"/>
                  </a:moveTo>
                  <a:cubicBezTo>
                    <a:pt x="89" y="97"/>
                    <a:pt x="71" y="24"/>
                    <a:pt x="71" y="24"/>
                  </a:cubicBezTo>
                  <a:cubicBezTo>
                    <a:pt x="71" y="24"/>
                    <a:pt x="66" y="0"/>
                    <a:pt x="32" y="5"/>
                  </a:cubicBezTo>
                  <a:cubicBezTo>
                    <a:pt x="3" y="9"/>
                    <a:pt x="0" y="35"/>
                    <a:pt x="0" y="35"/>
                  </a:cubicBezTo>
                  <a:cubicBezTo>
                    <a:pt x="0" y="35"/>
                    <a:pt x="2" y="110"/>
                    <a:pt x="46" y="103"/>
                  </a:cubicBezTo>
                  <a:close/>
                </a:path>
              </a:pathLst>
            </a:custGeom>
            <a:solidFill>
              <a:srgbClr val="FFB7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68" name="Freeform 241"/>
            <p:cNvSpPr/>
            <p:nvPr userDrawn="1"/>
          </p:nvSpPr>
          <p:spPr bwMode="auto">
            <a:xfrm>
              <a:off x="4812506" y="1795463"/>
              <a:ext cx="292100" cy="198438"/>
            </a:xfrm>
            <a:custGeom>
              <a:avLst/>
              <a:gdLst>
                <a:gd name="T0" fmla="*/ 16 w 107"/>
                <a:gd name="T1" fmla="*/ 68 h 73"/>
                <a:gd name="T2" fmla="*/ 24 w 107"/>
                <a:gd name="T3" fmla="*/ 73 h 73"/>
                <a:gd name="T4" fmla="*/ 22 w 107"/>
                <a:gd name="T5" fmla="*/ 47 h 73"/>
                <a:gd name="T6" fmla="*/ 79 w 107"/>
                <a:gd name="T7" fmla="*/ 44 h 73"/>
                <a:gd name="T8" fmla="*/ 84 w 107"/>
                <a:gd name="T9" fmla="*/ 38 h 73"/>
                <a:gd name="T10" fmla="*/ 91 w 107"/>
                <a:gd name="T11" fmla="*/ 65 h 73"/>
                <a:gd name="T12" fmla="*/ 97 w 107"/>
                <a:gd name="T13" fmla="*/ 57 h 73"/>
                <a:gd name="T14" fmla="*/ 45 w 107"/>
                <a:gd name="T15" fmla="*/ 9 h 73"/>
                <a:gd name="T16" fmla="*/ 19 w 107"/>
                <a:gd name="T17" fmla="*/ 30 h 73"/>
                <a:gd name="T18" fmla="*/ 16 w 107"/>
                <a:gd name="T19" fmla="*/ 68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7" h="73">
                  <a:moveTo>
                    <a:pt x="16" y="68"/>
                  </a:moveTo>
                  <a:cubicBezTo>
                    <a:pt x="19" y="67"/>
                    <a:pt x="24" y="73"/>
                    <a:pt x="24" y="73"/>
                  </a:cubicBezTo>
                  <a:cubicBezTo>
                    <a:pt x="22" y="47"/>
                    <a:pt x="22" y="47"/>
                    <a:pt x="22" y="47"/>
                  </a:cubicBezTo>
                  <a:cubicBezTo>
                    <a:pt x="22" y="47"/>
                    <a:pt x="39" y="56"/>
                    <a:pt x="79" y="44"/>
                  </a:cubicBezTo>
                  <a:cubicBezTo>
                    <a:pt x="77" y="36"/>
                    <a:pt x="84" y="38"/>
                    <a:pt x="84" y="38"/>
                  </a:cubicBezTo>
                  <a:cubicBezTo>
                    <a:pt x="84" y="38"/>
                    <a:pt x="91" y="66"/>
                    <a:pt x="91" y="65"/>
                  </a:cubicBezTo>
                  <a:cubicBezTo>
                    <a:pt x="92" y="57"/>
                    <a:pt x="97" y="57"/>
                    <a:pt x="97" y="57"/>
                  </a:cubicBezTo>
                  <a:cubicBezTo>
                    <a:pt x="97" y="57"/>
                    <a:pt x="107" y="0"/>
                    <a:pt x="45" y="9"/>
                  </a:cubicBezTo>
                  <a:cubicBezTo>
                    <a:pt x="24" y="12"/>
                    <a:pt x="24" y="20"/>
                    <a:pt x="19" y="30"/>
                  </a:cubicBezTo>
                  <a:cubicBezTo>
                    <a:pt x="0" y="38"/>
                    <a:pt x="16" y="67"/>
                    <a:pt x="16" y="68"/>
                  </a:cubicBezTo>
                  <a:close/>
                </a:path>
              </a:pathLst>
            </a:custGeom>
            <a:solidFill>
              <a:srgbClr val="8969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69" name="Freeform 242"/>
            <p:cNvSpPr/>
            <p:nvPr userDrawn="1"/>
          </p:nvSpPr>
          <p:spPr bwMode="auto">
            <a:xfrm>
              <a:off x="4990306" y="2189163"/>
              <a:ext cx="50800" cy="117475"/>
            </a:xfrm>
            <a:custGeom>
              <a:avLst/>
              <a:gdLst>
                <a:gd name="T0" fmla="*/ 0 w 19"/>
                <a:gd name="T1" fmla="*/ 43 h 43"/>
                <a:gd name="T2" fmla="*/ 19 w 19"/>
                <a:gd name="T3" fmla="*/ 40 h 43"/>
                <a:gd name="T4" fmla="*/ 4 w 19"/>
                <a:gd name="T5" fmla="*/ 0 h 43"/>
                <a:gd name="T6" fmla="*/ 3 w 19"/>
                <a:gd name="T7" fmla="*/ 0 h 43"/>
                <a:gd name="T8" fmla="*/ 0 w 19"/>
                <a:gd name="T9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43">
                  <a:moveTo>
                    <a:pt x="0" y="43"/>
                  </a:moveTo>
                  <a:cubicBezTo>
                    <a:pt x="19" y="40"/>
                    <a:pt x="19" y="40"/>
                    <a:pt x="19" y="4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3" y="0"/>
                    <a:pt x="3" y="0"/>
                  </a:cubicBezTo>
                  <a:lnTo>
                    <a:pt x="0" y="43"/>
                  </a:lnTo>
                  <a:close/>
                </a:path>
              </a:pathLst>
            </a:custGeom>
            <a:solidFill>
              <a:srgbClr val="4242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70" name="Freeform 243"/>
            <p:cNvSpPr/>
            <p:nvPr userDrawn="1"/>
          </p:nvSpPr>
          <p:spPr bwMode="auto">
            <a:xfrm>
              <a:off x="4972843" y="2157413"/>
              <a:ext cx="44450" cy="31750"/>
            </a:xfrm>
            <a:custGeom>
              <a:avLst/>
              <a:gdLst>
                <a:gd name="T0" fmla="*/ 1 w 16"/>
                <a:gd name="T1" fmla="*/ 2 h 12"/>
                <a:gd name="T2" fmla="*/ 15 w 16"/>
                <a:gd name="T3" fmla="*/ 0 h 12"/>
                <a:gd name="T4" fmla="*/ 16 w 16"/>
                <a:gd name="T5" fmla="*/ 5 h 12"/>
                <a:gd name="T6" fmla="*/ 10 w 16"/>
                <a:gd name="T7" fmla="*/ 11 h 12"/>
                <a:gd name="T8" fmla="*/ 9 w 16"/>
                <a:gd name="T9" fmla="*/ 12 h 12"/>
                <a:gd name="T10" fmla="*/ 1 w 16"/>
                <a:gd name="T11" fmla="*/ 7 h 12"/>
                <a:gd name="T12" fmla="*/ 1 w 16"/>
                <a:gd name="T13" fmla="*/ 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12">
                  <a:moveTo>
                    <a:pt x="1" y="2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6" y="5"/>
                    <a:pt x="16" y="5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0" y="12"/>
                    <a:pt x="9" y="12"/>
                    <a:pt x="9" y="12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2"/>
                    <a:pt x="1" y="2"/>
                  </a:cubicBezTo>
                  <a:close/>
                </a:path>
              </a:pathLst>
            </a:custGeom>
            <a:solidFill>
              <a:srgbClr val="4242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71" name="Freeform 244"/>
            <p:cNvSpPr/>
            <p:nvPr userDrawn="1"/>
          </p:nvSpPr>
          <p:spPr bwMode="auto">
            <a:xfrm>
              <a:off x="4995068" y="2116138"/>
              <a:ext cx="44450" cy="61913"/>
            </a:xfrm>
            <a:custGeom>
              <a:avLst/>
              <a:gdLst>
                <a:gd name="T0" fmla="*/ 1 w 16"/>
                <a:gd name="T1" fmla="*/ 16 h 23"/>
                <a:gd name="T2" fmla="*/ 13 w 16"/>
                <a:gd name="T3" fmla="*/ 23 h 23"/>
                <a:gd name="T4" fmla="*/ 14 w 16"/>
                <a:gd name="T5" fmla="*/ 23 h 23"/>
                <a:gd name="T6" fmla="*/ 16 w 16"/>
                <a:gd name="T7" fmla="*/ 5 h 23"/>
                <a:gd name="T8" fmla="*/ 16 w 16"/>
                <a:gd name="T9" fmla="*/ 5 h 23"/>
                <a:gd name="T10" fmla="*/ 12 w 16"/>
                <a:gd name="T11" fmla="*/ 0 h 23"/>
                <a:gd name="T12" fmla="*/ 11 w 16"/>
                <a:gd name="T13" fmla="*/ 0 h 23"/>
                <a:gd name="T14" fmla="*/ 0 w 16"/>
                <a:gd name="T15" fmla="*/ 15 h 23"/>
                <a:gd name="T16" fmla="*/ 1 w 16"/>
                <a:gd name="T17" fmla="*/ 16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23">
                  <a:moveTo>
                    <a:pt x="1" y="16"/>
                  </a:moveTo>
                  <a:cubicBezTo>
                    <a:pt x="13" y="23"/>
                    <a:pt x="13" y="23"/>
                    <a:pt x="13" y="23"/>
                  </a:cubicBezTo>
                  <a:cubicBezTo>
                    <a:pt x="13" y="23"/>
                    <a:pt x="14" y="23"/>
                    <a:pt x="14" y="23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6"/>
                    <a:pt x="0" y="16"/>
                    <a:pt x="1" y="16"/>
                  </a:cubicBezTo>
                  <a:close/>
                </a:path>
              </a:pathLst>
            </a:custGeom>
            <a:solidFill>
              <a:srgbClr val="D1FF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72" name="Freeform 245"/>
            <p:cNvSpPr/>
            <p:nvPr userDrawn="1"/>
          </p:nvSpPr>
          <p:spPr bwMode="auto">
            <a:xfrm>
              <a:off x="4944268" y="2127250"/>
              <a:ext cx="47625" cy="61913"/>
            </a:xfrm>
            <a:custGeom>
              <a:avLst/>
              <a:gdLst>
                <a:gd name="T0" fmla="*/ 18 w 18"/>
                <a:gd name="T1" fmla="*/ 13 h 23"/>
                <a:gd name="T2" fmla="*/ 8 w 18"/>
                <a:gd name="T3" fmla="*/ 23 h 23"/>
                <a:gd name="T4" fmla="*/ 7 w 18"/>
                <a:gd name="T5" fmla="*/ 22 h 23"/>
                <a:gd name="T6" fmla="*/ 0 w 18"/>
                <a:gd name="T7" fmla="*/ 7 h 23"/>
                <a:gd name="T8" fmla="*/ 0 w 18"/>
                <a:gd name="T9" fmla="*/ 6 h 23"/>
                <a:gd name="T10" fmla="*/ 3 w 18"/>
                <a:gd name="T11" fmla="*/ 0 h 23"/>
                <a:gd name="T12" fmla="*/ 4 w 18"/>
                <a:gd name="T13" fmla="*/ 0 h 23"/>
                <a:gd name="T14" fmla="*/ 18 w 18"/>
                <a:gd name="T15" fmla="*/ 12 h 23"/>
                <a:gd name="T16" fmla="*/ 18 w 18"/>
                <a:gd name="T17" fmla="*/ 1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" h="23">
                  <a:moveTo>
                    <a:pt x="18" y="13"/>
                  </a:moveTo>
                  <a:cubicBezTo>
                    <a:pt x="8" y="23"/>
                    <a:pt x="8" y="23"/>
                    <a:pt x="8" y="23"/>
                  </a:cubicBezTo>
                  <a:cubicBezTo>
                    <a:pt x="8" y="23"/>
                    <a:pt x="7" y="23"/>
                    <a:pt x="7" y="22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4" y="0"/>
                    <a:pt x="4" y="0"/>
                  </a:cubicBezTo>
                  <a:cubicBezTo>
                    <a:pt x="18" y="12"/>
                    <a:pt x="18" y="12"/>
                    <a:pt x="18" y="12"/>
                  </a:cubicBezTo>
                  <a:lnTo>
                    <a:pt x="18" y="13"/>
                  </a:lnTo>
                  <a:close/>
                </a:path>
              </a:pathLst>
            </a:custGeom>
            <a:solidFill>
              <a:srgbClr val="D1FF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73" name="Freeform 246"/>
            <p:cNvSpPr/>
            <p:nvPr userDrawn="1"/>
          </p:nvSpPr>
          <p:spPr bwMode="auto">
            <a:xfrm>
              <a:off x="4929981" y="2047875"/>
              <a:ext cx="49213" cy="33338"/>
            </a:xfrm>
            <a:custGeom>
              <a:avLst/>
              <a:gdLst>
                <a:gd name="T0" fmla="*/ 18 w 18"/>
                <a:gd name="T1" fmla="*/ 6 h 12"/>
                <a:gd name="T2" fmla="*/ 0 w 18"/>
                <a:gd name="T3" fmla="*/ 12 h 12"/>
                <a:gd name="T4" fmla="*/ 1 w 18"/>
                <a:gd name="T5" fmla="*/ 10 h 12"/>
                <a:gd name="T6" fmla="*/ 10 w 18"/>
                <a:gd name="T7" fmla="*/ 1 h 12"/>
                <a:gd name="T8" fmla="*/ 17 w 18"/>
                <a:gd name="T9" fmla="*/ 0 h 12"/>
                <a:gd name="T10" fmla="*/ 18 w 18"/>
                <a:gd name="T11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12">
                  <a:moveTo>
                    <a:pt x="18" y="6"/>
                  </a:moveTo>
                  <a:cubicBezTo>
                    <a:pt x="16" y="10"/>
                    <a:pt x="0" y="12"/>
                    <a:pt x="0" y="12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2" y="5"/>
                    <a:pt x="5" y="2"/>
                    <a:pt x="10" y="1"/>
                  </a:cubicBezTo>
                  <a:cubicBezTo>
                    <a:pt x="17" y="0"/>
                    <a:pt x="17" y="0"/>
                    <a:pt x="17" y="0"/>
                  </a:cubicBezTo>
                  <a:lnTo>
                    <a:pt x="18" y="6"/>
                  </a:lnTo>
                  <a:close/>
                </a:path>
              </a:pathLst>
            </a:custGeom>
            <a:solidFill>
              <a:srgbClr val="8969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74" name="Freeform 247"/>
            <p:cNvSpPr/>
            <p:nvPr userDrawn="1"/>
          </p:nvSpPr>
          <p:spPr bwMode="auto">
            <a:xfrm>
              <a:off x="4976018" y="2043113"/>
              <a:ext cx="53975" cy="30163"/>
            </a:xfrm>
            <a:custGeom>
              <a:avLst/>
              <a:gdLst>
                <a:gd name="T0" fmla="*/ 1 w 20"/>
                <a:gd name="T1" fmla="*/ 8 h 11"/>
                <a:gd name="T2" fmla="*/ 20 w 20"/>
                <a:gd name="T3" fmla="*/ 9 h 11"/>
                <a:gd name="T4" fmla="*/ 19 w 20"/>
                <a:gd name="T5" fmla="*/ 7 h 11"/>
                <a:gd name="T6" fmla="*/ 8 w 20"/>
                <a:gd name="T7" fmla="*/ 1 h 11"/>
                <a:gd name="T8" fmla="*/ 0 w 20"/>
                <a:gd name="T9" fmla="*/ 2 h 11"/>
                <a:gd name="T10" fmla="*/ 1 w 20"/>
                <a:gd name="T11" fmla="*/ 8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11">
                  <a:moveTo>
                    <a:pt x="1" y="8"/>
                  </a:moveTo>
                  <a:cubicBezTo>
                    <a:pt x="4" y="11"/>
                    <a:pt x="20" y="9"/>
                    <a:pt x="20" y="9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7" y="2"/>
                    <a:pt x="12" y="0"/>
                    <a:pt x="8" y="1"/>
                  </a:cubicBezTo>
                  <a:cubicBezTo>
                    <a:pt x="0" y="2"/>
                    <a:pt x="0" y="2"/>
                    <a:pt x="0" y="2"/>
                  </a:cubicBezTo>
                  <a:lnTo>
                    <a:pt x="1" y="8"/>
                  </a:lnTo>
                  <a:close/>
                </a:path>
              </a:pathLst>
            </a:custGeom>
            <a:solidFill>
              <a:srgbClr val="8969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75" name="Freeform 248"/>
            <p:cNvSpPr/>
            <p:nvPr userDrawn="1"/>
          </p:nvSpPr>
          <p:spPr bwMode="auto">
            <a:xfrm>
              <a:off x="5077618" y="2216150"/>
              <a:ext cx="76200" cy="25400"/>
            </a:xfrm>
            <a:custGeom>
              <a:avLst/>
              <a:gdLst>
                <a:gd name="T0" fmla="*/ 48 w 48"/>
                <a:gd name="T1" fmla="*/ 9 h 16"/>
                <a:gd name="T2" fmla="*/ 1 w 48"/>
                <a:gd name="T3" fmla="*/ 16 h 16"/>
                <a:gd name="T4" fmla="*/ 0 w 48"/>
                <a:gd name="T5" fmla="*/ 7 h 16"/>
                <a:gd name="T6" fmla="*/ 46 w 48"/>
                <a:gd name="T7" fmla="*/ 0 h 16"/>
                <a:gd name="T8" fmla="*/ 48 w 48"/>
                <a:gd name="T9" fmla="*/ 9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16">
                  <a:moveTo>
                    <a:pt x="48" y="9"/>
                  </a:moveTo>
                  <a:lnTo>
                    <a:pt x="1" y="16"/>
                  </a:lnTo>
                  <a:lnTo>
                    <a:pt x="0" y="7"/>
                  </a:lnTo>
                  <a:lnTo>
                    <a:pt x="46" y="0"/>
                  </a:lnTo>
                  <a:lnTo>
                    <a:pt x="48" y="9"/>
                  </a:lnTo>
                  <a:close/>
                </a:path>
              </a:pathLst>
            </a:custGeom>
            <a:solidFill>
              <a:srgbClr val="8764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76" name="Freeform 249"/>
            <p:cNvSpPr/>
            <p:nvPr userDrawn="1"/>
          </p:nvSpPr>
          <p:spPr bwMode="auto">
            <a:xfrm>
              <a:off x="5082381" y="2230438"/>
              <a:ext cx="80963" cy="92075"/>
            </a:xfrm>
            <a:custGeom>
              <a:avLst/>
              <a:gdLst>
                <a:gd name="T0" fmla="*/ 51 w 51"/>
                <a:gd name="T1" fmla="*/ 51 h 58"/>
                <a:gd name="T2" fmla="*/ 7 w 51"/>
                <a:gd name="T3" fmla="*/ 58 h 58"/>
                <a:gd name="T4" fmla="*/ 0 w 51"/>
                <a:gd name="T5" fmla="*/ 7 h 58"/>
                <a:gd name="T6" fmla="*/ 43 w 51"/>
                <a:gd name="T7" fmla="*/ 0 h 58"/>
                <a:gd name="T8" fmla="*/ 51 w 51"/>
                <a:gd name="T9" fmla="*/ 51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58">
                  <a:moveTo>
                    <a:pt x="51" y="51"/>
                  </a:moveTo>
                  <a:lnTo>
                    <a:pt x="7" y="58"/>
                  </a:lnTo>
                  <a:lnTo>
                    <a:pt x="0" y="7"/>
                  </a:lnTo>
                  <a:lnTo>
                    <a:pt x="43" y="0"/>
                  </a:lnTo>
                  <a:lnTo>
                    <a:pt x="51" y="5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77" name="Freeform 250"/>
            <p:cNvSpPr/>
            <p:nvPr userDrawn="1"/>
          </p:nvSpPr>
          <p:spPr bwMode="auto">
            <a:xfrm>
              <a:off x="5090318" y="2244725"/>
              <a:ext cx="19050" cy="23813"/>
            </a:xfrm>
            <a:custGeom>
              <a:avLst/>
              <a:gdLst>
                <a:gd name="T0" fmla="*/ 12 w 12"/>
                <a:gd name="T1" fmla="*/ 13 h 15"/>
                <a:gd name="T2" fmla="*/ 2 w 12"/>
                <a:gd name="T3" fmla="*/ 15 h 15"/>
                <a:gd name="T4" fmla="*/ 0 w 12"/>
                <a:gd name="T5" fmla="*/ 1 h 15"/>
                <a:gd name="T6" fmla="*/ 10 w 12"/>
                <a:gd name="T7" fmla="*/ 0 h 15"/>
                <a:gd name="T8" fmla="*/ 12 w 12"/>
                <a:gd name="T9" fmla="*/ 1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5">
                  <a:moveTo>
                    <a:pt x="12" y="13"/>
                  </a:moveTo>
                  <a:lnTo>
                    <a:pt x="2" y="15"/>
                  </a:lnTo>
                  <a:lnTo>
                    <a:pt x="0" y="1"/>
                  </a:lnTo>
                  <a:lnTo>
                    <a:pt x="10" y="0"/>
                  </a:lnTo>
                  <a:lnTo>
                    <a:pt x="12" y="13"/>
                  </a:lnTo>
                  <a:close/>
                </a:path>
              </a:pathLst>
            </a:custGeom>
            <a:solidFill>
              <a:srgbClr val="FFA6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78" name="Freeform 251"/>
            <p:cNvSpPr/>
            <p:nvPr userDrawn="1"/>
          </p:nvSpPr>
          <p:spPr bwMode="auto">
            <a:xfrm>
              <a:off x="5096668" y="2273300"/>
              <a:ext cx="53975" cy="17463"/>
            </a:xfrm>
            <a:custGeom>
              <a:avLst/>
              <a:gdLst>
                <a:gd name="T0" fmla="*/ 34 w 34"/>
                <a:gd name="T1" fmla="*/ 6 h 11"/>
                <a:gd name="T2" fmla="*/ 0 w 34"/>
                <a:gd name="T3" fmla="*/ 11 h 11"/>
                <a:gd name="T4" fmla="*/ 0 w 34"/>
                <a:gd name="T5" fmla="*/ 6 h 11"/>
                <a:gd name="T6" fmla="*/ 34 w 34"/>
                <a:gd name="T7" fmla="*/ 0 h 11"/>
                <a:gd name="T8" fmla="*/ 34 w 34"/>
                <a:gd name="T9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1">
                  <a:moveTo>
                    <a:pt x="34" y="6"/>
                  </a:moveTo>
                  <a:lnTo>
                    <a:pt x="0" y="11"/>
                  </a:lnTo>
                  <a:lnTo>
                    <a:pt x="0" y="6"/>
                  </a:lnTo>
                  <a:lnTo>
                    <a:pt x="34" y="0"/>
                  </a:lnTo>
                  <a:lnTo>
                    <a:pt x="34" y="6"/>
                  </a:lnTo>
                  <a:close/>
                </a:path>
              </a:pathLst>
            </a:custGeom>
            <a:solidFill>
              <a:srgbClr val="ABA4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79" name="Freeform 252"/>
            <p:cNvSpPr/>
            <p:nvPr userDrawn="1"/>
          </p:nvSpPr>
          <p:spPr bwMode="auto">
            <a:xfrm>
              <a:off x="5096668" y="2287588"/>
              <a:ext cx="57150" cy="15875"/>
            </a:xfrm>
            <a:custGeom>
              <a:avLst/>
              <a:gdLst>
                <a:gd name="T0" fmla="*/ 36 w 36"/>
                <a:gd name="T1" fmla="*/ 5 h 10"/>
                <a:gd name="T2" fmla="*/ 1 w 36"/>
                <a:gd name="T3" fmla="*/ 10 h 10"/>
                <a:gd name="T4" fmla="*/ 0 w 36"/>
                <a:gd name="T5" fmla="*/ 5 h 10"/>
                <a:gd name="T6" fmla="*/ 34 w 36"/>
                <a:gd name="T7" fmla="*/ 0 h 10"/>
                <a:gd name="T8" fmla="*/ 36 w 36"/>
                <a:gd name="T9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10">
                  <a:moveTo>
                    <a:pt x="36" y="5"/>
                  </a:moveTo>
                  <a:lnTo>
                    <a:pt x="1" y="10"/>
                  </a:lnTo>
                  <a:lnTo>
                    <a:pt x="0" y="5"/>
                  </a:lnTo>
                  <a:lnTo>
                    <a:pt x="34" y="0"/>
                  </a:lnTo>
                  <a:lnTo>
                    <a:pt x="36" y="5"/>
                  </a:lnTo>
                  <a:close/>
                </a:path>
              </a:pathLst>
            </a:custGeom>
            <a:solidFill>
              <a:srgbClr val="ABA4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80" name="Freeform 253"/>
            <p:cNvSpPr/>
            <p:nvPr userDrawn="1"/>
          </p:nvSpPr>
          <p:spPr bwMode="auto">
            <a:xfrm>
              <a:off x="5104606" y="2214563"/>
              <a:ext cx="19050" cy="11113"/>
            </a:xfrm>
            <a:custGeom>
              <a:avLst/>
              <a:gdLst>
                <a:gd name="T0" fmla="*/ 10 w 12"/>
                <a:gd name="T1" fmla="*/ 0 h 7"/>
                <a:gd name="T2" fmla="*/ 0 w 12"/>
                <a:gd name="T3" fmla="*/ 1 h 7"/>
                <a:gd name="T4" fmla="*/ 1 w 12"/>
                <a:gd name="T5" fmla="*/ 7 h 7"/>
                <a:gd name="T6" fmla="*/ 12 w 12"/>
                <a:gd name="T7" fmla="*/ 5 h 7"/>
                <a:gd name="T8" fmla="*/ 10 w 12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7">
                  <a:moveTo>
                    <a:pt x="10" y="0"/>
                  </a:moveTo>
                  <a:lnTo>
                    <a:pt x="0" y="1"/>
                  </a:lnTo>
                  <a:lnTo>
                    <a:pt x="1" y="7"/>
                  </a:lnTo>
                  <a:lnTo>
                    <a:pt x="12" y="5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ABA4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81" name="Freeform 254"/>
            <p:cNvSpPr/>
            <p:nvPr userDrawn="1"/>
          </p:nvSpPr>
          <p:spPr bwMode="auto">
            <a:xfrm>
              <a:off x="7001668" y="1890713"/>
              <a:ext cx="547688" cy="312738"/>
            </a:xfrm>
            <a:custGeom>
              <a:avLst/>
              <a:gdLst>
                <a:gd name="T0" fmla="*/ 162 w 201"/>
                <a:gd name="T1" fmla="*/ 59 h 115"/>
                <a:gd name="T2" fmla="*/ 157 w 201"/>
                <a:gd name="T3" fmla="*/ 58 h 115"/>
                <a:gd name="T4" fmla="*/ 157 w 201"/>
                <a:gd name="T5" fmla="*/ 58 h 115"/>
                <a:gd name="T6" fmla="*/ 148 w 201"/>
                <a:gd name="T7" fmla="*/ 44 h 115"/>
                <a:gd name="T8" fmla="*/ 116 w 201"/>
                <a:gd name="T9" fmla="*/ 5 h 115"/>
                <a:gd name="T10" fmla="*/ 69 w 201"/>
                <a:gd name="T11" fmla="*/ 24 h 115"/>
                <a:gd name="T12" fmla="*/ 62 w 201"/>
                <a:gd name="T13" fmla="*/ 21 h 115"/>
                <a:gd name="T14" fmla="*/ 36 w 201"/>
                <a:gd name="T15" fmla="*/ 34 h 115"/>
                <a:gd name="T16" fmla="*/ 35 w 201"/>
                <a:gd name="T17" fmla="*/ 39 h 115"/>
                <a:gd name="T18" fmla="*/ 34 w 201"/>
                <a:gd name="T19" fmla="*/ 39 h 115"/>
                <a:gd name="T20" fmla="*/ 3 w 201"/>
                <a:gd name="T21" fmla="*/ 55 h 115"/>
                <a:gd name="T22" fmla="*/ 23 w 201"/>
                <a:gd name="T23" fmla="*/ 84 h 115"/>
                <a:gd name="T24" fmla="*/ 46 w 201"/>
                <a:gd name="T25" fmla="*/ 80 h 115"/>
                <a:gd name="T26" fmla="*/ 89 w 201"/>
                <a:gd name="T27" fmla="*/ 108 h 115"/>
                <a:gd name="T28" fmla="*/ 145 w 201"/>
                <a:gd name="T29" fmla="*/ 95 h 115"/>
                <a:gd name="T30" fmla="*/ 153 w 201"/>
                <a:gd name="T31" fmla="*/ 97 h 115"/>
                <a:gd name="T32" fmla="*/ 198 w 201"/>
                <a:gd name="T33" fmla="*/ 88 h 115"/>
                <a:gd name="T34" fmla="*/ 162 w 201"/>
                <a:gd name="T35" fmla="*/ 59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01" h="115">
                  <a:moveTo>
                    <a:pt x="162" y="59"/>
                  </a:moveTo>
                  <a:cubicBezTo>
                    <a:pt x="161" y="58"/>
                    <a:pt x="159" y="58"/>
                    <a:pt x="157" y="58"/>
                  </a:cubicBezTo>
                  <a:cubicBezTo>
                    <a:pt x="157" y="58"/>
                    <a:pt x="157" y="58"/>
                    <a:pt x="157" y="58"/>
                  </a:cubicBezTo>
                  <a:cubicBezTo>
                    <a:pt x="159" y="52"/>
                    <a:pt x="155" y="46"/>
                    <a:pt x="148" y="44"/>
                  </a:cubicBezTo>
                  <a:cubicBezTo>
                    <a:pt x="149" y="27"/>
                    <a:pt x="136" y="10"/>
                    <a:pt x="116" y="5"/>
                  </a:cubicBezTo>
                  <a:cubicBezTo>
                    <a:pt x="96" y="0"/>
                    <a:pt x="76" y="8"/>
                    <a:pt x="69" y="24"/>
                  </a:cubicBezTo>
                  <a:cubicBezTo>
                    <a:pt x="67" y="22"/>
                    <a:pt x="65" y="21"/>
                    <a:pt x="62" y="21"/>
                  </a:cubicBezTo>
                  <a:cubicBezTo>
                    <a:pt x="50" y="18"/>
                    <a:pt x="38" y="24"/>
                    <a:pt x="36" y="34"/>
                  </a:cubicBezTo>
                  <a:cubicBezTo>
                    <a:pt x="35" y="36"/>
                    <a:pt x="35" y="38"/>
                    <a:pt x="35" y="39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20" y="36"/>
                    <a:pt x="6" y="43"/>
                    <a:pt x="3" y="55"/>
                  </a:cubicBezTo>
                  <a:cubicBezTo>
                    <a:pt x="0" y="67"/>
                    <a:pt x="9" y="80"/>
                    <a:pt x="23" y="84"/>
                  </a:cubicBezTo>
                  <a:cubicBezTo>
                    <a:pt x="32" y="86"/>
                    <a:pt x="40" y="84"/>
                    <a:pt x="46" y="80"/>
                  </a:cubicBezTo>
                  <a:cubicBezTo>
                    <a:pt x="51" y="92"/>
                    <a:pt x="68" y="103"/>
                    <a:pt x="89" y="108"/>
                  </a:cubicBezTo>
                  <a:cubicBezTo>
                    <a:pt x="116" y="115"/>
                    <a:pt x="141" y="109"/>
                    <a:pt x="145" y="95"/>
                  </a:cubicBezTo>
                  <a:cubicBezTo>
                    <a:pt x="148" y="96"/>
                    <a:pt x="150" y="97"/>
                    <a:pt x="153" y="97"/>
                  </a:cubicBezTo>
                  <a:cubicBezTo>
                    <a:pt x="175" y="103"/>
                    <a:pt x="195" y="98"/>
                    <a:pt x="198" y="88"/>
                  </a:cubicBezTo>
                  <a:cubicBezTo>
                    <a:pt x="201" y="77"/>
                    <a:pt x="185" y="64"/>
                    <a:pt x="162" y="5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82" name="Freeform 255"/>
            <p:cNvSpPr/>
            <p:nvPr userDrawn="1"/>
          </p:nvSpPr>
          <p:spPr bwMode="auto">
            <a:xfrm>
              <a:off x="7168356" y="2124075"/>
              <a:ext cx="125413" cy="198438"/>
            </a:xfrm>
            <a:custGeom>
              <a:avLst/>
              <a:gdLst>
                <a:gd name="T0" fmla="*/ 50 w 79"/>
                <a:gd name="T1" fmla="*/ 0 h 125"/>
                <a:gd name="T2" fmla="*/ 17 w 79"/>
                <a:gd name="T3" fmla="*/ 53 h 125"/>
                <a:gd name="T4" fmla="*/ 48 w 79"/>
                <a:gd name="T5" fmla="*/ 58 h 125"/>
                <a:gd name="T6" fmla="*/ 0 w 79"/>
                <a:gd name="T7" fmla="*/ 125 h 125"/>
                <a:gd name="T8" fmla="*/ 79 w 79"/>
                <a:gd name="T9" fmla="*/ 52 h 125"/>
                <a:gd name="T10" fmla="*/ 43 w 79"/>
                <a:gd name="T11" fmla="*/ 46 h 125"/>
                <a:gd name="T12" fmla="*/ 75 w 79"/>
                <a:gd name="T13" fmla="*/ 5 h 125"/>
                <a:gd name="T14" fmla="*/ 50 w 79"/>
                <a:gd name="T15" fmla="*/ 0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9" h="125">
                  <a:moveTo>
                    <a:pt x="50" y="0"/>
                  </a:moveTo>
                  <a:lnTo>
                    <a:pt x="17" y="53"/>
                  </a:lnTo>
                  <a:lnTo>
                    <a:pt x="48" y="58"/>
                  </a:lnTo>
                  <a:lnTo>
                    <a:pt x="0" y="125"/>
                  </a:lnTo>
                  <a:lnTo>
                    <a:pt x="79" y="52"/>
                  </a:lnTo>
                  <a:lnTo>
                    <a:pt x="43" y="46"/>
                  </a:lnTo>
                  <a:lnTo>
                    <a:pt x="75" y="5"/>
                  </a:lnTo>
                  <a:lnTo>
                    <a:pt x="50" y="0"/>
                  </a:lnTo>
                  <a:close/>
                </a:path>
              </a:pathLst>
            </a:custGeom>
            <a:solidFill>
              <a:srgbClr val="F3B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83" name="Freeform 256"/>
            <p:cNvSpPr/>
            <p:nvPr userDrawn="1"/>
          </p:nvSpPr>
          <p:spPr bwMode="auto">
            <a:xfrm>
              <a:off x="7293768" y="2230438"/>
              <a:ext cx="57150" cy="53975"/>
            </a:xfrm>
            <a:custGeom>
              <a:avLst/>
              <a:gdLst>
                <a:gd name="T0" fmla="*/ 11 w 21"/>
                <a:gd name="T1" fmla="*/ 16 h 20"/>
                <a:gd name="T2" fmla="*/ 17 w 21"/>
                <a:gd name="T3" fmla="*/ 0 h 20"/>
                <a:gd name="T4" fmla="*/ 11 w 21"/>
                <a:gd name="T5" fmla="*/ 16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" h="20">
                  <a:moveTo>
                    <a:pt x="11" y="16"/>
                  </a:moveTo>
                  <a:cubicBezTo>
                    <a:pt x="21" y="20"/>
                    <a:pt x="17" y="0"/>
                    <a:pt x="17" y="0"/>
                  </a:cubicBezTo>
                  <a:cubicBezTo>
                    <a:pt x="17" y="0"/>
                    <a:pt x="0" y="12"/>
                    <a:pt x="11" y="16"/>
                  </a:cubicBezTo>
                  <a:close/>
                </a:path>
              </a:pathLst>
            </a:custGeom>
            <a:solidFill>
              <a:srgbClr val="6A90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84" name="Freeform 257"/>
            <p:cNvSpPr/>
            <p:nvPr userDrawn="1"/>
          </p:nvSpPr>
          <p:spPr bwMode="auto">
            <a:xfrm>
              <a:off x="7363618" y="2173288"/>
              <a:ext cx="41275" cy="42863"/>
            </a:xfrm>
            <a:custGeom>
              <a:avLst/>
              <a:gdLst>
                <a:gd name="T0" fmla="*/ 7 w 15"/>
                <a:gd name="T1" fmla="*/ 12 h 16"/>
                <a:gd name="T2" fmla="*/ 14 w 15"/>
                <a:gd name="T3" fmla="*/ 0 h 16"/>
                <a:gd name="T4" fmla="*/ 7 w 15"/>
                <a:gd name="T5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6">
                  <a:moveTo>
                    <a:pt x="7" y="12"/>
                  </a:moveTo>
                  <a:cubicBezTo>
                    <a:pt x="15" y="16"/>
                    <a:pt x="14" y="0"/>
                    <a:pt x="14" y="0"/>
                  </a:cubicBezTo>
                  <a:cubicBezTo>
                    <a:pt x="14" y="0"/>
                    <a:pt x="0" y="8"/>
                    <a:pt x="7" y="12"/>
                  </a:cubicBezTo>
                  <a:close/>
                </a:path>
              </a:pathLst>
            </a:custGeom>
            <a:solidFill>
              <a:srgbClr val="6A90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85" name="Freeform 258"/>
            <p:cNvSpPr/>
            <p:nvPr userDrawn="1"/>
          </p:nvSpPr>
          <p:spPr bwMode="auto">
            <a:xfrm>
              <a:off x="7039768" y="2127250"/>
              <a:ext cx="41275" cy="42863"/>
            </a:xfrm>
            <a:custGeom>
              <a:avLst/>
              <a:gdLst>
                <a:gd name="T0" fmla="*/ 8 w 15"/>
                <a:gd name="T1" fmla="*/ 12 h 16"/>
                <a:gd name="T2" fmla="*/ 14 w 15"/>
                <a:gd name="T3" fmla="*/ 0 h 16"/>
                <a:gd name="T4" fmla="*/ 8 w 15"/>
                <a:gd name="T5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6">
                  <a:moveTo>
                    <a:pt x="8" y="12"/>
                  </a:moveTo>
                  <a:cubicBezTo>
                    <a:pt x="15" y="16"/>
                    <a:pt x="14" y="0"/>
                    <a:pt x="14" y="0"/>
                  </a:cubicBezTo>
                  <a:cubicBezTo>
                    <a:pt x="14" y="0"/>
                    <a:pt x="0" y="8"/>
                    <a:pt x="8" y="12"/>
                  </a:cubicBezTo>
                  <a:close/>
                </a:path>
              </a:pathLst>
            </a:custGeom>
            <a:solidFill>
              <a:srgbClr val="6A90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86" name="Freeform 259"/>
            <p:cNvSpPr/>
            <p:nvPr userDrawn="1"/>
          </p:nvSpPr>
          <p:spPr bwMode="auto">
            <a:xfrm>
              <a:off x="7039768" y="2187575"/>
              <a:ext cx="41275" cy="42863"/>
            </a:xfrm>
            <a:custGeom>
              <a:avLst/>
              <a:gdLst>
                <a:gd name="T0" fmla="*/ 8 w 15"/>
                <a:gd name="T1" fmla="*/ 12 h 16"/>
                <a:gd name="T2" fmla="*/ 14 w 15"/>
                <a:gd name="T3" fmla="*/ 0 h 16"/>
                <a:gd name="T4" fmla="*/ 8 w 15"/>
                <a:gd name="T5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6">
                  <a:moveTo>
                    <a:pt x="8" y="12"/>
                  </a:moveTo>
                  <a:cubicBezTo>
                    <a:pt x="15" y="16"/>
                    <a:pt x="14" y="0"/>
                    <a:pt x="14" y="0"/>
                  </a:cubicBezTo>
                  <a:cubicBezTo>
                    <a:pt x="14" y="0"/>
                    <a:pt x="0" y="8"/>
                    <a:pt x="8" y="12"/>
                  </a:cubicBezTo>
                  <a:close/>
                </a:path>
              </a:pathLst>
            </a:custGeom>
            <a:solidFill>
              <a:srgbClr val="6A90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87" name="Freeform 260"/>
            <p:cNvSpPr/>
            <p:nvPr userDrawn="1"/>
          </p:nvSpPr>
          <p:spPr bwMode="auto">
            <a:xfrm>
              <a:off x="7092156" y="2165350"/>
              <a:ext cx="65088" cy="69850"/>
            </a:xfrm>
            <a:custGeom>
              <a:avLst/>
              <a:gdLst>
                <a:gd name="T0" fmla="*/ 12 w 24"/>
                <a:gd name="T1" fmla="*/ 18 h 26"/>
                <a:gd name="T2" fmla="*/ 24 w 24"/>
                <a:gd name="T3" fmla="*/ 0 h 26"/>
                <a:gd name="T4" fmla="*/ 12 w 24"/>
                <a:gd name="T5" fmla="*/ 18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26">
                  <a:moveTo>
                    <a:pt x="12" y="18"/>
                  </a:moveTo>
                  <a:cubicBezTo>
                    <a:pt x="24" y="26"/>
                    <a:pt x="24" y="0"/>
                    <a:pt x="24" y="0"/>
                  </a:cubicBezTo>
                  <a:cubicBezTo>
                    <a:pt x="24" y="0"/>
                    <a:pt x="0" y="10"/>
                    <a:pt x="12" y="18"/>
                  </a:cubicBezTo>
                  <a:close/>
                </a:path>
              </a:pathLst>
            </a:custGeom>
            <a:solidFill>
              <a:srgbClr val="6A90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88" name="Freeform 261"/>
            <p:cNvSpPr/>
            <p:nvPr userDrawn="1"/>
          </p:nvSpPr>
          <p:spPr bwMode="auto">
            <a:xfrm>
              <a:off x="7477918" y="2371725"/>
              <a:ext cx="441325" cy="119063"/>
            </a:xfrm>
            <a:custGeom>
              <a:avLst/>
              <a:gdLst>
                <a:gd name="T0" fmla="*/ 273 w 278"/>
                <a:gd name="T1" fmla="*/ 75 h 75"/>
                <a:gd name="T2" fmla="*/ 0 w 278"/>
                <a:gd name="T3" fmla="*/ 31 h 75"/>
                <a:gd name="T4" fmla="*/ 5 w 278"/>
                <a:gd name="T5" fmla="*/ 0 h 75"/>
                <a:gd name="T6" fmla="*/ 278 w 278"/>
                <a:gd name="T7" fmla="*/ 45 h 75"/>
                <a:gd name="T8" fmla="*/ 273 w 278"/>
                <a:gd name="T9" fmla="*/ 7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8" h="75">
                  <a:moveTo>
                    <a:pt x="273" y="75"/>
                  </a:moveTo>
                  <a:lnTo>
                    <a:pt x="0" y="31"/>
                  </a:lnTo>
                  <a:lnTo>
                    <a:pt x="5" y="0"/>
                  </a:lnTo>
                  <a:lnTo>
                    <a:pt x="278" y="45"/>
                  </a:lnTo>
                  <a:lnTo>
                    <a:pt x="273" y="75"/>
                  </a:lnTo>
                  <a:close/>
                </a:path>
              </a:pathLst>
            </a:custGeom>
            <a:solidFill>
              <a:srgbClr val="2424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89" name="Freeform 262"/>
            <p:cNvSpPr/>
            <p:nvPr userDrawn="1"/>
          </p:nvSpPr>
          <p:spPr bwMode="auto">
            <a:xfrm>
              <a:off x="7543006" y="2222500"/>
              <a:ext cx="280988" cy="130175"/>
            </a:xfrm>
            <a:custGeom>
              <a:avLst/>
              <a:gdLst>
                <a:gd name="T0" fmla="*/ 0 w 103"/>
                <a:gd name="T1" fmla="*/ 31 h 48"/>
                <a:gd name="T2" fmla="*/ 103 w 103"/>
                <a:gd name="T3" fmla="*/ 48 h 48"/>
                <a:gd name="T4" fmla="*/ 59 w 103"/>
                <a:gd name="T5" fmla="*/ 6 h 48"/>
                <a:gd name="T6" fmla="*/ 0 w 103"/>
                <a:gd name="T7" fmla="*/ 31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3" h="48">
                  <a:moveTo>
                    <a:pt x="0" y="31"/>
                  </a:moveTo>
                  <a:cubicBezTo>
                    <a:pt x="103" y="48"/>
                    <a:pt x="103" y="48"/>
                    <a:pt x="103" y="48"/>
                  </a:cubicBezTo>
                  <a:cubicBezTo>
                    <a:pt x="103" y="48"/>
                    <a:pt x="95" y="12"/>
                    <a:pt x="59" y="6"/>
                  </a:cubicBezTo>
                  <a:cubicBezTo>
                    <a:pt x="23" y="0"/>
                    <a:pt x="0" y="31"/>
                    <a:pt x="0" y="31"/>
                  </a:cubicBezTo>
                  <a:close/>
                </a:path>
              </a:pathLst>
            </a:custGeom>
            <a:solidFill>
              <a:srgbClr val="77A7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90" name="Freeform 263"/>
            <p:cNvSpPr>
              <a:spLocks noEditPoints="1"/>
            </p:cNvSpPr>
            <p:nvPr userDrawn="1"/>
          </p:nvSpPr>
          <p:spPr bwMode="auto">
            <a:xfrm>
              <a:off x="7447756" y="2222500"/>
              <a:ext cx="487363" cy="285750"/>
            </a:xfrm>
            <a:custGeom>
              <a:avLst/>
              <a:gdLst>
                <a:gd name="T0" fmla="*/ 142 w 179"/>
                <a:gd name="T1" fmla="*/ 47 h 105"/>
                <a:gd name="T2" fmla="*/ 94 w 179"/>
                <a:gd name="T3" fmla="*/ 5 h 105"/>
                <a:gd name="T4" fmla="*/ 29 w 179"/>
                <a:gd name="T5" fmla="*/ 35 h 105"/>
                <a:gd name="T6" fmla="*/ 0 w 179"/>
                <a:gd name="T7" fmla="*/ 76 h 105"/>
                <a:gd name="T8" fmla="*/ 11 w 179"/>
                <a:gd name="T9" fmla="*/ 78 h 105"/>
                <a:gd name="T10" fmla="*/ 13 w 179"/>
                <a:gd name="T11" fmla="*/ 78 h 105"/>
                <a:gd name="T12" fmla="*/ 35 w 179"/>
                <a:gd name="T13" fmla="*/ 62 h 105"/>
                <a:gd name="T14" fmla="*/ 52 w 179"/>
                <a:gd name="T15" fmla="*/ 84 h 105"/>
                <a:gd name="T16" fmla="*/ 82 w 179"/>
                <a:gd name="T17" fmla="*/ 90 h 105"/>
                <a:gd name="T18" fmla="*/ 93 w 179"/>
                <a:gd name="T19" fmla="*/ 91 h 105"/>
                <a:gd name="T20" fmla="*/ 128 w 179"/>
                <a:gd name="T21" fmla="*/ 97 h 105"/>
                <a:gd name="T22" fmla="*/ 151 w 179"/>
                <a:gd name="T23" fmla="*/ 81 h 105"/>
                <a:gd name="T24" fmla="*/ 167 w 179"/>
                <a:gd name="T25" fmla="*/ 104 h 105"/>
                <a:gd name="T26" fmla="*/ 175 w 179"/>
                <a:gd name="T27" fmla="*/ 105 h 105"/>
                <a:gd name="T28" fmla="*/ 142 w 179"/>
                <a:gd name="T29" fmla="*/ 47 h 105"/>
                <a:gd name="T30" fmla="*/ 86 w 179"/>
                <a:gd name="T31" fmla="*/ 38 h 105"/>
                <a:gd name="T32" fmla="*/ 41 w 179"/>
                <a:gd name="T33" fmla="*/ 31 h 105"/>
                <a:gd name="T34" fmla="*/ 91 w 179"/>
                <a:gd name="T35" fmla="*/ 10 h 105"/>
                <a:gd name="T36" fmla="*/ 92 w 179"/>
                <a:gd name="T37" fmla="*/ 7 h 105"/>
                <a:gd name="T38" fmla="*/ 86 w 179"/>
                <a:gd name="T39" fmla="*/ 38 h 105"/>
                <a:gd name="T40" fmla="*/ 92 w 179"/>
                <a:gd name="T41" fmla="*/ 39 h 105"/>
                <a:gd name="T42" fmla="*/ 97 w 179"/>
                <a:gd name="T43" fmla="*/ 11 h 105"/>
                <a:gd name="T44" fmla="*/ 135 w 179"/>
                <a:gd name="T45" fmla="*/ 46 h 105"/>
                <a:gd name="T46" fmla="*/ 92 w 179"/>
                <a:gd name="T47" fmla="*/ 39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9" h="105">
                  <a:moveTo>
                    <a:pt x="142" y="47"/>
                  </a:moveTo>
                  <a:cubicBezTo>
                    <a:pt x="133" y="25"/>
                    <a:pt x="116" y="8"/>
                    <a:pt x="94" y="5"/>
                  </a:cubicBezTo>
                  <a:cubicBezTo>
                    <a:pt x="69" y="0"/>
                    <a:pt x="45" y="13"/>
                    <a:pt x="29" y="35"/>
                  </a:cubicBezTo>
                  <a:cubicBezTo>
                    <a:pt x="8" y="32"/>
                    <a:pt x="4" y="57"/>
                    <a:pt x="0" y="76"/>
                  </a:cubicBezTo>
                  <a:cubicBezTo>
                    <a:pt x="11" y="78"/>
                    <a:pt x="11" y="78"/>
                    <a:pt x="11" y="78"/>
                  </a:cubicBezTo>
                  <a:cubicBezTo>
                    <a:pt x="13" y="78"/>
                    <a:pt x="13" y="78"/>
                    <a:pt x="13" y="78"/>
                  </a:cubicBezTo>
                  <a:cubicBezTo>
                    <a:pt x="15" y="67"/>
                    <a:pt x="25" y="60"/>
                    <a:pt x="35" y="62"/>
                  </a:cubicBezTo>
                  <a:cubicBezTo>
                    <a:pt x="46" y="64"/>
                    <a:pt x="53" y="74"/>
                    <a:pt x="52" y="84"/>
                  </a:cubicBezTo>
                  <a:cubicBezTo>
                    <a:pt x="82" y="90"/>
                    <a:pt x="82" y="90"/>
                    <a:pt x="82" y="90"/>
                  </a:cubicBezTo>
                  <a:cubicBezTo>
                    <a:pt x="93" y="91"/>
                    <a:pt x="93" y="91"/>
                    <a:pt x="93" y="91"/>
                  </a:cubicBezTo>
                  <a:cubicBezTo>
                    <a:pt x="128" y="97"/>
                    <a:pt x="128" y="97"/>
                    <a:pt x="128" y="97"/>
                  </a:cubicBezTo>
                  <a:cubicBezTo>
                    <a:pt x="130" y="86"/>
                    <a:pt x="140" y="79"/>
                    <a:pt x="151" y="81"/>
                  </a:cubicBezTo>
                  <a:cubicBezTo>
                    <a:pt x="161" y="83"/>
                    <a:pt x="169" y="93"/>
                    <a:pt x="167" y="104"/>
                  </a:cubicBezTo>
                  <a:cubicBezTo>
                    <a:pt x="175" y="105"/>
                    <a:pt x="175" y="105"/>
                    <a:pt x="175" y="105"/>
                  </a:cubicBezTo>
                  <a:cubicBezTo>
                    <a:pt x="179" y="77"/>
                    <a:pt x="173" y="52"/>
                    <a:pt x="142" y="47"/>
                  </a:cubicBezTo>
                  <a:close/>
                  <a:moveTo>
                    <a:pt x="86" y="38"/>
                  </a:moveTo>
                  <a:cubicBezTo>
                    <a:pt x="41" y="31"/>
                    <a:pt x="41" y="31"/>
                    <a:pt x="41" y="31"/>
                  </a:cubicBezTo>
                  <a:cubicBezTo>
                    <a:pt x="46" y="23"/>
                    <a:pt x="67" y="6"/>
                    <a:pt x="91" y="10"/>
                  </a:cubicBezTo>
                  <a:cubicBezTo>
                    <a:pt x="92" y="7"/>
                    <a:pt x="92" y="7"/>
                    <a:pt x="92" y="7"/>
                  </a:cubicBezTo>
                  <a:lnTo>
                    <a:pt x="86" y="38"/>
                  </a:lnTo>
                  <a:close/>
                  <a:moveTo>
                    <a:pt x="92" y="39"/>
                  </a:moveTo>
                  <a:cubicBezTo>
                    <a:pt x="97" y="11"/>
                    <a:pt x="97" y="11"/>
                    <a:pt x="97" y="11"/>
                  </a:cubicBezTo>
                  <a:cubicBezTo>
                    <a:pt x="120" y="17"/>
                    <a:pt x="132" y="33"/>
                    <a:pt x="135" y="46"/>
                  </a:cubicBezTo>
                  <a:lnTo>
                    <a:pt x="92" y="39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91" name="Freeform 264"/>
            <p:cNvSpPr/>
            <p:nvPr userDrawn="1"/>
          </p:nvSpPr>
          <p:spPr bwMode="auto">
            <a:xfrm>
              <a:off x="7847806" y="2520950"/>
              <a:ext cx="103188" cy="103188"/>
            </a:xfrm>
            <a:custGeom>
              <a:avLst/>
              <a:gdLst>
                <a:gd name="T0" fmla="*/ 36 w 38"/>
                <a:gd name="T1" fmla="*/ 22 h 38"/>
                <a:gd name="T2" fmla="*/ 16 w 38"/>
                <a:gd name="T3" fmla="*/ 36 h 38"/>
                <a:gd name="T4" fmla="*/ 2 w 38"/>
                <a:gd name="T5" fmla="*/ 16 h 38"/>
                <a:gd name="T6" fmla="*/ 22 w 38"/>
                <a:gd name="T7" fmla="*/ 1 h 38"/>
                <a:gd name="T8" fmla="*/ 36 w 38"/>
                <a:gd name="T9" fmla="*/ 22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8">
                  <a:moveTo>
                    <a:pt x="36" y="22"/>
                  </a:moveTo>
                  <a:cubicBezTo>
                    <a:pt x="35" y="31"/>
                    <a:pt x="26" y="38"/>
                    <a:pt x="16" y="36"/>
                  </a:cubicBezTo>
                  <a:cubicBezTo>
                    <a:pt x="7" y="34"/>
                    <a:pt x="0" y="25"/>
                    <a:pt x="2" y="16"/>
                  </a:cubicBezTo>
                  <a:cubicBezTo>
                    <a:pt x="3" y="6"/>
                    <a:pt x="12" y="0"/>
                    <a:pt x="22" y="1"/>
                  </a:cubicBezTo>
                  <a:cubicBezTo>
                    <a:pt x="32" y="3"/>
                    <a:pt x="38" y="12"/>
                    <a:pt x="36" y="22"/>
                  </a:cubicBezTo>
                  <a:close/>
                </a:path>
              </a:pathLst>
            </a:custGeom>
            <a:solidFill>
              <a:srgbClr val="4040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92" name="Freeform 265"/>
            <p:cNvSpPr/>
            <p:nvPr userDrawn="1"/>
          </p:nvSpPr>
          <p:spPr bwMode="auto">
            <a:xfrm>
              <a:off x="7863681" y="2538413"/>
              <a:ext cx="71438" cy="69850"/>
            </a:xfrm>
            <a:custGeom>
              <a:avLst/>
              <a:gdLst>
                <a:gd name="T0" fmla="*/ 25 w 26"/>
                <a:gd name="T1" fmla="*/ 15 h 26"/>
                <a:gd name="T2" fmla="*/ 11 w 26"/>
                <a:gd name="T3" fmla="*/ 25 h 26"/>
                <a:gd name="T4" fmla="*/ 1 w 26"/>
                <a:gd name="T5" fmla="*/ 11 h 26"/>
                <a:gd name="T6" fmla="*/ 15 w 26"/>
                <a:gd name="T7" fmla="*/ 1 h 26"/>
                <a:gd name="T8" fmla="*/ 25 w 26"/>
                <a:gd name="T9" fmla="*/ 1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26">
                  <a:moveTo>
                    <a:pt x="25" y="15"/>
                  </a:moveTo>
                  <a:cubicBezTo>
                    <a:pt x="24" y="21"/>
                    <a:pt x="18" y="26"/>
                    <a:pt x="11" y="25"/>
                  </a:cubicBezTo>
                  <a:cubicBezTo>
                    <a:pt x="5" y="23"/>
                    <a:pt x="0" y="17"/>
                    <a:pt x="1" y="11"/>
                  </a:cubicBezTo>
                  <a:cubicBezTo>
                    <a:pt x="2" y="4"/>
                    <a:pt x="9" y="0"/>
                    <a:pt x="15" y="1"/>
                  </a:cubicBezTo>
                  <a:cubicBezTo>
                    <a:pt x="22" y="2"/>
                    <a:pt x="26" y="8"/>
                    <a:pt x="25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93" name="Freeform 266"/>
            <p:cNvSpPr/>
            <p:nvPr userDrawn="1"/>
          </p:nvSpPr>
          <p:spPr bwMode="auto">
            <a:xfrm>
              <a:off x="7877968" y="2547938"/>
              <a:ext cx="46038" cy="47625"/>
            </a:xfrm>
            <a:custGeom>
              <a:avLst/>
              <a:gdLst>
                <a:gd name="T0" fmla="*/ 16 w 17"/>
                <a:gd name="T1" fmla="*/ 10 h 17"/>
                <a:gd name="T2" fmla="*/ 7 w 17"/>
                <a:gd name="T3" fmla="*/ 16 h 17"/>
                <a:gd name="T4" fmla="*/ 0 w 17"/>
                <a:gd name="T5" fmla="*/ 7 h 17"/>
                <a:gd name="T6" fmla="*/ 9 w 17"/>
                <a:gd name="T7" fmla="*/ 1 h 17"/>
                <a:gd name="T8" fmla="*/ 16 w 17"/>
                <a:gd name="T9" fmla="*/ 1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7">
                  <a:moveTo>
                    <a:pt x="16" y="10"/>
                  </a:moveTo>
                  <a:cubicBezTo>
                    <a:pt x="15" y="14"/>
                    <a:pt x="11" y="17"/>
                    <a:pt x="7" y="16"/>
                  </a:cubicBezTo>
                  <a:cubicBezTo>
                    <a:pt x="3" y="16"/>
                    <a:pt x="0" y="12"/>
                    <a:pt x="0" y="7"/>
                  </a:cubicBezTo>
                  <a:cubicBezTo>
                    <a:pt x="1" y="3"/>
                    <a:pt x="5" y="0"/>
                    <a:pt x="9" y="1"/>
                  </a:cubicBezTo>
                  <a:cubicBezTo>
                    <a:pt x="14" y="2"/>
                    <a:pt x="17" y="6"/>
                    <a:pt x="16" y="10"/>
                  </a:cubicBezTo>
                  <a:close/>
                </a:path>
              </a:pathLst>
            </a:custGeom>
            <a:solidFill>
              <a:srgbClr val="6969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94" name="Freeform 267"/>
            <p:cNvSpPr/>
            <p:nvPr userDrawn="1"/>
          </p:nvSpPr>
          <p:spPr bwMode="auto">
            <a:xfrm>
              <a:off x="7485856" y="2390775"/>
              <a:ext cx="101600" cy="103188"/>
            </a:xfrm>
            <a:custGeom>
              <a:avLst/>
              <a:gdLst>
                <a:gd name="T0" fmla="*/ 36 w 37"/>
                <a:gd name="T1" fmla="*/ 22 h 38"/>
                <a:gd name="T2" fmla="*/ 16 w 37"/>
                <a:gd name="T3" fmla="*/ 37 h 38"/>
                <a:gd name="T4" fmla="*/ 1 w 37"/>
                <a:gd name="T5" fmla="*/ 16 h 38"/>
                <a:gd name="T6" fmla="*/ 21 w 37"/>
                <a:gd name="T7" fmla="*/ 2 h 38"/>
                <a:gd name="T8" fmla="*/ 36 w 37"/>
                <a:gd name="T9" fmla="*/ 22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38">
                  <a:moveTo>
                    <a:pt x="36" y="22"/>
                  </a:moveTo>
                  <a:cubicBezTo>
                    <a:pt x="34" y="32"/>
                    <a:pt x="25" y="38"/>
                    <a:pt x="16" y="37"/>
                  </a:cubicBezTo>
                  <a:cubicBezTo>
                    <a:pt x="6" y="35"/>
                    <a:pt x="0" y="26"/>
                    <a:pt x="1" y="16"/>
                  </a:cubicBezTo>
                  <a:cubicBezTo>
                    <a:pt x="3" y="7"/>
                    <a:pt x="12" y="0"/>
                    <a:pt x="21" y="2"/>
                  </a:cubicBezTo>
                  <a:cubicBezTo>
                    <a:pt x="31" y="4"/>
                    <a:pt x="37" y="13"/>
                    <a:pt x="36" y="22"/>
                  </a:cubicBezTo>
                  <a:close/>
                </a:path>
              </a:pathLst>
            </a:custGeom>
            <a:solidFill>
              <a:srgbClr val="4040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95" name="Freeform 268"/>
            <p:cNvSpPr/>
            <p:nvPr userDrawn="1"/>
          </p:nvSpPr>
          <p:spPr bwMode="auto">
            <a:xfrm>
              <a:off x="7500143" y="2406650"/>
              <a:ext cx="69850" cy="71438"/>
            </a:xfrm>
            <a:custGeom>
              <a:avLst/>
              <a:gdLst>
                <a:gd name="T0" fmla="*/ 25 w 26"/>
                <a:gd name="T1" fmla="*/ 15 h 26"/>
                <a:gd name="T2" fmla="*/ 11 w 26"/>
                <a:gd name="T3" fmla="*/ 25 h 26"/>
                <a:gd name="T4" fmla="*/ 2 w 26"/>
                <a:gd name="T5" fmla="*/ 11 h 26"/>
                <a:gd name="T6" fmla="*/ 15 w 26"/>
                <a:gd name="T7" fmla="*/ 1 h 26"/>
                <a:gd name="T8" fmla="*/ 25 w 26"/>
                <a:gd name="T9" fmla="*/ 1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26">
                  <a:moveTo>
                    <a:pt x="25" y="15"/>
                  </a:moveTo>
                  <a:cubicBezTo>
                    <a:pt x="24" y="22"/>
                    <a:pt x="18" y="26"/>
                    <a:pt x="11" y="25"/>
                  </a:cubicBezTo>
                  <a:cubicBezTo>
                    <a:pt x="5" y="24"/>
                    <a:pt x="0" y="18"/>
                    <a:pt x="2" y="11"/>
                  </a:cubicBezTo>
                  <a:cubicBezTo>
                    <a:pt x="3" y="5"/>
                    <a:pt x="9" y="0"/>
                    <a:pt x="15" y="1"/>
                  </a:cubicBezTo>
                  <a:cubicBezTo>
                    <a:pt x="22" y="2"/>
                    <a:pt x="26" y="9"/>
                    <a:pt x="25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96" name="Freeform 269"/>
            <p:cNvSpPr/>
            <p:nvPr userDrawn="1"/>
          </p:nvSpPr>
          <p:spPr bwMode="auto">
            <a:xfrm>
              <a:off x="7512843" y="2420938"/>
              <a:ext cx="47625" cy="46038"/>
            </a:xfrm>
            <a:custGeom>
              <a:avLst/>
              <a:gdLst>
                <a:gd name="T0" fmla="*/ 16 w 17"/>
                <a:gd name="T1" fmla="*/ 10 h 17"/>
                <a:gd name="T2" fmla="*/ 7 w 17"/>
                <a:gd name="T3" fmla="*/ 16 h 17"/>
                <a:gd name="T4" fmla="*/ 1 w 17"/>
                <a:gd name="T5" fmla="*/ 7 h 17"/>
                <a:gd name="T6" fmla="*/ 10 w 17"/>
                <a:gd name="T7" fmla="*/ 0 h 17"/>
                <a:gd name="T8" fmla="*/ 16 w 17"/>
                <a:gd name="T9" fmla="*/ 1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7">
                  <a:moveTo>
                    <a:pt x="16" y="10"/>
                  </a:moveTo>
                  <a:cubicBezTo>
                    <a:pt x="16" y="14"/>
                    <a:pt x="11" y="17"/>
                    <a:pt x="7" y="16"/>
                  </a:cubicBezTo>
                  <a:cubicBezTo>
                    <a:pt x="3" y="15"/>
                    <a:pt x="0" y="11"/>
                    <a:pt x="1" y="7"/>
                  </a:cubicBezTo>
                  <a:cubicBezTo>
                    <a:pt x="1" y="3"/>
                    <a:pt x="5" y="0"/>
                    <a:pt x="10" y="0"/>
                  </a:cubicBezTo>
                  <a:cubicBezTo>
                    <a:pt x="14" y="1"/>
                    <a:pt x="17" y="5"/>
                    <a:pt x="16" y="10"/>
                  </a:cubicBezTo>
                  <a:close/>
                </a:path>
              </a:pathLst>
            </a:custGeom>
            <a:solidFill>
              <a:srgbClr val="6969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97" name="Freeform 270"/>
            <p:cNvSpPr/>
            <p:nvPr userDrawn="1"/>
          </p:nvSpPr>
          <p:spPr bwMode="auto">
            <a:xfrm>
              <a:off x="7877968" y="2398713"/>
              <a:ext cx="23813" cy="44450"/>
            </a:xfrm>
            <a:custGeom>
              <a:avLst/>
              <a:gdLst>
                <a:gd name="T0" fmla="*/ 8 w 9"/>
                <a:gd name="T1" fmla="*/ 7 h 16"/>
                <a:gd name="T2" fmla="*/ 5 w 9"/>
                <a:gd name="T3" fmla="*/ 15 h 16"/>
                <a:gd name="T4" fmla="*/ 0 w 9"/>
                <a:gd name="T5" fmla="*/ 8 h 16"/>
                <a:gd name="T6" fmla="*/ 4 w 9"/>
                <a:gd name="T7" fmla="*/ 0 h 16"/>
                <a:gd name="T8" fmla="*/ 8 w 9"/>
                <a:gd name="T9" fmla="*/ 7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6">
                  <a:moveTo>
                    <a:pt x="8" y="7"/>
                  </a:moveTo>
                  <a:cubicBezTo>
                    <a:pt x="9" y="12"/>
                    <a:pt x="7" y="15"/>
                    <a:pt x="5" y="15"/>
                  </a:cubicBezTo>
                  <a:cubicBezTo>
                    <a:pt x="3" y="16"/>
                    <a:pt x="1" y="12"/>
                    <a:pt x="0" y="8"/>
                  </a:cubicBezTo>
                  <a:cubicBezTo>
                    <a:pt x="0" y="4"/>
                    <a:pt x="1" y="0"/>
                    <a:pt x="4" y="0"/>
                  </a:cubicBezTo>
                  <a:cubicBezTo>
                    <a:pt x="6" y="0"/>
                    <a:pt x="8" y="3"/>
                    <a:pt x="8" y="7"/>
                  </a:cubicBezTo>
                  <a:close/>
                </a:path>
              </a:pathLst>
            </a:custGeom>
            <a:solidFill>
              <a:srgbClr val="FDE3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98" name="Freeform 271"/>
            <p:cNvSpPr/>
            <p:nvPr userDrawn="1"/>
          </p:nvSpPr>
          <p:spPr bwMode="auto">
            <a:xfrm>
              <a:off x="7477918" y="2341563"/>
              <a:ext cx="22225" cy="33338"/>
            </a:xfrm>
            <a:custGeom>
              <a:avLst/>
              <a:gdLst>
                <a:gd name="T0" fmla="*/ 7 w 8"/>
                <a:gd name="T1" fmla="*/ 7 h 12"/>
                <a:gd name="T2" fmla="*/ 2 w 8"/>
                <a:gd name="T3" fmla="*/ 11 h 12"/>
                <a:gd name="T4" fmla="*/ 1 w 8"/>
                <a:gd name="T5" fmla="*/ 5 h 12"/>
                <a:gd name="T6" fmla="*/ 6 w 8"/>
                <a:gd name="T7" fmla="*/ 1 h 12"/>
                <a:gd name="T8" fmla="*/ 7 w 8"/>
                <a:gd name="T9" fmla="*/ 7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2">
                  <a:moveTo>
                    <a:pt x="7" y="7"/>
                  </a:moveTo>
                  <a:cubicBezTo>
                    <a:pt x="5" y="10"/>
                    <a:pt x="3" y="12"/>
                    <a:pt x="2" y="11"/>
                  </a:cubicBezTo>
                  <a:cubicBezTo>
                    <a:pt x="0" y="11"/>
                    <a:pt x="0" y="8"/>
                    <a:pt x="1" y="5"/>
                  </a:cubicBezTo>
                  <a:cubicBezTo>
                    <a:pt x="2" y="2"/>
                    <a:pt x="5" y="0"/>
                    <a:pt x="6" y="1"/>
                  </a:cubicBezTo>
                  <a:cubicBezTo>
                    <a:pt x="8" y="2"/>
                    <a:pt x="8" y="4"/>
                    <a:pt x="7" y="7"/>
                  </a:cubicBezTo>
                  <a:close/>
                </a:path>
              </a:pathLst>
            </a:custGeom>
            <a:solidFill>
              <a:srgbClr val="9628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99" name="Freeform 272"/>
            <p:cNvSpPr/>
            <p:nvPr userDrawn="1"/>
          </p:nvSpPr>
          <p:spPr bwMode="auto">
            <a:xfrm>
              <a:off x="7695406" y="2347913"/>
              <a:ext cx="38100" cy="19050"/>
            </a:xfrm>
            <a:custGeom>
              <a:avLst/>
              <a:gdLst>
                <a:gd name="T0" fmla="*/ 11 w 14"/>
                <a:gd name="T1" fmla="*/ 6 h 7"/>
                <a:gd name="T2" fmla="*/ 3 w 14"/>
                <a:gd name="T3" fmla="*/ 5 h 7"/>
                <a:gd name="T4" fmla="*/ 1 w 14"/>
                <a:gd name="T5" fmla="*/ 2 h 7"/>
                <a:gd name="T6" fmla="*/ 1 w 14"/>
                <a:gd name="T7" fmla="*/ 2 h 7"/>
                <a:gd name="T8" fmla="*/ 4 w 14"/>
                <a:gd name="T9" fmla="*/ 0 h 7"/>
                <a:gd name="T10" fmla="*/ 11 w 14"/>
                <a:gd name="T11" fmla="*/ 2 h 7"/>
                <a:gd name="T12" fmla="*/ 14 w 14"/>
                <a:gd name="T13" fmla="*/ 4 h 7"/>
                <a:gd name="T14" fmla="*/ 14 w 14"/>
                <a:gd name="T15" fmla="*/ 4 h 7"/>
                <a:gd name="T16" fmla="*/ 11 w 14"/>
                <a:gd name="T1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" h="7">
                  <a:moveTo>
                    <a:pt x="11" y="6"/>
                  </a:moveTo>
                  <a:cubicBezTo>
                    <a:pt x="3" y="5"/>
                    <a:pt x="3" y="5"/>
                    <a:pt x="3" y="5"/>
                  </a:cubicBezTo>
                  <a:cubicBezTo>
                    <a:pt x="2" y="5"/>
                    <a:pt x="0" y="4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2" y="0"/>
                    <a:pt x="4" y="0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3" y="2"/>
                    <a:pt x="14" y="3"/>
                    <a:pt x="14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4" y="6"/>
                    <a:pt x="12" y="7"/>
                    <a:pt x="11" y="6"/>
                  </a:cubicBezTo>
                  <a:close/>
                </a:path>
              </a:pathLst>
            </a:custGeom>
            <a:solidFill>
              <a:srgbClr val="4040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00" name="Freeform 273"/>
            <p:cNvSpPr/>
            <p:nvPr userDrawn="1"/>
          </p:nvSpPr>
          <p:spPr bwMode="auto">
            <a:xfrm>
              <a:off x="7752556" y="2482850"/>
              <a:ext cx="34925" cy="65088"/>
            </a:xfrm>
            <a:custGeom>
              <a:avLst/>
              <a:gdLst>
                <a:gd name="T0" fmla="*/ 12 w 22"/>
                <a:gd name="T1" fmla="*/ 41 h 41"/>
                <a:gd name="T2" fmla="*/ 0 w 22"/>
                <a:gd name="T3" fmla="*/ 38 h 41"/>
                <a:gd name="T4" fmla="*/ 10 w 22"/>
                <a:gd name="T5" fmla="*/ 0 h 41"/>
                <a:gd name="T6" fmla="*/ 22 w 22"/>
                <a:gd name="T7" fmla="*/ 2 h 41"/>
                <a:gd name="T8" fmla="*/ 12 w 22"/>
                <a:gd name="T9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41">
                  <a:moveTo>
                    <a:pt x="12" y="41"/>
                  </a:moveTo>
                  <a:lnTo>
                    <a:pt x="0" y="38"/>
                  </a:lnTo>
                  <a:lnTo>
                    <a:pt x="10" y="0"/>
                  </a:lnTo>
                  <a:lnTo>
                    <a:pt x="22" y="2"/>
                  </a:lnTo>
                  <a:lnTo>
                    <a:pt x="12" y="41"/>
                  </a:lnTo>
                  <a:close/>
                </a:path>
              </a:pathLst>
            </a:custGeom>
            <a:solidFill>
              <a:srgbClr val="6969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01" name="Freeform 274"/>
            <p:cNvSpPr/>
            <p:nvPr userDrawn="1"/>
          </p:nvSpPr>
          <p:spPr bwMode="auto">
            <a:xfrm>
              <a:off x="7733506" y="2538413"/>
              <a:ext cx="53975" cy="23813"/>
            </a:xfrm>
            <a:custGeom>
              <a:avLst/>
              <a:gdLst>
                <a:gd name="T0" fmla="*/ 33 w 34"/>
                <a:gd name="T1" fmla="*/ 15 h 15"/>
                <a:gd name="T2" fmla="*/ 0 w 34"/>
                <a:gd name="T3" fmla="*/ 6 h 15"/>
                <a:gd name="T4" fmla="*/ 2 w 34"/>
                <a:gd name="T5" fmla="*/ 0 h 15"/>
                <a:gd name="T6" fmla="*/ 34 w 34"/>
                <a:gd name="T7" fmla="*/ 8 h 15"/>
                <a:gd name="T8" fmla="*/ 33 w 34"/>
                <a:gd name="T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5">
                  <a:moveTo>
                    <a:pt x="33" y="15"/>
                  </a:moveTo>
                  <a:lnTo>
                    <a:pt x="0" y="6"/>
                  </a:lnTo>
                  <a:lnTo>
                    <a:pt x="2" y="0"/>
                  </a:lnTo>
                  <a:lnTo>
                    <a:pt x="34" y="8"/>
                  </a:lnTo>
                  <a:lnTo>
                    <a:pt x="33" y="15"/>
                  </a:lnTo>
                  <a:close/>
                </a:path>
              </a:pathLst>
            </a:custGeom>
            <a:solidFill>
              <a:srgbClr val="4242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02" name="Freeform 275"/>
            <p:cNvSpPr/>
            <p:nvPr userDrawn="1"/>
          </p:nvSpPr>
          <p:spPr bwMode="auto">
            <a:xfrm>
              <a:off x="7312818" y="2360613"/>
              <a:ext cx="228600" cy="212725"/>
            </a:xfrm>
            <a:custGeom>
              <a:avLst/>
              <a:gdLst>
                <a:gd name="T0" fmla="*/ 84 w 84"/>
                <a:gd name="T1" fmla="*/ 22 h 78"/>
                <a:gd name="T2" fmla="*/ 54 w 84"/>
                <a:gd name="T3" fmla="*/ 5 h 78"/>
                <a:gd name="T4" fmla="*/ 20 w 84"/>
                <a:gd name="T5" fmla="*/ 5 h 78"/>
                <a:gd name="T6" fmla="*/ 34 w 84"/>
                <a:gd name="T7" fmla="*/ 78 h 78"/>
                <a:gd name="T8" fmla="*/ 84 w 84"/>
                <a:gd name="T9" fmla="*/ 22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4" h="78">
                  <a:moveTo>
                    <a:pt x="84" y="22"/>
                  </a:moveTo>
                  <a:cubicBezTo>
                    <a:pt x="84" y="22"/>
                    <a:pt x="75" y="11"/>
                    <a:pt x="54" y="5"/>
                  </a:cubicBezTo>
                  <a:cubicBezTo>
                    <a:pt x="34" y="0"/>
                    <a:pt x="20" y="5"/>
                    <a:pt x="20" y="5"/>
                  </a:cubicBezTo>
                  <a:cubicBezTo>
                    <a:pt x="20" y="5"/>
                    <a:pt x="0" y="47"/>
                    <a:pt x="34" y="78"/>
                  </a:cubicBezTo>
                  <a:cubicBezTo>
                    <a:pt x="79" y="70"/>
                    <a:pt x="84" y="22"/>
                    <a:pt x="84" y="22"/>
                  </a:cubicBezTo>
                  <a:close/>
                </a:path>
              </a:pathLst>
            </a:custGeom>
            <a:solidFill>
              <a:srgbClr val="71AB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03" name="Freeform 276"/>
            <p:cNvSpPr/>
            <p:nvPr userDrawn="1"/>
          </p:nvSpPr>
          <p:spPr bwMode="auto">
            <a:xfrm>
              <a:off x="7320756" y="2368550"/>
              <a:ext cx="211138" cy="196850"/>
            </a:xfrm>
            <a:custGeom>
              <a:avLst/>
              <a:gdLst>
                <a:gd name="T0" fmla="*/ 78 w 78"/>
                <a:gd name="T1" fmla="*/ 21 h 72"/>
                <a:gd name="T2" fmla="*/ 51 w 78"/>
                <a:gd name="T3" fmla="*/ 6 h 72"/>
                <a:gd name="T4" fmla="*/ 19 w 78"/>
                <a:gd name="T5" fmla="*/ 5 h 72"/>
                <a:gd name="T6" fmla="*/ 32 w 78"/>
                <a:gd name="T7" fmla="*/ 72 h 72"/>
                <a:gd name="T8" fmla="*/ 78 w 78"/>
                <a:gd name="T9" fmla="*/ 21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" h="72">
                  <a:moveTo>
                    <a:pt x="78" y="21"/>
                  </a:moveTo>
                  <a:cubicBezTo>
                    <a:pt x="78" y="21"/>
                    <a:pt x="69" y="11"/>
                    <a:pt x="51" y="6"/>
                  </a:cubicBezTo>
                  <a:cubicBezTo>
                    <a:pt x="32" y="0"/>
                    <a:pt x="19" y="5"/>
                    <a:pt x="19" y="5"/>
                  </a:cubicBezTo>
                  <a:cubicBezTo>
                    <a:pt x="19" y="5"/>
                    <a:pt x="0" y="44"/>
                    <a:pt x="32" y="72"/>
                  </a:cubicBezTo>
                  <a:cubicBezTo>
                    <a:pt x="73" y="64"/>
                    <a:pt x="78" y="21"/>
                    <a:pt x="78" y="2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04" name="Freeform 277"/>
            <p:cNvSpPr/>
            <p:nvPr userDrawn="1"/>
          </p:nvSpPr>
          <p:spPr bwMode="auto">
            <a:xfrm>
              <a:off x="7331868" y="2378075"/>
              <a:ext cx="192088" cy="179388"/>
            </a:xfrm>
            <a:custGeom>
              <a:avLst/>
              <a:gdLst>
                <a:gd name="T0" fmla="*/ 71 w 71"/>
                <a:gd name="T1" fmla="*/ 20 h 66"/>
                <a:gd name="T2" fmla="*/ 46 w 71"/>
                <a:gd name="T3" fmla="*/ 5 h 66"/>
                <a:gd name="T4" fmla="*/ 17 w 71"/>
                <a:gd name="T5" fmla="*/ 5 h 66"/>
                <a:gd name="T6" fmla="*/ 29 w 71"/>
                <a:gd name="T7" fmla="*/ 66 h 66"/>
                <a:gd name="T8" fmla="*/ 71 w 71"/>
                <a:gd name="T9" fmla="*/ 2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1" h="66">
                  <a:moveTo>
                    <a:pt x="71" y="20"/>
                  </a:moveTo>
                  <a:cubicBezTo>
                    <a:pt x="71" y="20"/>
                    <a:pt x="63" y="10"/>
                    <a:pt x="46" y="5"/>
                  </a:cubicBezTo>
                  <a:cubicBezTo>
                    <a:pt x="29" y="0"/>
                    <a:pt x="17" y="5"/>
                    <a:pt x="17" y="5"/>
                  </a:cubicBezTo>
                  <a:cubicBezTo>
                    <a:pt x="17" y="5"/>
                    <a:pt x="0" y="41"/>
                    <a:pt x="29" y="66"/>
                  </a:cubicBezTo>
                  <a:cubicBezTo>
                    <a:pt x="67" y="59"/>
                    <a:pt x="71" y="20"/>
                    <a:pt x="71" y="20"/>
                  </a:cubicBezTo>
                  <a:close/>
                </a:path>
              </a:pathLst>
            </a:custGeom>
            <a:solidFill>
              <a:srgbClr val="5B8A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05" name="Freeform 278"/>
            <p:cNvSpPr>
              <a:spLocks noEditPoints="1"/>
            </p:cNvSpPr>
            <p:nvPr userDrawn="1"/>
          </p:nvSpPr>
          <p:spPr bwMode="auto">
            <a:xfrm>
              <a:off x="7390606" y="2416175"/>
              <a:ext cx="90488" cy="92075"/>
            </a:xfrm>
            <a:custGeom>
              <a:avLst/>
              <a:gdLst>
                <a:gd name="T0" fmla="*/ 10 w 33"/>
                <a:gd name="T1" fmla="*/ 33 h 34"/>
                <a:gd name="T2" fmla="*/ 14 w 33"/>
                <a:gd name="T3" fmla="*/ 34 h 34"/>
                <a:gd name="T4" fmla="*/ 16 w 33"/>
                <a:gd name="T5" fmla="*/ 29 h 34"/>
                <a:gd name="T6" fmla="*/ 20 w 33"/>
                <a:gd name="T7" fmla="*/ 28 h 34"/>
                <a:gd name="T8" fmla="*/ 22 w 33"/>
                <a:gd name="T9" fmla="*/ 33 h 34"/>
                <a:gd name="T10" fmla="*/ 27 w 33"/>
                <a:gd name="T11" fmla="*/ 31 h 34"/>
                <a:gd name="T12" fmla="*/ 24 w 33"/>
                <a:gd name="T13" fmla="*/ 26 h 34"/>
                <a:gd name="T14" fmla="*/ 27 w 33"/>
                <a:gd name="T15" fmla="*/ 23 h 34"/>
                <a:gd name="T16" fmla="*/ 32 w 33"/>
                <a:gd name="T17" fmla="*/ 24 h 34"/>
                <a:gd name="T18" fmla="*/ 33 w 33"/>
                <a:gd name="T19" fmla="*/ 19 h 34"/>
                <a:gd name="T20" fmla="*/ 28 w 33"/>
                <a:gd name="T21" fmla="*/ 18 h 34"/>
                <a:gd name="T22" fmla="*/ 28 w 33"/>
                <a:gd name="T23" fmla="*/ 14 h 34"/>
                <a:gd name="T24" fmla="*/ 32 w 33"/>
                <a:gd name="T25" fmla="*/ 11 h 34"/>
                <a:gd name="T26" fmla="*/ 30 w 33"/>
                <a:gd name="T27" fmla="*/ 7 h 34"/>
                <a:gd name="T28" fmla="*/ 25 w 33"/>
                <a:gd name="T29" fmla="*/ 9 h 34"/>
                <a:gd name="T30" fmla="*/ 22 w 33"/>
                <a:gd name="T31" fmla="*/ 7 h 34"/>
                <a:gd name="T32" fmla="*/ 23 w 33"/>
                <a:gd name="T33" fmla="*/ 2 h 34"/>
                <a:gd name="T34" fmla="*/ 18 w 33"/>
                <a:gd name="T35" fmla="*/ 0 h 34"/>
                <a:gd name="T36" fmla="*/ 17 w 33"/>
                <a:gd name="T37" fmla="*/ 6 h 34"/>
                <a:gd name="T38" fmla="*/ 13 w 33"/>
                <a:gd name="T39" fmla="*/ 6 h 34"/>
                <a:gd name="T40" fmla="*/ 11 w 33"/>
                <a:gd name="T41" fmla="*/ 1 h 34"/>
                <a:gd name="T42" fmla="*/ 6 w 33"/>
                <a:gd name="T43" fmla="*/ 4 h 34"/>
                <a:gd name="T44" fmla="*/ 9 w 33"/>
                <a:gd name="T45" fmla="*/ 9 h 34"/>
                <a:gd name="T46" fmla="*/ 6 w 33"/>
                <a:gd name="T47" fmla="*/ 12 h 34"/>
                <a:gd name="T48" fmla="*/ 1 w 33"/>
                <a:gd name="T49" fmla="*/ 10 h 34"/>
                <a:gd name="T50" fmla="*/ 0 w 33"/>
                <a:gd name="T51" fmla="*/ 15 h 34"/>
                <a:gd name="T52" fmla="*/ 5 w 33"/>
                <a:gd name="T53" fmla="*/ 17 h 34"/>
                <a:gd name="T54" fmla="*/ 5 w 33"/>
                <a:gd name="T55" fmla="*/ 21 h 34"/>
                <a:gd name="T56" fmla="*/ 1 w 33"/>
                <a:gd name="T57" fmla="*/ 23 h 34"/>
                <a:gd name="T58" fmla="*/ 3 w 33"/>
                <a:gd name="T59" fmla="*/ 28 h 34"/>
                <a:gd name="T60" fmla="*/ 8 w 33"/>
                <a:gd name="T61" fmla="*/ 25 h 34"/>
                <a:gd name="T62" fmla="*/ 11 w 33"/>
                <a:gd name="T63" fmla="*/ 27 h 34"/>
                <a:gd name="T64" fmla="*/ 10 w 33"/>
                <a:gd name="T65" fmla="*/ 33 h 34"/>
                <a:gd name="T66" fmla="*/ 11 w 33"/>
                <a:gd name="T67" fmla="*/ 17 h 34"/>
                <a:gd name="T68" fmla="*/ 19 w 33"/>
                <a:gd name="T69" fmla="*/ 12 h 34"/>
                <a:gd name="T70" fmla="*/ 22 w 33"/>
                <a:gd name="T71" fmla="*/ 17 h 34"/>
                <a:gd name="T72" fmla="*/ 14 w 33"/>
                <a:gd name="T73" fmla="*/ 22 h 34"/>
                <a:gd name="T74" fmla="*/ 11 w 33"/>
                <a:gd name="T75" fmla="*/ 1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3" h="34">
                  <a:moveTo>
                    <a:pt x="10" y="33"/>
                  </a:moveTo>
                  <a:cubicBezTo>
                    <a:pt x="14" y="34"/>
                    <a:pt x="14" y="34"/>
                    <a:pt x="14" y="34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7" y="29"/>
                    <a:pt x="19" y="29"/>
                    <a:pt x="20" y="28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7" y="31"/>
                    <a:pt x="27" y="31"/>
                    <a:pt x="27" y="31"/>
                  </a:cubicBezTo>
                  <a:cubicBezTo>
                    <a:pt x="24" y="26"/>
                    <a:pt x="24" y="26"/>
                    <a:pt x="24" y="26"/>
                  </a:cubicBezTo>
                  <a:cubicBezTo>
                    <a:pt x="25" y="25"/>
                    <a:pt x="26" y="24"/>
                    <a:pt x="27" y="23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28" y="18"/>
                    <a:pt x="28" y="18"/>
                    <a:pt x="28" y="18"/>
                  </a:cubicBezTo>
                  <a:cubicBezTo>
                    <a:pt x="28" y="16"/>
                    <a:pt x="28" y="15"/>
                    <a:pt x="28" y="14"/>
                  </a:cubicBezTo>
                  <a:cubicBezTo>
                    <a:pt x="32" y="11"/>
                    <a:pt x="32" y="11"/>
                    <a:pt x="32" y="11"/>
                  </a:cubicBezTo>
                  <a:cubicBezTo>
                    <a:pt x="30" y="7"/>
                    <a:pt x="30" y="7"/>
                    <a:pt x="30" y="7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4" y="9"/>
                    <a:pt x="23" y="8"/>
                    <a:pt x="22" y="7"/>
                  </a:cubicBezTo>
                  <a:cubicBezTo>
                    <a:pt x="23" y="2"/>
                    <a:pt x="23" y="2"/>
                    <a:pt x="23" y="2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6" y="6"/>
                    <a:pt x="14" y="6"/>
                    <a:pt x="13" y="6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10"/>
                    <a:pt x="7" y="11"/>
                    <a:pt x="6" y="12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5" y="18"/>
                    <a:pt x="5" y="19"/>
                    <a:pt x="5" y="21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9" y="26"/>
                    <a:pt x="10" y="27"/>
                    <a:pt x="11" y="27"/>
                  </a:cubicBezTo>
                  <a:lnTo>
                    <a:pt x="10" y="33"/>
                  </a:lnTo>
                  <a:close/>
                  <a:moveTo>
                    <a:pt x="11" y="17"/>
                  </a:moveTo>
                  <a:cubicBezTo>
                    <a:pt x="11" y="13"/>
                    <a:pt x="15" y="10"/>
                    <a:pt x="19" y="12"/>
                  </a:cubicBezTo>
                  <a:cubicBezTo>
                    <a:pt x="21" y="13"/>
                    <a:pt x="22" y="15"/>
                    <a:pt x="22" y="17"/>
                  </a:cubicBezTo>
                  <a:cubicBezTo>
                    <a:pt x="22" y="22"/>
                    <a:pt x="17" y="24"/>
                    <a:pt x="14" y="22"/>
                  </a:cubicBezTo>
                  <a:cubicBezTo>
                    <a:pt x="12" y="21"/>
                    <a:pt x="11" y="19"/>
                    <a:pt x="11" y="1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06" name="Freeform 279"/>
            <p:cNvSpPr/>
            <p:nvPr userDrawn="1"/>
          </p:nvSpPr>
          <p:spPr bwMode="auto">
            <a:xfrm>
              <a:off x="4239418" y="2428875"/>
              <a:ext cx="496888" cy="373063"/>
            </a:xfrm>
            <a:custGeom>
              <a:avLst/>
              <a:gdLst>
                <a:gd name="T0" fmla="*/ 173 w 183"/>
                <a:gd name="T1" fmla="*/ 24 h 137"/>
                <a:gd name="T2" fmla="*/ 106 w 183"/>
                <a:gd name="T3" fmla="*/ 127 h 137"/>
                <a:gd name="T4" fmla="*/ 4 w 183"/>
                <a:gd name="T5" fmla="*/ 61 h 137"/>
                <a:gd name="T6" fmla="*/ 59 w 183"/>
                <a:gd name="T7" fmla="*/ 13 h 137"/>
                <a:gd name="T8" fmla="*/ 61 w 183"/>
                <a:gd name="T9" fmla="*/ 53 h 137"/>
                <a:gd name="T10" fmla="*/ 81 w 183"/>
                <a:gd name="T11" fmla="*/ 45 h 137"/>
                <a:gd name="T12" fmla="*/ 116 w 183"/>
                <a:gd name="T13" fmla="*/ 86 h 137"/>
                <a:gd name="T14" fmla="*/ 102 w 183"/>
                <a:gd name="T15" fmla="*/ 24 h 137"/>
                <a:gd name="T16" fmla="*/ 82 w 183"/>
                <a:gd name="T17" fmla="*/ 17 h 137"/>
                <a:gd name="T18" fmla="*/ 96 w 183"/>
                <a:gd name="T19" fmla="*/ 14 h 137"/>
                <a:gd name="T20" fmla="*/ 104 w 183"/>
                <a:gd name="T21" fmla="*/ 4 h 137"/>
                <a:gd name="T22" fmla="*/ 173 w 183"/>
                <a:gd name="T23" fmla="*/ 24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3" h="137">
                  <a:moveTo>
                    <a:pt x="173" y="24"/>
                  </a:moveTo>
                  <a:cubicBezTo>
                    <a:pt x="183" y="71"/>
                    <a:pt x="153" y="117"/>
                    <a:pt x="106" y="127"/>
                  </a:cubicBezTo>
                  <a:cubicBezTo>
                    <a:pt x="60" y="137"/>
                    <a:pt x="14" y="107"/>
                    <a:pt x="4" y="61"/>
                  </a:cubicBezTo>
                  <a:cubicBezTo>
                    <a:pt x="0" y="41"/>
                    <a:pt x="26" y="24"/>
                    <a:pt x="59" y="13"/>
                  </a:cubicBezTo>
                  <a:cubicBezTo>
                    <a:pt x="61" y="53"/>
                    <a:pt x="61" y="53"/>
                    <a:pt x="61" y="53"/>
                  </a:cubicBezTo>
                  <a:cubicBezTo>
                    <a:pt x="81" y="45"/>
                    <a:pt x="81" y="45"/>
                    <a:pt x="81" y="45"/>
                  </a:cubicBezTo>
                  <a:cubicBezTo>
                    <a:pt x="116" y="86"/>
                    <a:pt x="116" y="86"/>
                    <a:pt x="116" y="86"/>
                  </a:cubicBezTo>
                  <a:cubicBezTo>
                    <a:pt x="102" y="24"/>
                    <a:pt x="102" y="24"/>
                    <a:pt x="102" y="24"/>
                  </a:cubicBezTo>
                  <a:cubicBezTo>
                    <a:pt x="82" y="17"/>
                    <a:pt x="82" y="17"/>
                    <a:pt x="82" y="17"/>
                  </a:cubicBezTo>
                  <a:cubicBezTo>
                    <a:pt x="96" y="14"/>
                    <a:pt x="96" y="14"/>
                    <a:pt x="96" y="14"/>
                  </a:cubicBezTo>
                  <a:cubicBezTo>
                    <a:pt x="104" y="4"/>
                    <a:pt x="104" y="4"/>
                    <a:pt x="104" y="4"/>
                  </a:cubicBezTo>
                  <a:cubicBezTo>
                    <a:pt x="138" y="0"/>
                    <a:pt x="169" y="5"/>
                    <a:pt x="173" y="24"/>
                  </a:cubicBezTo>
                  <a:close/>
                </a:path>
              </a:pathLst>
            </a:custGeom>
            <a:solidFill>
              <a:srgbClr val="7955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07" name="Freeform 280"/>
            <p:cNvSpPr/>
            <p:nvPr userDrawn="1"/>
          </p:nvSpPr>
          <p:spPr bwMode="auto">
            <a:xfrm>
              <a:off x="4242593" y="2459038"/>
              <a:ext cx="173038" cy="144463"/>
            </a:xfrm>
            <a:custGeom>
              <a:avLst/>
              <a:gdLst>
                <a:gd name="T0" fmla="*/ 56 w 64"/>
                <a:gd name="T1" fmla="*/ 0 h 53"/>
                <a:gd name="T2" fmla="*/ 0 w 64"/>
                <a:gd name="T3" fmla="*/ 44 h 53"/>
                <a:gd name="T4" fmla="*/ 6 w 64"/>
                <a:gd name="T5" fmla="*/ 53 h 53"/>
                <a:gd name="T6" fmla="*/ 10 w 64"/>
                <a:gd name="T7" fmla="*/ 48 h 53"/>
                <a:gd name="T8" fmla="*/ 13 w 64"/>
                <a:gd name="T9" fmla="*/ 50 h 53"/>
                <a:gd name="T10" fmla="*/ 17 w 64"/>
                <a:gd name="T11" fmla="*/ 42 h 53"/>
                <a:gd name="T12" fmla="*/ 20 w 64"/>
                <a:gd name="T13" fmla="*/ 45 h 53"/>
                <a:gd name="T14" fmla="*/ 21 w 64"/>
                <a:gd name="T15" fmla="*/ 38 h 53"/>
                <a:gd name="T16" fmla="*/ 27 w 64"/>
                <a:gd name="T17" fmla="*/ 40 h 53"/>
                <a:gd name="T18" fmla="*/ 28 w 64"/>
                <a:gd name="T19" fmla="*/ 34 h 53"/>
                <a:gd name="T20" fmla="*/ 32 w 64"/>
                <a:gd name="T21" fmla="*/ 35 h 53"/>
                <a:gd name="T22" fmla="*/ 34 w 64"/>
                <a:gd name="T23" fmla="*/ 27 h 53"/>
                <a:gd name="T24" fmla="*/ 40 w 64"/>
                <a:gd name="T25" fmla="*/ 30 h 53"/>
                <a:gd name="T26" fmla="*/ 41 w 64"/>
                <a:gd name="T27" fmla="*/ 25 h 53"/>
                <a:gd name="T28" fmla="*/ 45 w 64"/>
                <a:gd name="T29" fmla="*/ 26 h 53"/>
                <a:gd name="T30" fmla="*/ 45 w 64"/>
                <a:gd name="T31" fmla="*/ 20 h 53"/>
                <a:gd name="T32" fmla="*/ 50 w 64"/>
                <a:gd name="T33" fmla="*/ 21 h 53"/>
                <a:gd name="T34" fmla="*/ 51 w 64"/>
                <a:gd name="T35" fmla="*/ 14 h 53"/>
                <a:gd name="T36" fmla="*/ 55 w 64"/>
                <a:gd name="T37" fmla="*/ 16 h 53"/>
                <a:gd name="T38" fmla="*/ 55 w 64"/>
                <a:gd name="T39" fmla="*/ 11 h 53"/>
                <a:gd name="T40" fmla="*/ 61 w 64"/>
                <a:gd name="T41" fmla="*/ 14 h 53"/>
                <a:gd name="T42" fmla="*/ 59 w 64"/>
                <a:gd name="T43" fmla="*/ 8 h 53"/>
                <a:gd name="T44" fmla="*/ 64 w 64"/>
                <a:gd name="T45" fmla="*/ 10 h 53"/>
                <a:gd name="T46" fmla="*/ 56 w 64"/>
                <a:gd name="T47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53">
                  <a:moveTo>
                    <a:pt x="56" y="0"/>
                  </a:moveTo>
                  <a:cubicBezTo>
                    <a:pt x="56" y="0"/>
                    <a:pt x="0" y="18"/>
                    <a:pt x="0" y="44"/>
                  </a:cubicBezTo>
                  <a:cubicBezTo>
                    <a:pt x="0" y="48"/>
                    <a:pt x="6" y="53"/>
                    <a:pt x="6" y="53"/>
                  </a:cubicBezTo>
                  <a:cubicBezTo>
                    <a:pt x="10" y="48"/>
                    <a:pt x="10" y="48"/>
                    <a:pt x="10" y="48"/>
                  </a:cubicBezTo>
                  <a:cubicBezTo>
                    <a:pt x="13" y="50"/>
                    <a:pt x="13" y="50"/>
                    <a:pt x="13" y="50"/>
                  </a:cubicBezTo>
                  <a:cubicBezTo>
                    <a:pt x="17" y="42"/>
                    <a:pt x="17" y="42"/>
                    <a:pt x="17" y="42"/>
                  </a:cubicBezTo>
                  <a:cubicBezTo>
                    <a:pt x="20" y="45"/>
                    <a:pt x="20" y="45"/>
                    <a:pt x="20" y="45"/>
                  </a:cubicBezTo>
                  <a:cubicBezTo>
                    <a:pt x="21" y="38"/>
                    <a:pt x="21" y="38"/>
                    <a:pt x="21" y="38"/>
                  </a:cubicBezTo>
                  <a:cubicBezTo>
                    <a:pt x="27" y="40"/>
                    <a:pt x="27" y="40"/>
                    <a:pt x="27" y="40"/>
                  </a:cubicBezTo>
                  <a:cubicBezTo>
                    <a:pt x="28" y="34"/>
                    <a:pt x="28" y="34"/>
                    <a:pt x="28" y="34"/>
                  </a:cubicBezTo>
                  <a:cubicBezTo>
                    <a:pt x="32" y="35"/>
                    <a:pt x="32" y="35"/>
                    <a:pt x="32" y="35"/>
                  </a:cubicBezTo>
                  <a:cubicBezTo>
                    <a:pt x="34" y="27"/>
                    <a:pt x="34" y="27"/>
                    <a:pt x="34" y="27"/>
                  </a:cubicBezTo>
                  <a:cubicBezTo>
                    <a:pt x="40" y="30"/>
                    <a:pt x="40" y="30"/>
                    <a:pt x="40" y="30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0"/>
                    <a:pt x="45" y="20"/>
                    <a:pt x="45" y="20"/>
                  </a:cubicBezTo>
                  <a:cubicBezTo>
                    <a:pt x="50" y="21"/>
                    <a:pt x="50" y="21"/>
                    <a:pt x="50" y="21"/>
                  </a:cubicBezTo>
                  <a:cubicBezTo>
                    <a:pt x="51" y="14"/>
                    <a:pt x="51" y="14"/>
                    <a:pt x="51" y="14"/>
                  </a:cubicBezTo>
                  <a:cubicBezTo>
                    <a:pt x="55" y="16"/>
                    <a:pt x="55" y="16"/>
                    <a:pt x="55" y="16"/>
                  </a:cubicBezTo>
                  <a:cubicBezTo>
                    <a:pt x="55" y="11"/>
                    <a:pt x="55" y="11"/>
                    <a:pt x="55" y="11"/>
                  </a:cubicBezTo>
                  <a:cubicBezTo>
                    <a:pt x="61" y="14"/>
                    <a:pt x="61" y="14"/>
                    <a:pt x="61" y="14"/>
                  </a:cubicBezTo>
                  <a:cubicBezTo>
                    <a:pt x="59" y="8"/>
                    <a:pt x="59" y="8"/>
                    <a:pt x="59" y="8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56" y="0"/>
                  </a:lnTo>
                  <a:close/>
                </a:path>
              </a:pathLst>
            </a:custGeom>
            <a:solidFill>
              <a:srgbClr val="79D06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08" name="Freeform 281"/>
            <p:cNvSpPr/>
            <p:nvPr userDrawn="1"/>
          </p:nvSpPr>
          <p:spPr bwMode="auto">
            <a:xfrm>
              <a:off x="4510881" y="2417763"/>
              <a:ext cx="201613" cy="95250"/>
            </a:xfrm>
            <a:custGeom>
              <a:avLst/>
              <a:gdLst>
                <a:gd name="T0" fmla="*/ 4 w 74"/>
                <a:gd name="T1" fmla="*/ 6 h 35"/>
                <a:gd name="T2" fmla="*/ 73 w 74"/>
                <a:gd name="T3" fmla="*/ 24 h 35"/>
                <a:gd name="T4" fmla="*/ 71 w 74"/>
                <a:gd name="T5" fmla="*/ 35 h 35"/>
                <a:gd name="T6" fmla="*/ 66 w 74"/>
                <a:gd name="T7" fmla="*/ 29 h 35"/>
                <a:gd name="T8" fmla="*/ 63 w 74"/>
                <a:gd name="T9" fmla="*/ 34 h 35"/>
                <a:gd name="T10" fmla="*/ 58 w 74"/>
                <a:gd name="T11" fmla="*/ 28 h 35"/>
                <a:gd name="T12" fmla="*/ 53 w 74"/>
                <a:gd name="T13" fmla="*/ 32 h 35"/>
                <a:gd name="T14" fmla="*/ 50 w 74"/>
                <a:gd name="T15" fmla="*/ 25 h 35"/>
                <a:gd name="T16" fmla="*/ 45 w 74"/>
                <a:gd name="T17" fmla="*/ 31 h 35"/>
                <a:gd name="T18" fmla="*/ 42 w 74"/>
                <a:gd name="T19" fmla="*/ 25 h 35"/>
                <a:gd name="T20" fmla="*/ 37 w 74"/>
                <a:gd name="T21" fmla="*/ 28 h 35"/>
                <a:gd name="T22" fmla="*/ 34 w 74"/>
                <a:gd name="T23" fmla="*/ 22 h 35"/>
                <a:gd name="T24" fmla="*/ 29 w 74"/>
                <a:gd name="T25" fmla="*/ 25 h 35"/>
                <a:gd name="T26" fmla="*/ 27 w 74"/>
                <a:gd name="T27" fmla="*/ 21 h 35"/>
                <a:gd name="T28" fmla="*/ 22 w 74"/>
                <a:gd name="T29" fmla="*/ 24 h 35"/>
                <a:gd name="T30" fmla="*/ 21 w 74"/>
                <a:gd name="T31" fmla="*/ 18 h 35"/>
                <a:gd name="T32" fmla="*/ 16 w 74"/>
                <a:gd name="T33" fmla="*/ 22 h 35"/>
                <a:gd name="T34" fmla="*/ 14 w 74"/>
                <a:gd name="T35" fmla="*/ 17 h 35"/>
                <a:gd name="T36" fmla="*/ 11 w 74"/>
                <a:gd name="T37" fmla="*/ 21 h 35"/>
                <a:gd name="T38" fmla="*/ 10 w 74"/>
                <a:gd name="T39" fmla="*/ 16 h 35"/>
                <a:gd name="T40" fmla="*/ 6 w 74"/>
                <a:gd name="T41" fmla="*/ 20 h 35"/>
                <a:gd name="T42" fmla="*/ 6 w 74"/>
                <a:gd name="T43" fmla="*/ 15 h 35"/>
                <a:gd name="T44" fmla="*/ 0 w 74"/>
                <a:gd name="T45" fmla="*/ 18 h 35"/>
                <a:gd name="T46" fmla="*/ 4 w 74"/>
                <a:gd name="T47" fmla="*/ 6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4" h="35">
                  <a:moveTo>
                    <a:pt x="4" y="6"/>
                  </a:moveTo>
                  <a:cubicBezTo>
                    <a:pt x="4" y="6"/>
                    <a:pt x="62" y="0"/>
                    <a:pt x="73" y="24"/>
                  </a:cubicBezTo>
                  <a:cubicBezTo>
                    <a:pt x="74" y="27"/>
                    <a:pt x="71" y="35"/>
                    <a:pt x="71" y="35"/>
                  </a:cubicBezTo>
                  <a:cubicBezTo>
                    <a:pt x="66" y="29"/>
                    <a:pt x="66" y="29"/>
                    <a:pt x="66" y="29"/>
                  </a:cubicBezTo>
                  <a:cubicBezTo>
                    <a:pt x="63" y="34"/>
                    <a:pt x="63" y="34"/>
                    <a:pt x="63" y="34"/>
                  </a:cubicBezTo>
                  <a:cubicBezTo>
                    <a:pt x="58" y="28"/>
                    <a:pt x="58" y="28"/>
                    <a:pt x="58" y="28"/>
                  </a:cubicBezTo>
                  <a:cubicBezTo>
                    <a:pt x="53" y="32"/>
                    <a:pt x="53" y="32"/>
                    <a:pt x="53" y="32"/>
                  </a:cubicBezTo>
                  <a:cubicBezTo>
                    <a:pt x="50" y="25"/>
                    <a:pt x="50" y="25"/>
                    <a:pt x="50" y="25"/>
                  </a:cubicBezTo>
                  <a:cubicBezTo>
                    <a:pt x="45" y="31"/>
                    <a:pt x="45" y="31"/>
                    <a:pt x="45" y="31"/>
                  </a:cubicBezTo>
                  <a:cubicBezTo>
                    <a:pt x="42" y="25"/>
                    <a:pt x="42" y="25"/>
                    <a:pt x="42" y="25"/>
                  </a:cubicBezTo>
                  <a:cubicBezTo>
                    <a:pt x="37" y="28"/>
                    <a:pt x="37" y="28"/>
                    <a:pt x="37" y="28"/>
                  </a:cubicBezTo>
                  <a:cubicBezTo>
                    <a:pt x="34" y="22"/>
                    <a:pt x="34" y="22"/>
                    <a:pt x="34" y="22"/>
                  </a:cubicBezTo>
                  <a:cubicBezTo>
                    <a:pt x="29" y="25"/>
                    <a:pt x="29" y="25"/>
                    <a:pt x="29" y="25"/>
                  </a:cubicBezTo>
                  <a:cubicBezTo>
                    <a:pt x="27" y="21"/>
                    <a:pt x="27" y="21"/>
                    <a:pt x="27" y="21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16" y="22"/>
                    <a:pt x="16" y="22"/>
                    <a:pt x="16" y="22"/>
                  </a:cubicBezTo>
                  <a:cubicBezTo>
                    <a:pt x="14" y="17"/>
                    <a:pt x="14" y="17"/>
                    <a:pt x="14" y="17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0" y="18"/>
                    <a:pt x="0" y="18"/>
                    <a:pt x="0" y="18"/>
                  </a:cubicBezTo>
                  <a:lnTo>
                    <a:pt x="4" y="6"/>
                  </a:lnTo>
                  <a:close/>
                </a:path>
              </a:pathLst>
            </a:custGeom>
            <a:solidFill>
              <a:srgbClr val="79D06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09" name="Freeform 282"/>
            <p:cNvSpPr/>
            <p:nvPr userDrawn="1"/>
          </p:nvSpPr>
          <p:spPr bwMode="auto">
            <a:xfrm>
              <a:off x="4552156" y="2336800"/>
              <a:ext cx="127000" cy="107950"/>
            </a:xfrm>
            <a:custGeom>
              <a:avLst/>
              <a:gdLst>
                <a:gd name="T0" fmla="*/ 70 w 80"/>
                <a:gd name="T1" fmla="*/ 68 h 68"/>
                <a:gd name="T2" fmla="*/ 0 w 80"/>
                <a:gd name="T3" fmla="*/ 55 h 68"/>
                <a:gd name="T4" fmla="*/ 10 w 80"/>
                <a:gd name="T5" fmla="*/ 0 h 68"/>
                <a:gd name="T6" fmla="*/ 80 w 80"/>
                <a:gd name="T7" fmla="*/ 15 h 68"/>
                <a:gd name="T8" fmla="*/ 70 w 80"/>
                <a:gd name="T9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0" h="68">
                  <a:moveTo>
                    <a:pt x="70" y="68"/>
                  </a:moveTo>
                  <a:lnTo>
                    <a:pt x="0" y="55"/>
                  </a:lnTo>
                  <a:lnTo>
                    <a:pt x="10" y="0"/>
                  </a:lnTo>
                  <a:lnTo>
                    <a:pt x="80" y="15"/>
                  </a:lnTo>
                  <a:lnTo>
                    <a:pt x="70" y="6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10" name="Freeform 283"/>
            <p:cNvSpPr/>
            <p:nvPr userDrawn="1"/>
          </p:nvSpPr>
          <p:spPr bwMode="auto">
            <a:xfrm>
              <a:off x="4536281" y="2420938"/>
              <a:ext cx="138113" cy="46038"/>
            </a:xfrm>
            <a:custGeom>
              <a:avLst/>
              <a:gdLst>
                <a:gd name="T0" fmla="*/ 85 w 87"/>
                <a:gd name="T1" fmla="*/ 29 h 29"/>
                <a:gd name="T2" fmla="*/ 0 w 87"/>
                <a:gd name="T3" fmla="*/ 12 h 29"/>
                <a:gd name="T4" fmla="*/ 3 w 87"/>
                <a:gd name="T5" fmla="*/ 0 h 29"/>
                <a:gd name="T6" fmla="*/ 87 w 87"/>
                <a:gd name="T7" fmla="*/ 17 h 29"/>
                <a:gd name="T8" fmla="*/ 85 w 87"/>
                <a:gd name="T9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29">
                  <a:moveTo>
                    <a:pt x="85" y="29"/>
                  </a:moveTo>
                  <a:lnTo>
                    <a:pt x="0" y="12"/>
                  </a:lnTo>
                  <a:lnTo>
                    <a:pt x="3" y="0"/>
                  </a:lnTo>
                  <a:lnTo>
                    <a:pt x="87" y="17"/>
                  </a:lnTo>
                  <a:lnTo>
                    <a:pt x="85" y="29"/>
                  </a:lnTo>
                  <a:close/>
                </a:path>
              </a:pathLst>
            </a:custGeom>
            <a:solidFill>
              <a:srgbClr val="5E5E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11" name="Freeform 284"/>
            <p:cNvSpPr/>
            <p:nvPr userDrawn="1"/>
          </p:nvSpPr>
          <p:spPr bwMode="auto">
            <a:xfrm>
              <a:off x="4545806" y="2292350"/>
              <a:ext cx="158750" cy="71438"/>
            </a:xfrm>
            <a:custGeom>
              <a:avLst/>
              <a:gdLst>
                <a:gd name="T0" fmla="*/ 57 w 100"/>
                <a:gd name="T1" fmla="*/ 0 h 45"/>
                <a:gd name="T2" fmla="*/ 0 w 100"/>
                <a:gd name="T3" fmla="*/ 26 h 45"/>
                <a:gd name="T4" fmla="*/ 100 w 100"/>
                <a:gd name="T5" fmla="*/ 45 h 45"/>
                <a:gd name="T6" fmla="*/ 57 w 100"/>
                <a:gd name="T7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0" h="45">
                  <a:moveTo>
                    <a:pt x="57" y="0"/>
                  </a:moveTo>
                  <a:lnTo>
                    <a:pt x="0" y="26"/>
                  </a:lnTo>
                  <a:lnTo>
                    <a:pt x="100" y="45"/>
                  </a:lnTo>
                  <a:lnTo>
                    <a:pt x="57" y="0"/>
                  </a:lnTo>
                  <a:close/>
                </a:path>
              </a:pathLst>
            </a:custGeom>
            <a:solidFill>
              <a:schemeClr val="accent5">
                <a:lumMod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12" name="Freeform 285"/>
            <p:cNvSpPr/>
            <p:nvPr userDrawn="1"/>
          </p:nvSpPr>
          <p:spPr bwMode="auto">
            <a:xfrm>
              <a:off x="4575968" y="2349500"/>
              <a:ext cx="30163" cy="30163"/>
            </a:xfrm>
            <a:custGeom>
              <a:avLst/>
              <a:gdLst>
                <a:gd name="T0" fmla="*/ 16 w 19"/>
                <a:gd name="T1" fmla="*/ 19 h 19"/>
                <a:gd name="T2" fmla="*/ 0 w 19"/>
                <a:gd name="T3" fmla="*/ 16 h 19"/>
                <a:gd name="T4" fmla="*/ 4 w 19"/>
                <a:gd name="T5" fmla="*/ 0 h 19"/>
                <a:gd name="T6" fmla="*/ 19 w 19"/>
                <a:gd name="T7" fmla="*/ 4 h 19"/>
                <a:gd name="T8" fmla="*/ 16 w 19"/>
                <a:gd name="T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9">
                  <a:moveTo>
                    <a:pt x="16" y="19"/>
                  </a:moveTo>
                  <a:lnTo>
                    <a:pt x="0" y="16"/>
                  </a:lnTo>
                  <a:lnTo>
                    <a:pt x="4" y="0"/>
                  </a:lnTo>
                  <a:lnTo>
                    <a:pt x="19" y="4"/>
                  </a:lnTo>
                  <a:lnTo>
                    <a:pt x="16" y="19"/>
                  </a:lnTo>
                  <a:close/>
                </a:path>
              </a:pathLst>
            </a:custGeom>
            <a:solidFill>
              <a:srgbClr val="7D64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13" name="Freeform 286"/>
            <p:cNvSpPr/>
            <p:nvPr userDrawn="1"/>
          </p:nvSpPr>
          <p:spPr bwMode="auto">
            <a:xfrm>
              <a:off x="4582318" y="2352675"/>
              <a:ext cx="20638" cy="11113"/>
            </a:xfrm>
            <a:custGeom>
              <a:avLst/>
              <a:gdLst>
                <a:gd name="T0" fmla="*/ 12 w 13"/>
                <a:gd name="T1" fmla="*/ 7 h 7"/>
                <a:gd name="T2" fmla="*/ 0 w 13"/>
                <a:gd name="T3" fmla="*/ 5 h 7"/>
                <a:gd name="T4" fmla="*/ 0 w 13"/>
                <a:gd name="T5" fmla="*/ 0 h 7"/>
                <a:gd name="T6" fmla="*/ 13 w 13"/>
                <a:gd name="T7" fmla="*/ 2 h 7"/>
                <a:gd name="T8" fmla="*/ 12 w 13"/>
                <a:gd name="T9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7">
                  <a:moveTo>
                    <a:pt x="12" y="7"/>
                  </a:moveTo>
                  <a:lnTo>
                    <a:pt x="0" y="5"/>
                  </a:lnTo>
                  <a:lnTo>
                    <a:pt x="0" y="0"/>
                  </a:lnTo>
                  <a:lnTo>
                    <a:pt x="13" y="2"/>
                  </a:lnTo>
                  <a:lnTo>
                    <a:pt x="12" y="7"/>
                  </a:lnTo>
                  <a:close/>
                </a:path>
              </a:pathLst>
            </a:custGeom>
            <a:solidFill>
              <a:srgbClr val="77A7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14" name="Freeform 287"/>
            <p:cNvSpPr/>
            <p:nvPr userDrawn="1"/>
          </p:nvSpPr>
          <p:spPr bwMode="auto">
            <a:xfrm>
              <a:off x="4579143" y="2360613"/>
              <a:ext cx="11113" cy="14288"/>
            </a:xfrm>
            <a:custGeom>
              <a:avLst/>
              <a:gdLst>
                <a:gd name="T0" fmla="*/ 5 w 7"/>
                <a:gd name="T1" fmla="*/ 9 h 9"/>
                <a:gd name="T2" fmla="*/ 0 w 7"/>
                <a:gd name="T3" fmla="*/ 9 h 9"/>
                <a:gd name="T4" fmla="*/ 0 w 7"/>
                <a:gd name="T5" fmla="*/ 0 h 9"/>
                <a:gd name="T6" fmla="*/ 7 w 7"/>
                <a:gd name="T7" fmla="*/ 2 h 9"/>
                <a:gd name="T8" fmla="*/ 5 w 7"/>
                <a:gd name="T9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9">
                  <a:moveTo>
                    <a:pt x="5" y="9"/>
                  </a:moveTo>
                  <a:lnTo>
                    <a:pt x="0" y="9"/>
                  </a:lnTo>
                  <a:lnTo>
                    <a:pt x="0" y="0"/>
                  </a:lnTo>
                  <a:lnTo>
                    <a:pt x="7" y="2"/>
                  </a:lnTo>
                  <a:lnTo>
                    <a:pt x="5" y="9"/>
                  </a:lnTo>
                  <a:close/>
                </a:path>
              </a:pathLst>
            </a:custGeom>
            <a:solidFill>
              <a:srgbClr val="77A7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15" name="Freeform 288"/>
            <p:cNvSpPr/>
            <p:nvPr userDrawn="1"/>
          </p:nvSpPr>
          <p:spPr bwMode="auto">
            <a:xfrm>
              <a:off x="4590256" y="2363788"/>
              <a:ext cx="11113" cy="14288"/>
            </a:xfrm>
            <a:custGeom>
              <a:avLst/>
              <a:gdLst>
                <a:gd name="T0" fmla="*/ 5 w 7"/>
                <a:gd name="T1" fmla="*/ 9 h 9"/>
                <a:gd name="T2" fmla="*/ 0 w 7"/>
                <a:gd name="T3" fmla="*/ 7 h 9"/>
                <a:gd name="T4" fmla="*/ 2 w 7"/>
                <a:gd name="T5" fmla="*/ 0 h 9"/>
                <a:gd name="T6" fmla="*/ 7 w 7"/>
                <a:gd name="T7" fmla="*/ 0 h 9"/>
                <a:gd name="T8" fmla="*/ 5 w 7"/>
                <a:gd name="T9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9">
                  <a:moveTo>
                    <a:pt x="5" y="9"/>
                  </a:moveTo>
                  <a:lnTo>
                    <a:pt x="0" y="7"/>
                  </a:lnTo>
                  <a:lnTo>
                    <a:pt x="2" y="0"/>
                  </a:lnTo>
                  <a:lnTo>
                    <a:pt x="7" y="0"/>
                  </a:lnTo>
                  <a:lnTo>
                    <a:pt x="5" y="9"/>
                  </a:lnTo>
                  <a:close/>
                </a:path>
              </a:pathLst>
            </a:custGeom>
            <a:solidFill>
              <a:srgbClr val="77A7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16" name="Freeform 289"/>
            <p:cNvSpPr/>
            <p:nvPr userDrawn="1"/>
          </p:nvSpPr>
          <p:spPr bwMode="auto">
            <a:xfrm>
              <a:off x="4568031" y="2387600"/>
              <a:ext cx="30163" cy="30163"/>
            </a:xfrm>
            <a:custGeom>
              <a:avLst/>
              <a:gdLst>
                <a:gd name="T0" fmla="*/ 16 w 19"/>
                <a:gd name="T1" fmla="*/ 19 h 19"/>
                <a:gd name="T2" fmla="*/ 0 w 19"/>
                <a:gd name="T3" fmla="*/ 16 h 19"/>
                <a:gd name="T4" fmla="*/ 4 w 19"/>
                <a:gd name="T5" fmla="*/ 0 h 19"/>
                <a:gd name="T6" fmla="*/ 19 w 19"/>
                <a:gd name="T7" fmla="*/ 4 h 19"/>
                <a:gd name="T8" fmla="*/ 16 w 19"/>
                <a:gd name="T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9">
                  <a:moveTo>
                    <a:pt x="16" y="19"/>
                  </a:moveTo>
                  <a:lnTo>
                    <a:pt x="0" y="16"/>
                  </a:lnTo>
                  <a:lnTo>
                    <a:pt x="4" y="0"/>
                  </a:lnTo>
                  <a:lnTo>
                    <a:pt x="19" y="4"/>
                  </a:lnTo>
                  <a:lnTo>
                    <a:pt x="16" y="19"/>
                  </a:lnTo>
                  <a:close/>
                </a:path>
              </a:pathLst>
            </a:custGeom>
            <a:solidFill>
              <a:srgbClr val="7D64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17" name="Freeform 290"/>
            <p:cNvSpPr/>
            <p:nvPr userDrawn="1"/>
          </p:nvSpPr>
          <p:spPr bwMode="auto">
            <a:xfrm>
              <a:off x="4574381" y="2390775"/>
              <a:ext cx="20638" cy="11113"/>
            </a:xfrm>
            <a:custGeom>
              <a:avLst/>
              <a:gdLst>
                <a:gd name="T0" fmla="*/ 13 w 13"/>
                <a:gd name="T1" fmla="*/ 7 h 7"/>
                <a:gd name="T2" fmla="*/ 0 w 13"/>
                <a:gd name="T3" fmla="*/ 4 h 7"/>
                <a:gd name="T4" fmla="*/ 0 w 13"/>
                <a:gd name="T5" fmla="*/ 0 h 7"/>
                <a:gd name="T6" fmla="*/ 13 w 13"/>
                <a:gd name="T7" fmla="*/ 2 h 7"/>
                <a:gd name="T8" fmla="*/ 13 w 13"/>
                <a:gd name="T9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7">
                  <a:moveTo>
                    <a:pt x="13" y="7"/>
                  </a:moveTo>
                  <a:lnTo>
                    <a:pt x="0" y="4"/>
                  </a:lnTo>
                  <a:lnTo>
                    <a:pt x="0" y="0"/>
                  </a:lnTo>
                  <a:lnTo>
                    <a:pt x="13" y="2"/>
                  </a:lnTo>
                  <a:lnTo>
                    <a:pt x="13" y="7"/>
                  </a:lnTo>
                  <a:close/>
                </a:path>
              </a:pathLst>
            </a:custGeom>
            <a:solidFill>
              <a:srgbClr val="77A7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18" name="Freeform 291"/>
            <p:cNvSpPr/>
            <p:nvPr userDrawn="1"/>
          </p:nvSpPr>
          <p:spPr bwMode="auto">
            <a:xfrm>
              <a:off x="4571206" y="2398713"/>
              <a:ext cx="11113" cy="14288"/>
            </a:xfrm>
            <a:custGeom>
              <a:avLst/>
              <a:gdLst>
                <a:gd name="T0" fmla="*/ 5 w 7"/>
                <a:gd name="T1" fmla="*/ 9 h 9"/>
                <a:gd name="T2" fmla="*/ 0 w 7"/>
                <a:gd name="T3" fmla="*/ 9 h 9"/>
                <a:gd name="T4" fmla="*/ 2 w 7"/>
                <a:gd name="T5" fmla="*/ 0 h 9"/>
                <a:gd name="T6" fmla="*/ 7 w 7"/>
                <a:gd name="T7" fmla="*/ 0 h 9"/>
                <a:gd name="T8" fmla="*/ 5 w 7"/>
                <a:gd name="T9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9">
                  <a:moveTo>
                    <a:pt x="5" y="9"/>
                  </a:moveTo>
                  <a:lnTo>
                    <a:pt x="0" y="9"/>
                  </a:lnTo>
                  <a:lnTo>
                    <a:pt x="2" y="0"/>
                  </a:lnTo>
                  <a:lnTo>
                    <a:pt x="7" y="0"/>
                  </a:lnTo>
                  <a:lnTo>
                    <a:pt x="5" y="9"/>
                  </a:lnTo>
                  <a:close/>
                </a:path>
              </a:pathLst>
            </a:custGeom>
            <a:solidFill>
              <a:srgbClr val="77A7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19" name="Freeform 292"/>
            <p:cNvSpPr/>
            <p:nvPr userDrawn="1"/>
          </p:nvSpPr>
          <p:spPr bwMode="auto">
            <a:xfrm>
              <a:off x="4582318" y="2401888"/>
              <a:ext cx="12700" cy="14288"/>
            </a:xfrm>
            <a:custGeom>
              <a:avLst/>
              <a:gdLst>
                <a:gd name="T0" fmla="*/ 7 w 8"/>
                <a:gd name="T1" fmla="*/ 9 h 9"/>
                <a:gd name="T2" fmla="*/ 0 w 8"/>
                <a:gd name="T3" fmla="*/ 7 h 9"/>
                <a:gd name="T4" fmla="*/ 1 w 8"/>
                <a:gd name="T5" fmla="*/ 0 h 9"/>
                <a:gd name="T6" fmla="*/ 8 w 8"/>
                <a:gd name="T7" fmla="*/ 0 h 9"/>
                <a:gd name="T8" fmla="*/ 7 w 8"/>
                <a:gd name="T9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9">
                  <a:moveTo>
                    <a:pt x="7" y="9"/>
                  </a:moveTo>
                  <a:lnTo>
                    <a:pt x="0" y="7"/>
                  </a:lnTo>
                  <a:lnTo>
                    <a:pt x="1" y="0"/>
                  </a:lnTo>
                  <a:lnTo>
                    <a:pt x="8" y="0"/>
                  </a:lnTo>
                  <a:lnTo>
                    <a:pt x="7" y="9"/>
                  </a:lnTo>
                  <a:close/>
                </a:path>
              </a:pathLst>
            </a:custGeom>
            <a:solidFill>
              <a:srgbClr val="77A7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20" name="Freeform 293"/>
            <p:cNvSpPr/>
            <p:nvPr userDrawn="1"/>
          </p:nvSpPr>
          <p:spPr bwMode="auto">
            <a:xfrm>
              <a:off x="4633118" y="2360613"/>
              <a:ext cx="30163" cy="30163"/>
            </a:xfrm>
            <a:custGeom>
              <a:avLst/>
              <a:gdLst>
                <a:gd name="T0" fmla="*/ 17 w 19"/>
                <a:gd name="T1" fmla="*/ 19 h 19"/>
                <a:gd name="T2" fmla="*/ 0 w 19"/>
                <a:gd name="T3" fmla="*/ 17 h 19"/>
                <a:gd name="T4" fmla="*/ 4 w 19"/>
                <a:gd name="T5" fmla="*/ 0 h 19"/>
                <a:gd name="T6" fmla="*/ 19 w 19"/>
                <a:gd name="T7" fmla="*/ 4 h 19"/>
                <a:gd name="T8" fmla="*/ 17 w 19"/>
                <a:gd name="T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9">
                  <a:moveTo>
                    <a:pt x="17" y="19"/>
                  </a:moveTo>
                  <a:lnTo>
                    <a:pt x="0" y="17"/>
                  </a:lnTo>
                  <a:lnTo>
                    <a:pt x="4" y="0"/>
                  </a:lnTo>
                  <a:lnTo>
                    <a:pt x="19" y="4"/>
                  </a:lnTo>
                  <a:lnTo>
                    <a:pt x="17" y="19"/>
                  </a:lnTo>
                  <a:close/>
                </a:path>
              </a:pathLst>
            </a:custGeom>
            <a:solidFill>
              <a:srgbClr val="7D64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21" name="Freeform 294"/>
            <p:cNvSpPr/>
            <p:nvPr userDrawn="1"/>
          </p:nvSpPr>
          <p:spPr bwMode="auto">
            <a:xfrm>
              <a:off x="4639468" y="2363788"/>
              <a:ext cx="23813" cy="11113"/>
            </a:xfrm>
            <a:custGeom>
              <a:avLst/>
              <a:gdLst>
                <a:gd name="T0" fmla="*/ 13 w 15"/>
                <a:gd name="T1" fmla="*/ 7 h 7"/>
                <a:gd name="T2" fmla="*/ 0 w 15"/>
                <a:gd name="T3" fmla="*/ 5 h 7"/>
                <a:gd name="T4" fmla="*/ 1 w 15"/>
                <a:gd name="T5" fmla="*/ 0 h 7"/>
                <a:gd name="T6" fmla="*/ 15 w 15"/>
                <a:gd name="T7" fmla="*/ 3 h 7"/>
                <a:gd name="T8" fmla="*/ 13 w 15"/>
                <a:gd name="T9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7">
                  <a:moveTo>
                    <a:pt x="13" y="7"/>
                  </a:moveTo>
                  <a:lnTo>
                    <a:pt x="0" y="5"/>
                  </a:lnTo>
                  <a:lnTo>
                    <a:pt x="1" y="0"/>
                  </a:lnTo>
                  <a:lnTo>
                    <a:pt x="15" y="3"/>
                  </a:lnTo>
                  <a:lnTo>
                    <a:pt x="13" y="7"/>
                  </a:lnTo>
                  <a:close/>
                </a:path>
              </a:pathLst>
            </a:custGeom>
            <a:solidFill>
              <a:srgbClr val="77A7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22" name="Freeform 295"/>
            <p:cNvSpPr/>
            <p:nvPr userDrawn="1"/>
          </p:nvSpPr>
          <p:spPr bwMode="auto">
            <a:xfrm>
              <a:off x="4636293" y="2371725"/>
              <a:ext cx="14288" cy="15875"/>
            </a:xfrm>
            <a:custGeom>
              <a:avLst/>
              <a:gdLst>
                <a:gd name="T0" fmla="*/ 7 w 9"/>
                <a:gd name="T1" fmla="*/ 10 h 10"/>
                <a:gd name="T2" fmla="*/ 0 w 9"/>
                <a:gd name="T3" fmla="*/ 9 h 10"/>
                <a:gd name="T4" fmla="*/ 2 w 9"/>
                <a:gd name="T5" fmla="*/ 0 h 10"/>
                <a:gd name="T6" fmla="*/ 9 w 9"/>
                <a:gd name="T7" fmla="*/ 2 h 10"/>
                <a:gd name="T8" fmla="*/ 7 w 9"/>
                <a:gd name="T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0">
                  <a:moveTo>
                    <a:pt x="7" y="10"/>
                  </a:moveTo>
                  <a:lnTo>
                    <a:pt x="0" y="9"/>
                  </a:lnTo>
                  <a:lnTo>
                    <a:pt x="2" y="0"/>
                  </a:lnTo>
                  <a:lnTo>
                    <a:pt x="9" y="2"/>
                  </a:lnTo>
                  <a:lnTo>
                    <a:pt x="7" y="10"/>
                  </a:lnTo>
                  <a:close/>
                </a:path>
              </a:pathLst>
            </a:custGeom>
            <a:solidFill>
              <a:srgbClr val="77A7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23" name="Freeform 296"/>
            <p:cNvSpPr/>
            <p:nvPr userDrawn="1"/>
          </p:nvSpPr>
          <p:spPr bwMode="auto">
            <a:xfrm>
              <a:off x="4647406" y="2374900"/>
              <a:ext cx="12700" cy="15875"/>
            </a:xfrm>
            <a:custGeom>
              <a:avLst/>
              <a:gdLst>
                <a:gd name="T0" fmla="*/ 7 w 8"/>
                <a:gd name="T1" fmla="*/ 10 h 10"/>
                <a:gd name="T2" fmla="*/ 0 w 8"/>
                <a:gd name="T3" fmla="*/ 8 h 10"/>
                <a:gd name="T4" fmla="*/ 2 w 8"/>
                <a:gd name="T5" fmla="*/ 0 h 10"/>
                <a:gd name="T6" fmla="*/ 8 w 8"/>
                <a:gd name="T7" fmla="*/ 2 h 10"/>
                <a:gd name="T8" fmla="*/ 7 w 8"/>
                <a:gd name="T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0">
                  <a:moveTo>
                    <a:pt x="7" y="10"/>
                  </a:moveTo>
                  <a:lnTo>
                    <a:pt x="0" y="8"/>
                  </a:lnTo>
                  <a:lnTo>
                    <a:pt x="2" y="0"/>
                  </a:lnTo>
                  <a:lnTo>
                    <a:pt x="8" y="2"/>
                  </a:lnTo>
                  <a:lnTo>
                    <a:pt x="7" y="10"/>
                  </a:lnTo>
                  <a:close/>
                </a:path>
              </a:pathLst>
            </a:custGeom>
            <a:solidFill>
              <a:srgbClr val="77A7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24" name="Freeform 297"/>
            <p:cNvSpPr/>
            <p:nvPr userDrawn="1"/>
          </p:nvSpPr>
          <p:spPr bwMode="auto">
            <a:xfrm>
              <a:off x="4620418" y="2401888"/>
              <a:ext cx="31750" cy="41275"/>
            </a:xfrm>
            <a:custGeom>
              <a:avLst/>
              <a:gdLst>
                <a:gd name="T0" fmla="*/ 20 w 20"/>
                <a:gd name="T1" fmla="*/ 3 h 26"/>
                <a:gd name="T2" fmla="*/ 5 w 20"/>
                <a:gd name="T3" fmla="*/ 0 h 26"/>
                <a:gd name="T4" fmla="*/ 0 w 20"/>
                <a:gd name="T5" fmla="*/ 22 h 26"/>
                <a:gd name="T6" fmla="*/ 15 w 20"/>
                <a:gd name="T7" fmla="*/ 26 h 26"/>
                <a:gd name="T8" fmla="*/ 20 w 20"/>
                <a:gd name="T9" fmla="*/ 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26">
                  <a:moveTo>
                    <a:pt x="20" y="3"/>
                  </a:moveTo>
                  <a:lnTo>
                    <a:pt x="5" y="0"/>
                  </a:lnTo>
                  <a:lnTo>
                    <a:pt x="0" y="22"/>
                  </a:lnTo>
                  <a:lnTo>
                    <a:pt x="15" y="26"/>
                  </a:lnTo>
                  <a:lnTo>
                    <a:pt x="20" y="3"/>
                  </a:lnTo>
                  <a:close/>
                </a:path>
              </a:pathLst>
            </a:custGeom>
            <a:solidFill>
              <a:srgbClr val="7D64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25" name="Freeform 298"/>
            <p:cNvSpPr/>
            <p:nvPr userDrawn="1"/>
          </p:nvSpPr>
          <p:spPr bwMode="auto">
            <a:xfrm>
              <a:off x="4201318" y="2382838"/>
              <a:ext cx="155575" cy="149225"/>
            </a:xfrm>
            <a:custGeom>
              <a:avLst/>
              <a:gdLst>
                <a:gd name="T0" fmla="*/ 98 w 98"/>
                <a:gd name="T1" fmla="*/ 50 h 94"/>
                <a:gd name="T2" fmla="*/ 34 w 98"/>
                <a:gd name="T3" fmla="*/ 94 h 94"/>
                <a:gd name="T4" fmla="*/ 0 w 98"/>
                <a:gd name="T5" fmla="*/ 44 h 94"/>
                <a:gd name="T6" fmla="*/ 63 w 98"/>
                <a:gd name="T7" fmla="*/ 0 h 94"/>
                <a:gd name="T8" fmla="*/ 98 w 98"/>
                <a:gd name="T9" fmla="*/ 5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8" h="94">
                  <a:moveTo>
                    <a:pt x="98" y="50"/>
                  </a:moveTo>
                  <a:lnTo>
                    <a:pt x="34" y="94"/>
                  </a:lnTo>
                  <a:lnTo>
                    <a:pt x="0" y="44"/>
                  </a:lnTo>
                  <a:lnTo>
                    <a:pt x="63" y="0"/>
                  </a:lnTo>
                  <a:lnTo>
                    <a:pt x="98" y="5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26" name="Freeform 299"/>
            <p:cNvSpPr/>
            <p:nvPr userDrawn="1"/>
          </p:nvSpPr>
          <p:spPr bwMode="auto">
            <a:xfrm>
              <a:off x="4244181" y="2452688"/>
              <a:ext cx="136525" cy="104775"/>
            </a:xfrm>
            <a:custGeom>
              <a:avLst/>
              <a:gdLst>
                <a:gd name="T0" fmla="*/ 86 w 86"/>
                <a:gd name="T1" fmla="*/ 12 h 66"/>
                <a:gd name="T2" fmla="*/ 9 w 86"/>
                <a:gd name="T3" fmla="*/ 66 h 66"/>
                <a:gd name="T4" fmla="*/ 0 w 86"/>
                <a:gd name="T5" fmla="*/ 55 h 66"/>
                <a:gd name="T6" fmla="*/ 77 w 86"/>
                <a:gd name="T7" fmla="*/ 0 h 66"/>
                <a:gd name="T8" fmla="*/ 86 w 86"/>
                <a:gd name="T9" fmla="*/ 12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6" h="66">
                  <a:moveTo>
                    <a:pt x="86" y="12"/>
                  </a:moveTo>
                  <a:lnTo>
                    <a:pt x="9" y="66"/>
                  </a:lnTo>
                  <a:lnTo>
                    <a:pt x="0" y="55"/>
                  </a:lnTo>
                  <a:lnTo>
                    <a:pt x="77" y="0"/>
                  </a:lnTo>
                  <a:lnTo>
                    <a:pt x="86" y="12"/>
                  </a:lnTo>
                  <a:close/>
                </a:path>
              </a:pathLst>
            </a:custGeom>
            <a:solidFill>
              <a:srgbClr val="5E5E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27" name="Freeform 300"/>
            <p:cNvSpPr/>
            <p:nvPr userDrawn="1"/>
          </p:nvSpPr>
          <p:spPr bwMode="auto">
            <a:xfrm>
              <a:off x="4182268" y="2368550"/>
              <a:ext cx="141288" cy="98425"/>
            </a:xfrm>
            <a:custGeom>
              <a:avLst/>
              <a:gdLst>
                <a:gd name="T0" fmla="*/ 22 w 89"/>
                <a:gd name="T1" fmla="*/ 0 h 62"/>
                <a:gd name="T2" fmla="*/ 0 w 89"/>
                <a:gd name="T3" fmla="*/ 62 h 62"/>
                <a:gd name="T4" fmla="*/ 89 w 89"/>
                <a:gd name="T5" fmla="*/ 0 h 62"/>
                <a:gd name="T6" fmla="*/ 22 w 89"/>
                <a:gd name="T7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9" h="62">
                  <a:moveTo>
                    <a:pt x="22" y="0"/>
                  </a:moveTo>
                  <a:lnTo>
                    <a:pt x="0" y="62"/>
                  </a:lnTo>
                  <a:lnTo>
                    <a:pt x="89" y="0"/>
                  </a:lnTo>
                  <a:lnTo>
                    <a:pt x="22" y="0"/>
                  </a:lnTo>
                  <a:close/>
                </a:path>
              </a:pathLst>
            </a:custGeom>
            <a:solidFill>
              <a:srgbClr val="4E66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28" name="Freeform 301"/>
            <p:cNvSpPr/>
            <p:nvPr userDrawn="1"/>
          </p:nvSpPr>
          <p:spPr bwMode="auto">
            <a:xfrm>
              <a:off x="4247356" y="2424113"/>
              <a:ext cx="65088" cy="66675"/>
            </a:xfrm>
            <a:custGeom>
              <a:avLst/>
              <a:gdLst>
                <a:gd name="T0" fmla="*/ 41 w 41"/>
                <a:gd name="T1" fmla="*/ 25 h 42"/>
                <a:gd name="T2" fmla="*/ 17 w 41"/>
                <a:gd name="T3" fmla="*/ 42 h 42"/>
                <a:gd name="T4" fmla="*/ 0 w 41"/>
                <a:gd name="T5" fmla="*/ 17 h 42"/>
                <a:gd name="T6" fmla="*/ 24 w 41"/>
                <a:gd name="T7" fmla="*/ 0 h 42"/>
                <a:gd name="T8" fmla="*/ 41 w 41"/>
                <a:gd name="T9" fmla="*/ 25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42">
                  <a:moveTo>
                    <a:pt x="41" y="25"/>
                  </a:moveTo>
                  <a:lnTo>
                    <a:pt x="17" y="42"/>
                  </a:lnTo>
                  <a:lnTo>
                    <a:pt x="0" y="17"/>
                  </a:lnTo>
                  <a:lnTo>
                    <a:pt x="24" y="0"/>
                  </a:lnTo>
                  <a:lnTo>
                    <a:pt x="41" y="25"/>
                  </a:lnTo>
                  <a:close/>
                </a:path>
              </a:pathLst>
            </a:custGeom>
            <a:solidFill>
              <a:srgbClr val="7D64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29" name="Freeform 302"/>
            <p:cNvSpPr/>
            <p:nvPr userDrawn="1"/>
          </p:nvSpPr>
          <p:spPr bwMode="auto">
            <a:xfrm>
              <a:off x="4252118" y="2428875"/>
              <a:ext cx="38100" cy="34925"/>
            </a:xfrm>
            <a:custGeom>
              <a:avLst/>
              <a:gdLst>
                <a:gd name="T0" fmla="*/ 24 w 24"/>
                <a:gd name="T1" fmla="*/ 7 h 22"/>
                <a:gd name="T2" fmla="*/ 4 w 24"/>
                <a:gd name="T3" fmla="*/ 22 h 22"/>
                <a:gd name="T4" fmla="*/ 0 w 24"/>
                <a:gd name="T5" fmla="*/ 15 h 22"/>
                <a:gd name="T6" fmla="*/ 21 w 24"/>
                <a:gd name="T7" fmla="*/ 0 h 22"/>
                <a:gd name="T8" fmla="*/ 24 w 24"/>
                <a:gd name="T9" fmla="*/ 7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22">
                  <a:moveTo>
                    <a:pt x="24" y="7"/>
                  </a:moveTo>
                  <a:lnTo>
                    <a:pt x="4" y="22"/>
                  </a:lnTo>
                  <a:lnTo>
                    <a:pt x="0" y="15"/>
                  </a:lnTo>
                  <a:lnTo>
                    <a:pt x="21" y="0"/>
                  </a:lnTo>
                  <a:lnTo>
                    <a:pt x="24" y="7"/>
                  </a:lnTo>
                  <a:close/>
                </a:path>
              </a:pathLst>
            </a:custGeom>
            <a:solidFill>
              <a:srgbClr val="77A7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30" name="Freeform 303"/>
            <p:cNvSpPr/>
            <p:nvPr userDrawn="1"/>
          </p:nvSpPr>
          <p:spPr bwMode="auto">
            <a:xfrm>
              <a:off x="4261643" y="2452688"/>
              <a:ext cx="28575" cy="33338"/>
            </a:xfrm>
            <a:custGeom>
              <a:avLst/>
              <a:gdLst>
                <a:gd name="T0" fmla="*/ 18 w 18"/>
                <a:gd name="T1" fmla="*/ 14 h 21"/>
                <a:gd name="T2" fmla="*/ 8 w 18"/>
                <a:gd name="T3" fmla="*/ 21 h 21"/>
                <a:gd name="T4" fmla="*/ 0 w 18"/>
                <a:gd name="T5" fmla="*/ 7 h 21"/>
                <a:gd name="T6" fmla="*/ 8 w 18"/>
                <a:gd name="T7" fmla="*/ 0 h 21"/>
                <a:gd name="T8" fmla="*/ 18 w 18"/>
                <a:gd name="T9" fmla="*/ 14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21">
                  <a:moveTo>
                    <a:pt x="18" y="14"/>
                  </a:moveTo>
                  <a:lnTo>
                    <a:pt x="8" y="21"/>
                  </a:lnTo>
                  <a:lnTo>
                    <a:pt x="0" y="7"/>
                  </a:lnTo>
                  <a:lnTo>
                    <a:pt x="8" y="0"/>
                  </a:lnTo>
                  <a:lnTo>
                    <a:pt x="18" y="14"/>
                  </a:lnTo>
                  <a:close/>
                </a:path>
              </a:pathLst>
            </a:custGeom>
            <a:solidFill>
              <a:srgbClr val="77A7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31" name="Freeform 304"/>
            <p:cNvSpPr/>
            <p:nvPr userDrawn="1"/>
          </p:nvSpPr>
          <p:spPr bwMode="auto">
            <a:xfrm>
              <a:off x="4277518" y="2443163"/>
              <a:ext cx="30163" cy="28575"/>
            </a:xfrm>
            <a:custGeom>
              <a:avLst/>
              <a:gdLst>
                <a:gd name="T0" fmla="*/ 19 w 19"/>
                <a:gd name="T1" fmla="*/ 12 h 18"/>
                <a:gd name="T2" fmla="*/ 8 w 19"/>
                <a:gd name="T3" fmla="*/ 18 h 18"/>
                <a:gd name="T4" fmla="*/ 0 w 19"/>
                <a:gd name="T5" fmla="*/ 6 h 18"/>
                <a:gd name="T6" fmla="*/ 10 w 19"/>
                <a:gd name="T7" fmla="*/ 0 h 18"/>
                <a:gd name="T8" fmla="*/ 19 w 19"/>
                <a:gd name="T9" fmla="*/ 1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8">
                  <a:moveTo>
                    <a:pt x="19" y="12"/>
                  </a:moveTo>
                  <a:lnTo>
                    <a:pt x="8" y="1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9" y="12"/>
                  </a:lnTo>
                  <a:close/>
                </a:path>
              </a:pathLst>
            </a:custGeom>
            <a:solidFill>
              <a:srgbClr val="77A7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32" name="Freeform 305"/>
            <p:cNvSpPr/>
            <p:nvPr userDrawn="1"/>
          </p:nvSpPr>
          <p:spPr bwMode="auto">
            <a:xfrm>
              <a:off x="4418806" y="1887538"/>
              <a:ext cx="304800" cy="261938"/>
            </a:xfrm>
            <a:custGeom>
              <a:avLst/>
              <a:gdLst>
                <a:gd name="T0" fmla="*/ 192 w 192"/>
                <a:gd name="T1" fmla="*/ 125 h 165"/>
                <a:gd name="T2" fmla="*/ 31 w 192"/>
                <a:gd name="T3" fmla="*/ 165 h 165"/>
                <a:gd name="T4" fmla="*/ 0 w 192"/>
                <a:gd name="T5" fmla="*/ 40 h 165"/>
                <a:gd name="T6" fmla="*/ 161 w 192"/>
                <a:gd name="T7" fmla="*/ 0 h 165"/>
                <a:gd name="T8" fmla="*/ 192 w 192"/>
                <a:gd name="T9" fmla="*/ 125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2" h="165">
                  <a:moveTo>
                    <a:pt x="192" y="125"/>
                  </a:moveTo>
                  <a:lnTo>
                    <a:pt x="31" y="165"/>
                  </a:lnTo>
                  <a:lnTo>
                    <a:pt x="0" y="40"/>
                  </a:lnTo>
                  <a:lnTo>
                    <a:pt x="161" y="0"/>
                  </a:lnTo>
                  <a:lnTo>
                    <a:pt x="192" y="12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33" name="Freeform 306"/>
            <p:cNvSpPr/>
            <p:nvPr userDrawn="1"/>
          </p:nvSpPr>
          <p:spPr bwMode="auto">
            <a:xfrm>
              <a:off x="4441031" y="2081213"/>
              <a:ext cx="320675" cy="119063"/>
            </a:xfrm>
            <a:custGeom>
              <a:avLst/>
              <a:gdLst>
                <a:gd name="T0" fmla="*/ 202 w 202"/>
                <a:gd name="T1" fmla="*/ 27 h 75"/>
                <a:gd name="T2" fmla="*/ 7 w 202"/>
                <a:gd name="T3" fmla="*/ 75 h 75"/>
                <a:gd name="T4" fmla="*/ 0 w 202"/>
                <a:gd name="T5" fmla="*/ 48 h 75"/>
                <a:gd name="T6" fmla="*/ 197 w 202"/>
                <a:gd name="T7" fmla="*/ 0 h 75"/>
                <a:gd name="T8" fmla="*/ 202 w 202"/>
                <a:gd name="T9" fmla="*/ 27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2" h="75">
                  <a:moveTo>
                    <a:pt x="202" y="27"/>
                  </a:moveTo>
                  <a:lnTo>
                    <a:pt x="7" y="75"/>
                  </a:lnTo>
                  <a:lnTo>
                    <a:pt x="0" y="48"/>
                  </a:lnTo>
                  <a:lnTo>
                    <a:pt x="197" y="0"/>
                  </a:lnTo>
                  <a:lnTo>
                    <a:pt x="202" y="27"/>
                  </a:lnTo>
                  <a:close/>
                </a:path>
              </a:pathLst>
            </a:custGeom>
            <a:solidFill>
              <a:srgbClr val="4242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34" name="Freeform 307"/>
            <p:cNvSpPr/>
            <p:nvPr userDrawn="1"/>
          </p:nvSpPr>
          <p:spPr bwMode="auto">
            <a:xfrm>
              <a:off x="4364831" y="1790700"/>
              <a:ext cx="363538" cy="173038"/>
            </a:xfrm>
            <a:custGeom>
              <a:avLst/>
              <a:gdLst>
                <a:gd name="T0" fmla="*/ 96 w 229"/>
                <a:gd name="T1" fmla="*/ 0 h 109"/>
                <a:gd name="T2" fmla="*/ 0 w 229"/>
                <a:gd name="T3" fmla="*/ 109 h 109"/>
                <a:gd name="T4" fmla="*/ 229 w 229"/>
                <a:gd name="T5" fmla="*/ 53 h 109"/>
                <a:gd name="T6" fmla="*/ 96 w 229"/>
                <a:gd name="T7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9" h="109">
                  <a:moveTo>
                    <a:pt x="96" y="0"/>
                  </a:moveTo>
                  <a:lnTo>
                    <a:pt x="0" y="109"/>
                  </a:lnTo>
                  <a:lnTo>
                    <a:pt x="229" y="53"/>
                  </a:lnTo>
                  <a:lnTo>
                    <a:pt x="96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35" name="Freeform 308"/>
            <p:cNvSpPr/>
            <p:nvPr userDrawn="1"/>
          </p:nvSpPr>
          <p:spPr bwMode="auto">
            <a:xfrm>
              <a:off x="4509293" y="1955800"/>
              <a:ext cx="123825" cy="125413"/>
            </a:xfrm>
            <a:custGeom>
              <a:avLst/>
              <a:gdLst>
                <a:gd name="T0" fmla="*/ 78 w 78"/>
                <a:gd name="T1" fmla="*/ 63 h 79"/>
                <a:gd name="T2" fmla="*/ 15 w 78"/>
                <a:gd name="T3" fmla="*/ 79 h 79"/>
                <a:gd name="T4" fmla="*/ 0 w 78"/>
                <a:gd name="T5" fmla="*/ 15 h 79"/>
                <a:gd name="T6" fmla="*/ 63 w 78"/>
                <a:gd name="T7" fmla="*/ 0 h 79"/>
                <a:gd name="T8" fmla="*/ 78 w 78"/>
                <a:gd name="T9" fmla="*/ 63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" h="79">
                  <a:moveTo>
                    <a:pt x="78" y="63"/>
                  </a:moveTo>
                  <a:lnTo>
                    <a:pt x="15" y="79"/>
                  </a:lnTo>
                  <a:lnTo>
                    <a:pt x="0" y="15"/>
                  </a:lnTo>
                  <a:lnTo>
                    <a:pt x="63" y="0"/>
                  </a:lnTo>
                  <a:lnTo>
                    <a:pt x="78" y="63"/>
                  </a:lnTo>
                  <a:close/>
                </a:path>
              </a:pathLst>
            </a:custGeom>
            <a:solidFill>
              <a:srgbClr val="7D64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36" name="Freeform 309"/>
            <p:cNvSpPr/>
            <p:nvPr userDrawn="1"/>
          </p:nvSpPr>
          <p:spPr bwMode="auto">
            <a:xfrm>
              <a:off x="4518818" y="1966913"/>
              <a:ext cx="90488" cy="49213"/>
            </a:xfrm>
            <a:custGeom>
              <a:avLst/>
              <a:gdLst>
                <a:gd name="T0" fmla="*/ 57 w 57"/>
                <a:gd name="T1" fmla="*/ 17 h 31"/>
                <a:gd name="T2" fmla="*/ 4 w 57"/>
                <a:gd name="T3" fmla="*/ 31 h 31"/>
                <a:gd name="T4" fmla="*/ 0 w 57"/>
                <a:gd name="T5" fmla="*/ 12 h 31"/>
                <a:gd name="T6" fmla="*/ 53 w 57"/>
                <a:gd name="T7" fmla="*/ 0 h 31"/>
                <a:gd name="T8" fmla="*/ 57 w 57"/>
                <a:gd name="T9" fmla="*/ 17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31">
                  <a:moveTo>
                    <a:pt x="57" y="17"/>
                  </a:moveTo>
                  <a:lnTo>
                    <a:pt x="4" y="31"/>
                  </a:lnTo>
                  <a:lnTo>
                    <a:pt x="0" y="12"/>
                  </a:lnTo>
                  <a:lnTo>
                    <a:pt x="53" y="0"/>
                  </a:lnTo>
                  <a:lnTo>
                    <a:pt x="57" y="17"/>
                  </a:lnTo>
                  <a:close/>
                </a:path>
              </a:pathLst>
            </a:custGeom>
            <a:solidFill>
              <a:srgbClr val="77A7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37" name="Freeform 310"/>
            <p:cNvSpPr/>
            <p:nvPr userDrawn="1"/>
          </p:nvSpPr>
          <p:spPr bwMode="auto">
            <a:xfrm>
              <a:off x="4528343" y="2009775"/>
              <a:ext cx="50800" cy="60325"/>
            </a:xfrm>
            <a:custGeom>
              <a:avLst/>
              <a:gdLst>
                <a:gd name="T0" fmla="*/ 32 w 32"/>
                <a:gd name="T1" fmla="*/ 33 h 38"/>
                <a:gd name="T2" fmla="*/ 6 w 32"/>
                <a:gd name="T3" fmla="*/ 38 h 38"/>
                <a:gd name="T4" fmla="*/ 0 w 32"/>
                <a:gd name="T5" fmla="*/ 5 h 38"/>
                <a:gd name="T6" fmla="*/ 23 w 32"/>
                <a:gd name="T7" fmla="*/ 0 h 38"/>
                <a:gd name="T8" fmla="*/ 32 w 32"/>
                <a:gd name="T9" fmla="*/ 33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38">
                  <a:moveTo>
                    <a:pt x="32" y="33"/>
                  </a:moveTo>
                  <a:lnTo>
                    <a:pt x="6" y="38"/>
                  </a:lnTo>
                  <a:lnTo>
                    <a:pt x="0" y="5"/>
                  </a:lnTo>
                  <a:lnTo>
                    <a:pt x="23" y="0"/>
                  </a:lnTo>
                  <a:lnTo>
                    <a:pt x="32" y="33"/>
                  </a:lnTo>
                  <a:close/>
                </a:path>
              </a:pathLst>
            </a:custGeom>
            <a:solidFill>
              <a:srgbClr val="77A7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38" name="Freeform 311"/>
            <p:cNvSpPr/>
            <p:nvPr userDrawn="1"/>
          </p:nvSpPr>
          <p:spPr bwMode="auto">
            <a:xfrm>
              <a:off x="4571206" y="1998663"/>
              <a:ext cx="50800" cy="60325"/>
            </a:xfrm>
            <a:custGeom>
              <a:avLst/>
              <a:gdLst>
                <a:gd name="T0" fmla="*/ 32 w 32"/>
                <a:gd name="T1" fmla="*/ 33 h 38"/>
                <a:gd name="T2" fmla="*/ 8 w 32"/>
                <a:gd name="T3" fmla="*/ 38 h 38"/>
                <a:gd name="T4" fmla="*/ 0 w 32"/>
                <a:gd name="T5" fmla="*/ 6 h 38"/>
                <a:gd name="T6" fmla="*/ 26 w 32"/>
                <a:gd name="T7" fmla="*/ 0 h 38"/>
                <a:gd name="T8" fmla="*/ 32 w 32"/>
                <a:gd name="T9" fmla="*/ 33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38">
                  <a:moveTo>
                    <a:pt x="32" y="33"/>
                  </a:moveTo>
                  <a:lnTo>
                    <a:pt x="8" y="38"/>
                  </a:lnTo>
                  <a:lnTo>
                    <a:pt x="0" y="6"/>
                  </a:lnTo>
                  <a:lnTo>
                    <a:pt x="26" y="0"/>
                  </a:lnTo>
                  <a:lnTo>
                    <a:pt x="32" y="33"/>
                  </a:lnTo>
                  <a:close/>
                </a:path>
              </a:pathLst>
            </a:custGeom>
            <a:solidFill>
              <a:srgbClr val="77A7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39" name="Freeform 312"/>
            <p:cNvSpPr/>
            <p:nvPr userDrawn="1"/>
          </p:nvSpPr>
          <p:spPr bwMode="auto">
            <a:xfrm>
              <a:off x="7028656" y="1531938"/>
              <a:ext cx="304800" cy="304800"/>
            </a:xfrm>
            <a:custGeom>
              <a:avLst/>
              <a:gdLst>
                <a:gd name="T0" fmla="*/ 96 w 112"/>
                <a:gd name="T1" fmla="*/ 76 h 112"/>
                <a:gd name="T2" fmla="*/ 83 w 112"/>
                <a:gd name="T3" fmla="*/ 64 h 112"/>
                <a:gd name="T4" fmla="*/ 87 w 112"/>
                <a:gd name="T5" fmla="*/ 54 h 112"/>
                <a:gd name="T6" fmla="*/ 91 w 112"/>
                <a:gd name="T7" fmla="*/ 58 h 112"/>
                <a:gd name="T8" fmla="*/ 93 w 112"/>
                <a:gd name="T9" fmla="*/ 59 h 112"/>
                <a:gd name="T10" fmla="*/ 98 w 112"/>
                <a:gd name="T11" fmla="*/ 55 h 112"/>
                <a:gd name="T12" fmla="*/ 97 w 112"/>
                <a:gd name="T13" fmla="*/ 53 h 112"/>
                <a:gd name="T14" fmla="*/ 91 w 112"/>
                <a:gd name="T15" fmla="*/ 47 h 112"/>
                <a:gd name="T16" fmla="*/ 94 w 112"/>
                <a:gd name="T17" fmla="*/ 40 h 112"/>
                <a:gd name="T18" fmla="*/ 98 w 112"/>
                <a:gd name="T19" fmla="*/ 44 h 112"/>
                <a:gd name="T20" fmla="*/ 100 w 112"/>
                <a:gd name="T21" fmla="*/ 45 h 112"/>
                <a:gd name="T22" fmla="*/ 104 w 112"/>
                <a:gd name="T23" fmla="*/ 41 h 112"/>
                <a:gd name="T24" fmla="*/ 104 w 112"/>
                <a:gd name="T25" fmla="*/ 39 h 112"/>
                <a:gd name="T26" fmla="*/ 97 w 112"/>
                <a:gd name="T27" fmla="*/ 32 h 112"/>
                <a:gd name="T28" fmla="*/ 106 w 112"/>
                <a:gd name="T29" fmla="*/ 12 h 112"/>
                <a:gd name="T30" fmla="*/ 106 w 112"/>
                <a:gd name="T31" fmla="*/ 9 h 112"/>
                <a:gd name="T32" fmla="*/ 99 w 112"/>
                <a:gd name="T33" fmla="*/ 3 h 112"/>
                <a:gd name="T34" fmla="*/ 96 w 112"/>
                <a:gd name="T35" fmla="*/ 3 h 112"/>
                <a:gd name="T36" fmla="*/ 62 w 112"/>
                <a:gd name="T37" fmla="*/ 45 h 112"/>
                <a:gd name="T38" fmla="*/ 40 w 112"/>
                <a:gd name="T39" fmla="*/ 28 h 112"/>
                <a:gd name="T40" fmla="*/ 46 w 112"/>
                <a:gd name="T41" fmla="*/ 6 h 112"/>
                <a:gd name="T42" fmla="*/ 45 w 112"/>
                <a:gd name="T43" fmla="*/ 5 h 112"/>
                <a:gd name="T44" fmla="*/ 41 w 112"/>
                <a:gd name="T45" fmla="*/ 1 h 112"/>
                <a:gd name="T46" fmla="*/ 39 w 112"/>
                <a:gd name="T47" fmla="*/ 0 h 112"/>
                <a:gd name="T48" fmla="*/ 26 w 112"/>
                <a:gd name="T49" fmla="*/ 19 h 112"/>
                <a:gd name="T50" fmla="*/ 15 w 112"/>
                <a:gd name="T51" fmla="*/ 15 h 112"/>
                <a:gd name="T52" fmla="*/ 19 w 112"/>
                <a:gd name="T53" fmla="*/ 26 h 112"/>
                <a:gd name="T54" fmla="*/ 1 w 112"/>
                <a:gd name="T55" fmla="*/ 39 h 112"/>
                <a:gd name="T56" fmla="*/ 1 w 112"/>
                <a:gd name="T57" fmla="*/ 41 h 112"/>
                <a:gd name="T58" fmla="*/ 5 w 112"/>
                <a:gd name="T59" fmla="*/ 45 h 112"/>
                <a:gd name="T60" fmla="*/ 7 w 112"/>
                <a:gd name="T61" fmla="*/ 46 h 112"/>
                <a:gd name="T62" fmla="*/ 28 w 112"/>
                <a:gd name="T63" fmla="*/ 40 h 112"/>
                <a:gd name="T64" fmla="*/ 45 w 112"/>
                <a:gd name="T65" fmla="*/ 62 h 112"/>
                <a:gd name="T66" fmla="*/ 2 w 112"/>
                <a:gd name="T67" fmla="*/ 96 h 112"/>
                <a:gd name="T68" fmla="*/ 3 w 112"/>
                <a:gd name="T69" fmla="*/ 99 h 112"/>
                <a:gd name="T70" fmla="*/ 9 w 112"/>
                <a:gd name="T71" fmla="*/ 106 h 112"/>
                <a:gd name="T72" fmla="*/ 12 w 112"/>
                <a:gd name="T73" fmla="*/ 106 h 112"/>
                <a:gd name="T74" fmla="*/ 32 w 112"/>
                <a:gd name="T75" fmla="*/ 97 h 112"/>
                <a:gd name="T76" fmla="*/ 39 w 112"/>
                <a:gd name="T77" fmla="*/ 104 h 112"/>
                <a:gd name="T78" fmla="*/ 41 w 112"/>
                <a:gd name="T79" fmla="*/ 105 h 112"/>
                <a:gd name="T80" fmla="*/ 45 w 112"/>
                <a:gd name="T81" fmla="*/ 100 h 112"/>
                <a:gd name="T82" fmla="*/ 44 w 112"/>
                <a:gd name="T83" fmla="*/ 98 h 112"/>
                <a:gd name="T84" fmla="*/ 40 w 112"/>
                <a:gd name="T85" fmla="*/ 94 h 112"/>
                <a:gd name="T86" fmla="*/ 46 w 112"/>
                <a:gd name="T87" fmla="*/ 91 h 112"/>
                <a:gd name="T88" fmla="*/ 53 w 112"/>
                <a:gd name="T89" fmla="*/ 97 h 112"/>
                <a:gd name="T90" fmla="*/ 55 w 112"/>
                <a:gd name="T91" fmla="*/ 98 h 112"/>
                <a:gd name="T92" fmla="*/ 59 w 112"/>
                <a:gd name="T93" fmla="*/ 93 h 112"/>
                <a:gd name="T94" fmla="*/ 58 w 112"/>
                <a:gd name="T95" fmla="*/ 91 h 112"/>
                <a:gd name="T96" fmla="*/ 54 w 112"/>
                <a:gd name="T97" fmla="*/ 88 h 112"/>
                <a:gd name="T98" fmla="*/ 65 w 112"/>
                <a:gd name="T99" fmla="*/ 83 h 112"/>
                <a:gd name="T100" fmla="*/ 77 w 112"/>
                <a:gd name="T101" fmla="*/ 96 h 112"/>
                <a:gd name="T102" fmla="*/ 105 w 112"/>
                <a:gd name="T103" fmla="*/ 105 h 112"/>
                <a:gd name="T104" fmla="*/ 96 w 112"/>
                <a:gd name="T105" fmla="*/ 76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12" h="112">
                  <a:moveTo>
                    <a:pt x="96" y="76"/>
                  </a:moveTo>
                  <a:cubicBezTo>
                    <a:pt x="91" y="72"/>
                    <a:pt x="87" y="68"/>
                    <a:pt x="83" y="64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9" y="56"/>
                    <a:pt x="90" y="57"/>
                    <a:pt x="91" y="58"/>
                  </a:cubicBezTo>
                  <a:cubicBezTo>
                    <a:pt x="92" y="59"/>
                    <a:pt x="93" y="59"/>
                    <a:pt x="93" y="59"/>
                  </a:cubicBezTo>
                  <a:cubicBezTo>
                    <a:pt x="98" y="55"/>
                    <a:pt x="98" y="55"/>
                    <a:pt x="98" y="55"/>
                  </a:cubicBezTo>
                  <a:cubicBezTo>
                    <a:pt x="98" y="54"/>
                    <a:pt x="98" y="53"/>
                    <a:pt x="97" y="53"/>
                  </a:cubicBezTo>
                  <a:cubicBezTo>
                    <a:pt x="96" y="51"/>
                    <a:pt x="93" y="49"/>
                    <a:pt x="91" y="47"/>
                  </a:cubicBezTo>
                  <a:cubicBezTo>
                    <a:pt x="94" y="40"/>
                    <a:pt x="94" y="40"/>
                    <a:pt x="94" y="40"/>
                  </a:cubicBezTo>
                  <a:cubicBezTo>
                    <a:pt x="96" y="42"/>
                    <a:pt x="97" y="43"/>
                    <a:pt x="98" y="44"/>
                  </a:cubicBezTo>
                  <a:cubicBezTo>
                    <a:pt x="99" y="45"/>
                    <a:pt x="100" y="45"/>
                    <a:pt x="100" y="45"/>
                  </a:cubicBezTo>
                  <a:cubicBezTo>
                    <a:pt x="104" y="41"/>
                    <a:pt x="104" y="41"/>
                    <a:pt x="104" y="41"/>
                  </a:cubicBezTo>
                  <a:cubicBezTo>
                    <a:pt x="105" y="40"/>
                    <a:pt x="105" y="39"/>
                    <a:pt x="104" y="39"/>
                  </a:cubicBezTo>
                  <a:cubicBezTo>
                    <a:pt x="102" y="37"/>
                    <a:pt x="100" y="34"/>
                    <a:pt x="97" y="32"/>
                  </a:cubicBezTo>
                  <a:cubicBezTo>
                    <a:pt x="106" y="12"/>
                    <a:pt x="106" y="12"/>
                    <a:pt x="106" y="12"/>
                  </a:cubicBezTo>
                  <a:cubicBezTo>
                    <a:pt x="106" y="11"/>
                    <a:pt x="106" y="10"/>
                    <a:pt x="106" y="9"/>
                  </a:cubicBezTo>
                  <a:cubicBezTo>
                    <a:pt x="99" y="3"/>
                    <a:pt x="99" y="3"/>
                    <a:pt x="99" y="3"/>
                  </a:cubicBezTo>
                  <a:cubicBezTo>
                    <a:pt x="98" y="2"/>
                    <a:pt x="97" y="2"/>
                    <a:pt x="96" y="3"/>
                  </a:cubicBezTo>
                  <a:cubicBezTo>
                    <a:pt x="62" y="45"/>
                    <a:pt x="62" y="45"/>
                    <a:pt x="62" y="45"/>
                  </a:cubicBezTo>
                  <a:cubicBezTo>
                    <a:pt x="53" y="37"/>
                    <a:pt x="46" y="32"/>
                    <a:pt x="40" y="28"/>
                  </a:cubicBezTo>
                  <a:cubicBezTo>
                    <a:pt x="46" y="6"/>
                    <a:pt x="46" y="6"/>
                    <a:pt x="46" y="6"/>
                  </a:cubicBezTo>
                  <a:cubicBezTo>
                    <a:pt x="46" y="6"/>
                    <a:pt x="46" y="5"/>
                    <a:pt x="45" y="5"/>
                  </a:cubicBezTo>
                  <a:cubicBezTo>
                    <a:pt x="41" y="1"/>
                    <a:pt x="41" y="1"/>
                    <a:pt x="41" y="1"/>
                  </a:cubicBezTo>
                  <a:cubicBezTo>
                    <a:pt x="41" y="0"/>
                    <a:pt x="40" y="0"/>
                    <a:pt x="39" y="0"/>
                  </a:cubicBezTo>
                  <a:cubicBezTo>
                    <a:pt x="26" y="19"/>
                    <a:pt x="26" y="19"/>
                    <a:pt x="26" y="19"/>
                  </a:cubicBezTo>
                  <a:cubicBezTo>
                    <a:pt x="18" y="15"/>
                    <a:pt x="15" y="15"/>
                    <a:pt x="15" y="15"/>
                  </a:cubicBezTo>
                  <a:cubicBezTo>
                    <a:pt x="15" y="15"/>
                    <a:pt x="15" y="18"/>
                    <a:pt x="19" y="26"/>
                  </a:cubicBezTo>
                  <a:cubicBezTo>
                    <a:pt x="1" y="39"/>
                    <a:pt x="1" y="39"/>
                    <a:pt x="1" y="39"/>
                  </a:cubicBezTo>
                  <a:cubicBezTo>
                    <a:pt x="0" y="39"/>
                    <a:pt x="0" y="40"/>
                    <a:pt x="1" y="41"/>
                  </a:cubicBezTo>
                  <a:cubicBezTo>
                    <a:pt x="5" y="45"/>
                    <a:pt x="5" y="45"/>
                    <a:pt x="5" y="45"/>
                  </a:cubicBezTo>
                  <a:cubicBezTo>
                    <a:pt x="6" y="46"/>
                    <a:pt x="6" y="46"/>
                    <a:pt x="7" y="46"/>
                  </a:cubicBezTo>
                  <a:cubicBezTo>
                    <a:pt x="28" y="40"/>
                    <a:pt x="28" y="40"/>
                    <a:pt x="28" y="40"/>
                  </a:cubicBezTo>
                  <a:cubicBezTo>
                    <a:pt x="33" y="46"/>
                    <a:pt x="45" y="62"/>
                    <a:pt x="45" y="62"/>
                  </a:cubicBezTo>
                  <a:cubicBezTo>
                    <a:pt x="2" y="96"/>
                    <a:pt x="2" y="96"/>
                    <a:pt x="2" y="96"/>
                  </a:cubicBezTo>
                  <a:cubicBezTo>
                    <a:pt x="2" y="97"/>
                    <a:pt x="2" y="98"/>
                    <a:pt x="3" y="99"/>
                  </a:cubicBezTo>
                  <a:cubicBezTo>
                    <a:pt x="9" y="106"/>
                    <a:pt x="9" y="106"/>
                    <a:pt x="9" y="106"/>
                  </a:cubicBezTo>
                  <a:cubicBezTo>
                    <a:pt x="10" y="106"/>
                    <a:pt x="11" y="107"/>
                    <a:pt x="12" y="106"/>
                  </a:cubicBezTo>
                  <a:cubicBezTo>
                    <a:pt x="32" y="97"/>
                    <a:pt x="32" y="97"/>
                    <a:pt x="32" y="97"/>
                  </a:cubicBezTo>
                  <a:cubicBezTo>
                    <a:pt x="34" y="100"/>
                    <a:pt x="37" y="103"/>
                    <a:pt x="39" y="104"/>
                  </a:cubicBezTo>
                  <a:cubicBezTo>
                    <a:pt x="39" y="105"/>
                    <a:pt x="40" y="105"/>
                    <a:pt x="41" y="105"/>
                  </a:cubicBezTo>
                  <a:cubicBezTo>
                    <a:pt x="45" y="100"/>
                    <a:pt x="45" y="100"/>
                    <a:pt x="45" y="100"/>
                  </a:cubicBezTo>
                  <a:cubicBezTo>
                    <a:pt x="45" y="100"/>
                    <a:pt x="45" y="99"/>
                    <a:pt x="44" y="98"/>
                  </a:cubicBezTo>
                  <a:cubicBezTo>
                    <a:pt x="43" y="97"/>
                    <a:pt x="42" y="96"/>
                    <a:pt x="40" y="94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49" y="93"/>
                    <a:pt x="51" y="96"/>
                    <a:pt x="53" y="97"/>
                  </a:cubicBezTo>
                  <a:cubicBezTo>
                    <a:pt x="53" y="98"/>
                    <a:pt x="54" y="98"/>
                    <a:pt x="55" y="98"/>
                  </a:cubicBezTo>
                  <a:cubicBezTo>
                    <a:pt x="59" y="93"/>
                    <a:pt x="59" y="93"/>
                    <a:pt x="59" y="93"/>
                  </a:cubicBezTo>
                  <a:cubicBezTo>
                    <a:pt x="59" y="93"/>
                    <a:pt x="59" y="92"/>
                    <a:pt x="58" y="91"/>
                  </a:cubicBezTo>
                  <a:cubicBezTo>
                    <a:pt x="57" y="90"/>
                    <a:pt x="56" y="89"/>
                    <a:pt x="54" y="88"/>
                  </a:cubicBezTo>
                  <a:cubicBezTo>
                    <a:pt x="65" y="83"/>
                    <a:pt x="65" y="83"/>
                    <a:pt x="65" y="83"/>
                  </a:cubicBezTo>
                  <a:cubicBezTo>
                    <a:pt x="68" y="87"/>
                    <a:pt x="72" y="91"/>
                    <a:pt x="77" y="96"/>
                  </a:cubicBezTo>
                  <a:cubicBezTo>
                    <a:pt x="93" y="112"/>
                    <a:pt x="105" y="105"/>
                    <a:pt x="105" y="105"/>
                  </a:cubicBezTo>
                  <a:cubicBezTo>
                    <a:pt x="105" y="105"/>
                    <a:pt x="112" y="93"/>
                    <a:pt x="96" y="7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40" name="Freeform 313"/>
            <p:cNvSpPr/>
            <p:nvPr userDrawn="1"/>
          </p:nvSpPr>
          <p:spPr bwMode="auto">
            <a:xfrm>
              <a:off x="7287418" y="1790700"/>
              <a:ext cx="30163" cy="26988"/>
            </a:xfrm>
            <a:custGeom>
              <a:avLst/>
              <a:gdLst>
                <a:gd name="T0" fmla="*/ 0 w 11"/>
                <a:gd name="T1" fmla="*/ 7 h 10"/>
                <a:gd name="T2" fmla="*/ 3 w 11"/>
                <a:gd name="T3" fmla="*/ 7 h 10"/>
                <a:gd name="T4" fmla="*/ 7 w 11"/>
                <a:gd name="T5" fmla="*/ 6 h 10"/>
                <a:gd name="T6" fmla="*/ 6 w 11"/>
                <a:gd name="T7" fmla="*/ 7 h 10"/>
                <a:gd name="T8" fmla="*/ 7 w 11"/>
                <a:gd name="T9" fmla="*/ 3 h 10"/>
                <a:gd name="T10" fmla="*/ 7 w 11"/>
                <a:gd name="T11" fmla="*/ 0 h 10"/>
                <a:gd name="T12" fmla="*/ 11 w 11"/>
                <a:gd name="T13" fmla="*/ 1 h 10"/>
                <a:gd name="T14" fmla="*/ 10 w 11"/>
                <a:gd name="T15" fmla="*/ 5 h 10"/>
                <a:gd name="T16" fmla="*/ 9 w 11"/>
                <a:gd name="T17" fmla="*/ 9 h 10"/>
                <a:gd name="T18" fmla="*/ 9 w 11"/>
                <a:gd name="T19" fmla="*/ 9 h 10"/>
                <a:gd name="T20" fmla="*/ 9 w 11"/>
                <a:gd name="T21" fmla="*/ 9 h 10"/>
                <a:gd name="T22" fmla="*/ 5 w 11"/>
                <a:gd name="T23" fmla="*/ 10 h 10"/>
                <a:gd name="T24" fmla="*/ 1 w 11"/>
                <a:gd name="T25" fmla="*/ 10 h 10"/>
                <a:gd name="T26" fmla="*/ 0 w 11"/>
                <a:gd name="T27" fmla="*/ 7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" h="10">
                  <a:moveTo>
                    <a:pt x="0" y="7"/>
                  </a:moveTo>
                  <a:cubicBezTo>
                    <a:pt x="1" y="7"/>
                    <a:pt x="2" y="7"/>
                    <a:pt x="3" y="7"/>
                  </a:cubicBezTo>
                  <a:cubicBezTo>
                    <a:pt x="5" y="7"/>
                    <a:pt x="6" y="7"/>
                    <a:pt x="7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6"/>
                    <a:pt x="7" y="4"/>
                    <a:pt x="7" y="3"/>
                  </a:cubicBezTo>
                  <a:cubicBezTo>
                    <a:pt x="8" y="2"/>
                    <a:pt x="8" y="1"/>
                    <a:pt x="7" y="0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3"/>
                    <a:pt x="10" y="5"/>
                  </a:cubicBezTo>
                  <a:cubicBezTo>
                    <a:pt x="10" y="6"/>
                    <a:pt x="10" y="7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10"/>
                    <a:pt x="6" y="10"/>
                    <a:pt x="5" y="10"/>
                  </a:cubicBezTo>
                  <a:cubicBezTo>
                    <a:pt x="4" y="10"/>
                    <a:pt x="2" y="10"/>
                    <a:pt x="1" y="10"/>
                  </a:cubicBezTo>
                  <a:lnTo>
                    <a:pt x="0" y="7"/>
                  </a:lnTo>
                  <a:close/>
                </a:path>
              </a:pathLst>
            </a:custGeom>
            <a:solidFill>
              <a:srgbClr val="5B86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41" name="Freeform 314"/>
            <p:cNvSpPr/>
            <p:nvPr userDrawn="1"/>
          </p:nvSpPr>
          <p:spPr bwMode="auto">
            <a:xfrm>
              <a:off x="5914231" y="2020888"/>
              <a:ext cx="388938" cy="354013"/>
            </a:xfrm>
            <a:custGeom>
              <a:avLst/>
              <a:gdLst>
                <a:gd name="T0" fmla="*/ 129 w 143"/>
                <a:gd name="T1" fmla="*/ 15 h 130"/>
                <a:gd name="T2" fmla="*/ 72 w 143"/>
                <a:gd name="T3" fmla="*/ 0 h 130"/>
                <a:gd name="T4" fmla="*/ 14 w 143"/>
                <a:gd name="T5" fmla="*/ 15 h 130"/>
                <a:gd name="T6" fmla="*/ 72 w 143"/>
                <a:gd name="T7" fmla="*/ 130 h 130"/>
                <a:gd name="T8" fmla="*/ 129 w 143"/>
                <a:gd name="T9" fmla="*/ 15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3" h="130">
                  <a:moveTo>
                    <a:pt x="129" y="15"/>
                  </a:moveTo>
                  <a:cubicBezTo>
                    <a:pt x="129" y="15"/>
                    <a:pt x="108" y="0"/>
                    <a:pt x="72" y="0"/>
                  </a:cubicBezTo>
                  <a:cubicBezTo>
                    <a:pt x="36" y="0"/>
                    <a:pt x="14" y="15"/>
                    <a:pt x="14" y="15"/>
                  </a:cubicBezTo>
                  <a:cubicBezTo>
                    <a:pt x="14" y="15"/>
                    <a:pt x="0" y="95"/>
                    <a:pt x="72" y="130"/>
                  </a:cubicBezTo>
                  <a:cubicBezTo>
                    <a:pt x="143" y="95"/>
                    <a:pt x="129" y="15"/>
                    <a:pt x="129" y="15"/>
                  </a:cubicBezTo>
                  <a:close/>
                </a:path>
              </a:pathLst>
            </a:custGeom>
            <a:solidFill>
              <a:srgbClr val="6A90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42" name="Freeform 315"/>
            <p:cNvSpPr/>
            <p:nvPr userDrawn="1"/>
          </p:nvSpPr>
          <p:spPr bwMode="auto">
            <a:xfrm>
              <a:off x="5930106" y="2036763"/>
              <a:ext cx="357188" cy="322263"/>
            </a:xfrm>
            <a:custGeom>
              <a:avLst/>
              <a:gdLst>
                <a:gd name="T0" fmla="*/ 118 w 131"/>
                <a:gd name="T1" fmla="*/ 13 h 118"/>
                <a:gd name="T2" fmla="*/ 66 w 131"/>
                <a:gd name="T3" fmla="*/ 0 h 118"/>
                <a:gd name="T4" fmla="*/ 13 w 131"/>
                <a:gd name="T5" fmla="*/ 13 h 118"/>
                <a:gd name="T6" fmla="*/ 66 w 131"/>
                <a:gd name="T7" fmla="*/ 118 h 118"/>
                <a:gd name="T8" fmla="*/ 118 w 131"/>
                <a:gd name="T9" fmla="*/ 13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1" h="118">
                  <a:moveTo>
                    <a:pt x="118" y="13"/>
                  </a:moveTo>
                  <a:cubicBezTo>
                    <a:pt x="118" y="13"/>
                    <a:pt x="99" y="0"/>
                    <a:pt x="66" y="0"/>
                  </a:cubicBezTo>
                  <a:cubicBezTo>
                    <a:pt x="33" y="0"/>
                    <a:pt x="13" y="13"/>
                    <a:pt x="13" y="13"/>
                  </a:cubicBezTo>
                  <a:cubicBezTo>
                    <a:pt x="13" y="13"/>
                    <a:pt x="0" y="87"/>
                    <a:pt x="66" y="118"/>
                  </a:cubicBezTo>
                  <a:cubicBezTo>
                    <a:pt x="131" y="87"/>
                    <a:pt x="118" y="13"/>
                    <a:pt x="118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43" name="Freeform 316"/>
            <p:cNvSpPr/>
            <p:nvPr userDrawn="1"/>
          </p:nvSpPr>
          <p:spPr bwMode="auto">
            <a:xfrm>
              <a:off x="5947568" y="2047875"/>
              <a:ext cx="323850" cy="300038"/>
            </a:xfrm>
            <a:custGeom>
              <a:avLst/>
              <a:gdLst>
                <a:gd name="T0" fmla="*/ 108 w 119"/>
                <a:gd name="T1" fmla="*/ 13 h 110"/>
                <a:gd name="T2" fmla="*/ 60 w 119"/>
                <a:gd name="T3" fmla="*/ 0 h 110"/>
                <a:gd name="T4" fmla="*/ 12 w 119"/>
                <a:gd name="T5" fmla="*/ 13 h 110"/>
                <a:gd name="T6" fmla="*/ 60 w 119"/>
                <a:gd name="T7" fmla="*/ 110 h 110"/>
                <a:gd name="T8" fmla="*/ 108 w 119"/>
                <a:gd name="T9" fmla="*/ 13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9" h="110">
                  <a:moveTo>
                    <a:pt x="108" y="13"/>
                  </a:moveTo>
                  <a:cubicBezTo>
                    <a:pt x="108" y="13"/>
                    <a:pt x="90" y="0"/>
                    <a:pt x="60" y="0"/>
                  </a:cubicBezTo>
                  <a:cubicBezTo>
                    <a:pt x="29" y="0"/>
                    <a:pt x="12" y="13"/>
                    <a:pt x="12" y="13"/>
                  </a:cubicBezTo>
                  <a:cubicBezTo>
                    <a:pt x="12" y="13"/>
                    <a:pt x="0" y="81"/>
                    <a:pt x="60" y="110"/>
                  </a:cubicBezTo>
                  <a:cubicBezTo>
                    <a:pt x="119" y="81"/>
                    <a:pt x="108" y="13"/>
                    <a:pt x="108" y="13"/>
                  </a:cubicBezTo>
                  <a:close/>
                </a:path>
              </a:pathLst>
            </a:custGeom>
            <a:solidFill>
              <a:srgbClr val="5675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44" name="Freeform 317"/>
            <p:cNvSpPr/>
            <p:nvPr userDrawn="1"/>
          </p:nvSpPr>
          <p:spPr bwMode="auto">
            <a:xfrm>
              <a:off x="6039643" y="2132013"/>
              <a:ext cx="149225" cy="101600"/>
            </a:xfrm>
            <a:custGeom>
              <a:avLst/>
              <a:gdLst>
                <a:gd name="T0" fmla="*/ 23 w 55"/>
                <a:gd name="T1" fmla="*/ 37 h 37"/>
                <a:gd name="T2" fmla="*/ 20 w 55"/>
                <a:gd name="T3" fmla="*/ 35 h 37"/>
                <a:gd name="T4" fmla="*/ 2 w 55"/>
                <a:gd name="T5" fmla="*/ 17 h 37"/>
                <a:gd name="T6" fmla="*/ 2 w 55"/>
                <a:gd name="T7" fmla="*/ 11 h 37"/>
                <a:gd name="T8" fmla="*/ 8 w 55"/>
                <a:gd name="T9" fmla="*/ 11 h 37"/>
                <a:gd name="T10" fmla="*/ 23 w 55"/>
                <a:gd name="T11" fmla="*/ 25 h 37"/>
                <a:gd name="T12" fmla="*/ 47 w 55"/>
                <a:gd name="T13" fmla="*/ 2 h 37"/>
                <a:gd name="T14" fmla="*/ 53 w 55"/>
                <a:gd name="T15" fmla="*/ 2 h 37"/>
                <a:gd name="T16" fmla="*/ 53 w 55"/>
                <a:gd name="T17" fmla="*/ 8 h 37"/>
                <a:gd name="T18" fmla="*/ 26 w 55"/>
                <a:gd name="T19" fmla="*/ 35 h 37"/>
                <a:gd name="T20" fmla="*/ 23 w 55"/>
                <a:gd name="T21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5" h="37">
                  <a:moveTo>
                    <a:pt x="23" y="37"/>
                  </a:moveTo>
                  <a:cubicBezTo>
                    <a:pt x="22" y="37"/>
                    <a:pt x="21" y="36"/>
                    <a:pt x="20" y="35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0" y="15"/>
                    <a:pt x="0" y="13"/>
                    <a:pt x="2" y="11"/>
                  </a:cubicBezTo>
                  <a:cubicBezTo>
                    <a:pt x="4" y="9"/>
                    <a:pt x="7" y="9"/>
                    <a:pt x="8" y="11"/>
                  </a:cubicBezTo>
                  <a:cubicBezTo>
                    <a:pt x="23" y="25"/>
                    <a:pt x="23" y="25"/>
                    <a:pt x="23" y="25"/>
                  </a:cubicBezTo>
                  <a:cubicBezTo>
                    <a:pt x="47" y="2"/>
                    <a:pt x="47" y="2"/>
                    <a:pt x="47" y="2"/>
                  </a:cubicBezTo>
                  <a:cubicBezTo>
                    <a:pt x="49" y="0"/>
                    <a:pt x="52" y="0"/>
                    <a:pt x="53" y="2"/>
                  </a:cubicBezTo>
                  <a:cubicBezTo>
                    <a:pt x="55" y="4"/>
                    <a:pt x="55" y="7"/>
                    <a:pt x="53" y="8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6"/>
                    <a:pt x="24" y="37"/>
                    <a:pt x="23" y="3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45" name="Freeform 318"/>
            <p:cNvSpPr/>
            <p:nvPr userDrawn="1"/>
          </p:nvSpPr>
          <p:spPr bwMode="auto">
            <a:xfrm>
              <a:off x="7519193" y="3214688"/>
              <a:ext cx="484188" cy="508000"/>
            </a:xfrm>
            <a:custGeom>
              <a:avLst/>
              <a:gdLst>
                <a:gd name="T0" fmla="*/ 174 w 178"/>
                <a:gd name="T1" fmla="*/ 56 h 187"/>
                <a:gd name="T2" fmla="*/ 125 w 178"/>
                <a:gd name="T3" fmla="*/ 86 h 187"/>
                <a:gd name="T4" fmla="*/ 129 w 178"/>
                <a:gd name="T5" fmla="*/ 0 h 187"/>
                <a:gd name="T6" fmla="*/ 47 w 178"/>
                <a:gd name="T7" fmla="*/ 75 h 187"/>
                <a:gd name="T8" fmla="*/ 26 w 178"/>
                <a:gd name="T9" fmla="*/ 38 h 187"/>
                <a:gd name="T10" fmla="*/ 64 w 178"/>
                <a:gd name="T11" fmla="*/ 161 h 187"/>
                <a:gd name="T12" fmla="*/ 174 w 178"/>
                <a:gd name="T13" fmla="*/ 56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87">
                  <a:moveTo>
                    <a:pt x="174" y="56"/>
                  </a:moveTo>
                  <a:cubicBezTo>
                    <a:pt x="160" y="74"/>
                    <a:pt x="140" y="82"/>
                    <a:pt x="125" y="86"/>
                  </a:cubicBezTo>
                  <a:cubicBezTo>
                    <a:pt x="121" y="62"/>
                    <a:pt x="105" y="38"/>
                    <a:pt x="129" y="0"/>
                  </a:cubicBezTo>
                  <a:cubicBezTo>
                    <a:pt x="85" y="13"/>
                    <a:pt x="62" y="44"/>
                    <a:pt x="47" y="75"/>
                  </a:cubicBezTo>
                  <a:cubicBezTo>
                    <a:pt x="38" y="61"/>
                    <a:pt x="28" y="57"/>
                    <a:pt x="26" y="38"/>
                  </a:cubicBezTo>
                  <a:cubicBezTo>
                    <a:pt x="7" y="73"/>
                    <a:pt x="0" y="139"/>
                    <a:pt x="64" y="161"/>
                  </a:cubicBezTo>
                  <a:cubicBezTo>
                    <a:pt x="141" y="187"/>
                    <a:pt x="178" y="109"/>
                    <a:pt x="174" y="56"/>
                  </a:cubicBezTo>
                  <a:close/>
                </a:path>
              </a:pathLst>
            </a:custGeom>
            <a:solidFill>
              <a:srgbClr val="EB5C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46" name="Freeform 319"/>
            <p:cNvSpPr/>
            <p:nvPr userDrawn="1"/>
          </p:nvSpPr>
          <p:spPr bwMode="auto">
            <a:xfrm>
              <a:off x="7554118" y="3290888"/>
              <a:ext cx="419100" cy="411163"/>
            </a:xfrm>
            <a:custGeom>
              <a:avLst/>
              <a:gdLst>
                <a:gd name="T0" fmla="*/ 152 w 154"/>
                <a:gd name="T1" fmla="*/ 50 h 151"/>
                <a:gd name="T2" fmla="*/ 100 w 154"/>
                <a:gd name="T3" fmla="*/ 72 h 151"/>
                <a:gd name="T4" fmla="*/ 86 w 154"/>
                <a:gd name="T5" fmla="*/ 0 h 151"/>
                <a:gd name="T6" fmla="*/ 40 w 154"/>
                <a:gd name="T7" fmla="*/ 69 h 151"/>
                <a:gd name="T8" fmla="*/ 12 w 154"/>
                <a:gd name="T9" fmla="*/ 39 h 151"/>
                <a:gd name="T10" fmla="*/ 52 w 154"/>
                <a:gd name="T11" fmla="*/ 128 h 151"/>
                <a:gd name="T12" fmla="*/ 152 w 154"/>
                <a:gd name="T13" fmla="*/ 5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4" h="151">
                  <a:moveTo>
                    <a:pt x="152" y="50"/>
                  </a:moveTo>
                  <a:cubicBezTo>
                    <a:pt x="136" y="68"/>
                    <a:pt x="111" y="68"/>
                    <a:pt x="100" y="72"/>
                  </a:cubicBezTo>
                  <a:cubicBezTo>
                    <a:pt x="97" y="54"/>
                    <a:pt x="74" y="30"/>
                    <a:pt x="86" y="0"/>
                  </a:cubicBezTo>
                  <a:cubicBezTo>
                    <a:pt x="57" y="13"/>
                    <a:pt x="51" y="47"/>
                    <a:pt x="40" y="69"/>
                  </a:cubicBezTo>
                  <a:cubicBezTo>
                    <a:pt x="34" y="64"/>
                    <a:pt x="15" y="50"/>
                    <a:pt x="12" y="39"/>
                  </a:cubicBezTo>
                  <a:cubicBezTo>
                    <a:pt x="0" y="61"/>
                    <a:pt x="3" y="111"/>
                    <a:pt x="52" y="128"/>
                  </a:cubicBezTo>
                  <a:cubicBezTo>
                    <a:pt x="121" y="151"/>
                    <a:pt x="154" y="85"/>
                    <a:pt x="152" y="50"/>
                  </a:cubicBezTo>
                  <a:close/>
                </a:path>
              </a:pathLst>
            </a:custGeom>
            <a:solidFill>
              <a:srgbClr val="DC90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47" name="Freeform 320"/>
            <p:cNvSpPr/>
            <p:nvPr userDrawn="1"/>
          </p:nvSpPr>
          <p:spPr bwMode="auto">
            <a:xfrm>
              <a:off x="7576343" y="3375025"/>
              <a:ext cx="344488" cy="300038"/>
            </a:xfrm>
            <a:custGeom>
              <a:avLst/>
              <a:gdLst>
                <a:gd name="T0" fmla="*/ 127 w 127"/>
                <a:gd name="T1" fmla="*/ 44 h 110"/>
                <a:gd name="T2" fmla="*/ 79 w 127"/>
                <a:gd name="T3" fmla="*/ 56 h 110"/>
                <a:gd name="T4" fmla="*/ 62 w 127"/>
                <a:gd name="T5" fmla="*/ 0 h 110"/>
                <a:gd name="T6" fmla="*/ 34 w 127"/>
                <a:gd name="T7" fmla="*/ 50 h 110"/>
                <a:gd name="T8" fmla="*/ 8 w 127"/>
                <a:gd name="T9" fmla="*/ 28 h 110"/>
                <a:gd name="T10" fmla="*/ 47 w 127"/>
                <a:gd name="T11" fmla="*/ 93 h 110"/>
                <a:gd name="T12" fmla="*/ 127 w 127"/>
                <a:gd name="T13" fmla="*/ 44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7" h="110">
                  <a:moveTo>
                    <a:pt x="127" y="44"/>
                  </a:moveTo>
                  <a:cubicBezTo>
                    <a:pt x="120" y="53"/>
                    <a:pt x="86" y="54"/>
                    <a:pt x="79" y="56"/>
                  </a:cubicBezTo>
                  <a:cubicBezTo>
                    <a:pt x="77" y="44"/>
                    <a:pt x="55" y="21"/>
                    <a:pt x="62" y="0"/>
                  </a:cubicBezTo>
                  <a:cubicBezTo>
                    <a:pt x="45" y="14"/>
                    <a:pt x="41" y="34"/>
                    <a:pt x="34" y="50"/>
                  </a:cubicBezTo>
                  <a:cubicBezTo>
                    <a:pt x="29" y="46"/>
                    <a:pt x="12" y="38"/>
                    <a:pt x="8" y="28"/>
                  </a:cubicBezTo>
                  <a:cubicBezTo>
                    <a:pt x="0" y="44"/>
                    <a:pt x="7" y="79"/>
                    <a:pt x="47" y="93"/>
                  </a:cubicBezTo>
                  <a:cubicBezTo>
                    <a:pt x="95" y="110"/>
                    <a:pt x="123" y="71"/>
                    <a:pt x="127" y="44"/>
                  </a:cubicBezTo>
                  <a:close/>
                </a:path>
              </a:pathLst>
            </a:custGeom>
            <a:solidFill>
              <a:srgbClr val="F6D07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48" name="Freeform 321"/>
            <p:cNvSpPr/>
            <p:nvPr userDrawn="1"/>
          </p:nvSpPr>
          <p:spPr bwMode="auto">
            <a:xfrm>
              <a:off x="7843043" y="3249613"/>
              <a:ext cx="115888" cy="179388"/>
            </a:xfrm>
            <a:custGeom>
              <a:avLst/>
              <a:gdLst>
                <a:gd name="T0" fmla="*/ 33 w 43"/>
                <a:gd name="T1" fmla="*/ 0 h 66"/>
                <a:gd name="T2" fmla="*/ 3 w 43"/>
                <a:gd name="T3" fmla="*/ 31 h 66"/>
                <a:gd name="T4" fmla="*/ 9 w 43"/>
                <a:gd name="T5" fmla="*/ 66 h 66"/>
                <a:gd name="T6" fmla="*/ 35 w 43"/>
                <a:gd name="T7" fmla="*/ 54 h 66"/>
                <a:gd name="T8" fmla="*/ 33 w 43"/>
                <a:gd name="T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66">
                  <a:moveTo>
                    <a:pt x="33" y="0"/>
                  </a:moveTo>
                  <a:cubicBezTo>
                    <a:pt x="27" y="17"/>
                    <a:pt x="5" y="30"/>
                    <a:pt x="3" y="31"/>
                  </a:cubicBezTo>
                  <a:cubicBezTo>
                    <a:pt x="0" y="37"/>
                    <a:pt x="11" y="63"/>
                    <a:pt x="9" y="66"/>
                  </a:cubicBezTo>
                  <a:cubicBezTo>
                    <a:pt x="20" y="65"/>
                    <a:pt x="35" y="54"/>
                    <a:pt x="35" y="54"/>
                  </a:cubicBezTo>
                  <a:cubicBezTo>
                    <a:pt x="35" y="54"/>
                    <a:pt x="43" y="25"/>
                    <a:pt x="33" y="0"/>
                  </a:cubicBezTo>
                  <a:close/>
                </a:path>
              </a:pathLst>
            </a:custGeom>
            <a:solidFill>
              <a:srgbClr val="EB5C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49" name="Freeform 322"/>
            <p:cNvSpPr/>
            <p:nvPr userDrawn="1"/>
          </p:nvSpPr>
          <p:spPr bwMode="auto">
            <a:xfrm>
              <a:off x="7858918" y="3279775"/>
              <a:ext cx="95250" cy="139700"/>
            </a:xfrm>
            <a:custGeom>
              <a:avLst/>
              <a:gdLst>
                <a:gd name="T0" fmla="*/ 27 w 35"/>
                <a:gd name="T1" fmla="*/ 0 h 51"/>
                <a:gd name="T2" fmla="*/ 2 w 35"/>
                <a:gd name="T3" fmla="*/ 24 h 51"/>
                <a:gd name="T4" fmla="*/ 7 w 35"/>
                <a:gd name="T5" fmla="*/ 51 h 51"/>
                <a:gd name="T6" fmla="*/ 27 w 35"/>
                <a:gd name="T7" fmla="*/ 41 h 51"/>
                <a:gd name="T8" fmla="*/ 27 w 35"/>
                <a:gd name="T9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51">
                  <a:moveTo>
                    <a:pt x="27" y="0"/>
                  </a:moveTo>
                  <a:cubicBezTo>
                    <a:pt x="23" y="12"/>
                    <a:pt x="4" y="23"/>
                    <a:pt x="2" y="24"/>
                  </a:cubicBezTo>
                  <a:cubicBezTo>
                    <a:pt x="0" y="28"/>
                    <a:pt x="8" y="48"/>
                    <a:pt x="7" y="51"/>
                  </a:cubicBezTo>
                  <a:cubicBezTo>
                    <a:pt x="15" y="50"/>
                    <a:pt x="27" y="41"/>
                    <a:pt x="27" y="41"/>
                  </a:cubicBezTo>
                  <a:cubicBezTo>
                    <a:pt x="27" y="41"/>
                    <a:pt x="35" y="19"/>
                    <a:pt x="27" y="0"/>
                  </a:cubicBezTo>
                  <a:close/>
                </a:path>
              </a:pathLst>
            </a:custGeom>
            <a:solidFill>
              <a:srgbClr val="DC90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50" name="Freeform 323"/>
            <p:cNvSpPr/>
            <p:nvPr userDrawn="1"/>
          </p:nvSpPr>
          <p:spPr bwMode="auto">
            <a:xfrm>
              <a:off x="7873206" y="3324225"/>
              <a:ext cx="65088" cy="85725"/>
            </a:xfrm>
            <a:custGeom>
              <a:avLst/>
              <a:gdLst>
                <a:gd name="T0" fmla="*/ 19 w 24"/>
                <a:gd name="T1" fmla="*/ 0 h 32"/>
                <a:gd name="T2" fmla="*/ 2 w 24"/>
                <a:gd name="T3" fmla="*/ 15 h 32"/>
                <a:gd name="T4" fmla="*/ 5 w 24"/>
                <a:gd name="T5" fmla="*/ 32 h 32"/>
                <a:gd name="T6" fmla="*/ 16 w 24"/>
                <a:gd name="T7" fmla="*/ 27 h 32"/>
                <a:gd name="T8" fmla="*/ 19 w 24"/>
                <a:gd name="T9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32">
                  <a:moveTo>
                    <a:pt x="19" y="0"/>
                  </a:moveTo>
                  <a:cubicBezTo>
                    <a:pt x="16" y="8"/>
                    <a:pt x="3" y="15"/>
                    <a:pt x="2" y="15"/>
                  </a:cubicBezTo>
                  <a:cubicBezTo>
                    <a:pt x="0" y="18"/>
                    <a:pt x="5" y="30"/>
                    <a:pt x="5" y="32"/>
                  </a:cubicBezTo>
                  <a:cubicBezTo>
                    <a:pt x="10" y="32"/>
                    <a:pt x="16" y="27"/>
                    <a:pt x="16" y="27"/>
                  </a:cubicBezTo>
                  <a:cubicBezTo>
                    <a:pt x="16" y="27"/>
                    <a:pt x="24" y="12"/>
                    <a:pt x="19" y="0"/>
                  </a:cubicBezTo>
                  <a:close/>
                </a:path>
              </a:pathLst>
            </a:custGeom>
            <a:solidFill>
              <a:srgbClr val="EBB0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51" name="Freeform 324"/>
            <p:cNvSpPr/>
            <p:nvPr userDrawn="1"/>
          </p:nvSpPr>
          <p:spPr bwMode="auto">
            <a:xfrm>
              <a:off x="7611268" y="3236913"/>
              <a:ext cx="79375" cy="160338"/>
            </a:xfrm>
            <a:custGeom>
              <a:avLst/>
              <a:gdLst>
                <a:gd name="T0" fmla="*/ 29 w 29"/>
                <a:gd name="T1" fmla="*/ 0 h 59"/>
                <a:gd name="T2" fmla="*/ 29 w 29"/>
                <a:gd name="T3" fmla="*/ 34 h 59"/>
                <a:gd name="T4" fmla="*/ 11 w 29"/>
                <a:gd name="T5" fmla="*/ 59 h 59"/>
                <a:gd name="T6" fmla="*/ 0 w 29"/>
                <a:gd name="T7" fmla="*/ 43 h 59"/>
                <a:gd name="T8" fmla="*/ 29 w 29"/>
                <a:gd name="T9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59">
                  <a:moveTo>
                    <a:pt x="29" y="0"/>
                  </a:moveTo>
                  <a:cubicBezTo>
                    <a:pt x="25" y="19"/>
                    <a:pt x="29" y="34"/>
                    <a:pt x="29" y="34"/>
                  </a:cubicBezTo>
                  <a:cubicBezTo>
                    <a:pt x="29" y="34"/>
                    <a:pt x="16" y="48"/>
                    <a:pt x="11" y="59"/>
                  </a:cubicBezTo>
                  <a:cubicBezTo>
                    <a:pt x="9" y="54"/>
                    <a:pt x="1" y="49"/>
                    <a:pt x="0" y="43"/>
                  </a:cubicBezTo>
                  <a:cubicBezTo>
                    <a:pt x="1" y="30"/>
                    <a:pt x="19" y="7"/>
                    <a:pt x="29" y="0"/>
                  </a:cubicBezTo>
                  <a:close/>
                </a:path>
              </a:pathLst>
            </a:custGeom>
            <a:solidFill>
              <a:srgbClr val="EB5C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52" name="Freeform 325"/>
            <p:cNvSpPr/>
            <p:nvPr userDrawn="1"/>
          </p:nvSpPr>
          <p:spPr bwMode="auto">
            <a:xfrm>
              <a:off x="7619206" y="3260725"/>
              <a:ext cx="57150" cy="125413"/>
            </a:xfrm>
            <a:custGeom>
              <a:avLst/>
              <a:gdLst>
                <a:gd name="T0" fmla="*/ 20 w 21"/>
                <a:gd name="T1" fmla="*/ 0 h 46"/>
                <a:gd name="T2" fmla="*/ 21 w 21"/>
                <a:gd name="T3" fmla="*/ 27 h 46"/>
                <a:gd name="T4" fmla="*/ 7 w 21"/>
                <a:gd name="T5" fmla="*/ 46 h 46"/>
                <a:gd name="T6" fmla="*/ 0 w 21"/>
                <a:gd name="T7" fmla="*/ 35 h 46"/>
                <a:gd name="T8" fmla="*/ 20 w 21"/>
                <a:gd name="T9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46">
                  <a:moveTo>
                    <a:pt x="20" y="0"/>
                  </a:moveTo>
                  <a:cubicBezTo>
                    <a:pt x="17" y="14"/>
                    <a:pt x="21" y="27"/>
                    <a:pt x="21" y="27"/>
                  </a:cubicBezTo>
                  <a:cubicBezTo>
                    <a:pt x="21" y="27"/>
                    <a:pt x="11" y="38"/>
                    <a:pt x="7" y="46"/>
                  </a:cubicBezTo>
                  <a:cubicBezTo>
                    <a:pt x="6" y="42"/>
                    <a:pt x="1" y="40"/>
                    <a:pt x="0" y="35"/>
                  </a:cubicBezTo>
                  <a:cubicBezTo>
                    <a:pt x="1" y="25"/>
                    <a:pt x="12" y="5"/>
                    <a:pt x="20" y="0"/>
                  </a:cubicBezTo>
                  <a:close/>
                </a:path>
              </a:pathLst>
            </a:custGeom>
            <a:solidFill>
              <a:srgbClr val="DC90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53" name="Freeform 326"/>
            <p:cNvSpPr/>
            <p:nvPr userDrawn="1"/>
          </p:nvSpPr>
          <p:spPr bwMode="auto">
            <a:xfrm>
              <a:off x="7627143" y="3302000"/>
              <a:ext cx="33338" cy="73025"/>
            </a:xfrm>
            <a:custGeom>
              <a:avLst/>
              <a:gdLst>
                <a:gd name="T0" fmla="*/ 11 w 12"/>
                <a:gd name="T1" fmla="*/ 0 h 27"/>
                <a:gd name="T2" fmla="*/ 12 w 12"/>
                <a:gd name="T3" fmla="*/ 16 h 27"/>
                <a:gd name="T4" fmla="*/ 4 w 12"/>
                <a:gd name="T5" fmla="*/ 27 h 27"/>
                <a:gd name="T6" fmla="*/ 0 w 12"/>
                <a:gd name="T7" fmla="*/ 22 h 27"/>
                <a:gd name="T8" fmla="*/ 11 w 12"/>
                <a:gd name="T9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27">
                  <a:moveTo>
                    <a:pt x="11" y="0"/>
                  </a:moveTo>
                  <a:cubicBezTo>
                    <a:pt x="9" y="8"/>
                    <a:pt x="12" y="16"/>
                    <a:pt x="12" y="16"/>
                  </a:cubicBezTo>
                  <a:cubicBezTo>
                    <a:pt x="12" y="16"/>
                    <a:pt x="6" y="22"/>
                    <a:pt x="4" y="27"/>
                  </a:cubicBezTo>
                  <a:cubicBezTo>
                    <a:pt x="3" y="25"/>
                    <a:pt x="1" y="25"/>
                    <a:pt x="0" y="22"/>
                  </a:cubicBezTo>
                  <a:cubicBezTo>
                    <a:pt x="1" y="16"/>
                    <a:pt x="6" y="3"/>
                    <a:pt x="11" y="0"/>
                  </a:cubicBezTo>
                  <a:close/>
                </a:path>
              </a:pathLst>
            </a:custGeom>
            <a:solidFill>
              <a:srgbClr val="EBB0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</p:grp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4" descr="title_graphic4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gray">
          <a:xfrm>
            <a:off x="0" y="1365886"/>
            <a:ext cx="9144000" cy="1388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1024" descr="E:\201206起-项目\农商行\理财进校园PPT\logo.png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2857500" y="612088"/>
            <a:ext cx="3429000" cy="4358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页脚占位符 4"/>
          <p:cNvSpPr>
            <a:spLocks noGrp="1"/>
          </p:cNvSpPr>
          <p:nvPr>
            <p:ph type="ftr" sz="quarter" idx="10"/>
          </p:nvPr>
        </p:nvSpPr>
        <p:spPr>
          <a:xfrm>
            <a:off x="3500438" y="4822875"/>
            <a:ext cx="2714625" cy="2143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</p:spTree>
  </p:cSld>
  <p:clrMapOvr>
    <a:masterClrMapping/>
  </p:clrMapOvr>
  <p:transition spd="med">
    <p:wipe dir="r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标题和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t>2019/5/3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ree 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lowchart: Off-page Connector 6"/>
          <p:cNvSpPr/>
          <p:nvPr userDrawn="1"/>
        </p:nvSpPr>
        <p:spPr>
          <a:xfrm rot="5400000">
            <a:off x="8760966" y="4685933"/>
            <a:ext cx="341769" cy="424347"/>
          </a:xfrm>
          <a:prstGeom prst="flowChartOffpageConnector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32404" y="4756237"/>
            <a:ext cx="457681" cy="274671"/>
          </a:xfrm>
          <a:prstGeom prst="rect">
            <a:avLst/>
          </a:prstGeom>
        </p:spPr>
        <p:txBody>
          <a:bodyPr anchor="ctr"/>
          <a:lstStyle>
            <a:lvl1pPr algn="ctr">
              <a:defRPr sz="10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C136B7D2-B98C-44FD-8D04-7EC62A564975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1752600" y="267504"/>
            <a:ext cx="5638800" cy="353568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400" b="1" baseline="0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514600" y="619538"/>
            <a:ext cx="4114800" cy="200771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200" b="1" i="0" baseline="0"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smtClean="0"/>
              <a:t>Subtext Goes Here</a:t>
            </a:r>
          </a:p>
        </p:txBody>
      </p:sp>
    </p:spTree>
  </p:cSld>
  <p:clrMapOvr>
    <a:masterClrMapping/>
  </p:clrMapOvr>
  <p:transition spd="slow" advTm="3000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502444" y="2"/>
            <a:ext cx="8137922" cy="77165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502444" y="843111"/>
            <a:ext cx="8137922" cy="376541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502444" y="771660"/>
            <a:ext cx="8137922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4051299" y="4681167"/>
            <a:ext cx="1041402" cy="15481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565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t>2019/5/31</a:t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502443" y="4681167"/>
            <a:ext cx="3105151" cy="15481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565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457949" y="4681167"/>
            <a:ext cx="2182416" cy="15481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565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</p:sldLayoutIdLst>
  <p:hf hdr="0" dt="0"/>
  <p:txStyles>
    <p:titleStyle>
      <a:lvl1pPr algn="l" defTabSz="514350" rtl="0" eaLnBrk="1" latinLnBrk="0" hangingPunct="1">
        <a:lnSpc>
          <a:spcPct val="90000"/>
        </a:lnSpc>
        <a:spcBef>
          <a:spcPct val="0"/>
        </a:spcBef>
        <a:buNone/>
        <a:defRPr sz="1575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28905" indent="-128270" algn="l" defTabSz="514350" rtl="0" eaLnBrk="1" latinLnBrk="0" hangingPunct="1">
        <a:lnSpc>
          <a:spcPct val="90000"/>
        </a:lnSpc>
        <a:spcBef>
          <a:spcPct val="113000"/>
        </a:spcBef>
        <a:buFont typeface="Arial" panose="020B0604020202020204" pitchFamily="34" charset="0"/>
        <a:buChar char="•"/>
        <a:defRPr sz="1015" kern="1200">
          <a:solidFill>
            <a:schemeClr val="tx1"/>
          </a:solidFill>
          <a:latin typeface="+mn-lt"/>
          <a:ea typeface="+mn-ea"/>
          <a:cs typeface="+mn-cs"/>
        </a:defRPr>
      </a:lvl1pPr>
      <a:lvl2pPr marL="386080" indent="-128270" algn="l" defTabSz="514350" rtl="0" eaLnBrk="1" latinLnBrk="0" hangingPunct="1">
        <a:lnSpc>
          <a:spcPct val="90000"/>
        </a:lnSpc>
        <a:spcBef>
          <a:spcPts val="28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643255" indent="-128270" algn="l" defTabSz="514350" rtl="0" eaLnBrk="1" latinLnBrk="0" hangingPunct="1">
        <a:lnSpc>
          <a:spcPct val="90000"/>
        </a:lnSpc>
        <a:spcBef>
          <a:spcPts val="280"/>
        </a:spcBef>
        <a:buFont typeface="Arial" panose="020B0604020202020204" pitchFamily="34" charset="0"/>
        <a:buChar char="•"/>
        <a:defRPr sz="790" kern="1200">
          <a:solidFill>
            <a:schemeClr val="tx1"/>
          </a:solidFill>
          <a:latin typeface="+mn-lt"/>
          <a:ea typeface="+mn-ea"/>
          <a:cs typeface="+mn-cs"/>
        </a:defRPr>
      </a:lvl3pPr>
      <a:lvl4pPr marL="900430" indent="-128270" algn="l" defTabSz="514350" rtl="0" eaLnBrk="1" latinLnBrk="0" hangingPunct="1">
        <a:lnSpc>
          <a:spcPct val="90000"/>
        </a:lnSpc>
        <a:spcBef>
          <a:spcPts val="280"/>
        </a:spcBef>
        <a:buFont typeface="Arial" panose="020B0604020202020204" pitchFamily="34" charset="0"/>
        <a:buChar char="•"/>
        <a:defRPr sz="675" kern="1200">
          <a:solidFill>
            <a:schemeClr val="tx1"/>
          </a:solidFill>
          <a:latin typeface="+mn-lt"/>
          <a:ea typeface="+mn-ea"/>
          <a:cs typeface="+mn-cs"/>
        </a:defRPr>
      </a:lvl4pPr>
      <a:lvl5pPr marL="1157605" indent="-128270" algn="l" defTabSz="514350" rtl="0" eaLnBrk="1" latinLnBrk="0" hangingPunct="1">
        <a:lnSpc>
          <a:spcPct val="90000"/>
        </a:lnSpc>
        <a:spcBef>
          <a:spcPts val="280"/>
        </a:spcBef>
        <a:buFont typeface="Arial" panose="020B0604020202020204" pitchFamily="34" charset="0"/>
        <a:buChar char="•"/>
        <a:defRPr sz="675" kern="1200">
          <a:solidFill>
            <a:schemeClr val="tx1"/>
          </a:solidFill>
          <a:latin typeface="+mn-lt"/>
          <a:ea typeface="+mn-ea"/>
          <a:cs typeface="+mn-cs"/>
        </a:defRPr>
      </a:lvl5pPr>
      <a:lvl6pPr marL="1414780" indent="-128270" algn="l" defTabSz="514350" rtl="0" eaLnBrk="1" latinLnBrk="0" hangingPunct="1">
        <a:lnSpc>
          <a:spcPct val="90000"/>
        </a:lnSpc>
        <a:spcBef>
          <a:spcPts val="280"/>
        </a:spcBef>
        <a:buFont typeface="Arial" panose="020B0604020202020204" pitchFamily="34" charset="0"/>
        <a:buChar char="•"/>
        <a:defRPr sz="1015" kern="1200">
          <a:solidFill>
            <a:schemeClr val="tx1"/>
          </a:solidFill>
          <a:latin typeface="+mn-lt"/>
          <a:ea typeface="+mn-ea"/>
          <a:cs typeface="+mn-cs"/>
        </a:defRPr>
      </a:lvl6pPr>
      <a:lvl7pPr marL="1671955" indent="-128270" algn="l" defTabSz="514350" rtl="0" eaLnBrk="1" latinLnBrk="0" hangingPunct="1">
        <a:lnSpc>
          <a:spcPct val="90000"/>
        </a:lnSpc>
        <a:spcBef>
          <a:spcPts val="280"/>
        </a:spcBef>
        <a:buFont typeface="Arial" panose="020B0604020202020204" pitchFamily="34" charset="0"/>
        <a:buChar char="•"/>
        <a:defRPr sz="1015" kern="1200">
          <a:solidFill>
            <a:schemeClr val="tx1"/>
          </a:solidFill>
          <a:latin typeface="+mn-lt"/>
          <a:ea typeface="+mn-ea"/>
          <a:cs typeface="+mn-cs"/>
        </a:defRPr>
      </a:lvl7pPr>
      <a:lvl8pPr marL="1929130" indent="-128270" algn="l" defTabSz="514350" rtl="0" eaLnBrk="1" latinLnBrk="0" hangingPunct="1">
        <a:lnSpc>
          <a:spcPct val="90000"/>
        </a:lnSpc>
        <a:spcBef>
          <a:spcPts val="280"/>
        </a:spcBef>
        <a:buFont typeface="Arial" panose="020B0604020202020204" pitchFamily="34" charset="0"/>
        <a:buChar char="•"/>
        <a:defRPr sz="1015" kern="1200">
          <a:solidFill>
            <a:schemeClr val="tx1"/>
          </a:solidFill>
          <a:latin typeface="+mn-lt"/>
          <a:ea typeface="+mn-ea"/>
          <a:cs typeface="+mn-cs"/>
        </a:defRPr>
      </a:lvl8pPr>
      <a:lvl9pPr marL="2186305" indent="-128270" algn="l" defTabSz="514350" rtl="0" eaLnBrk="1" latinLnBrk="0" hangingPunct="1">
        <a:lnSpc>
          <a:spcPct val="90000"/>
        </a:lnSpc>
        <a:spcBef>
          <a:spcPts val="280"/>
        </a:spcBef>
        <a:buFont typeface="Arial" panose="020B0604020202020204" pitchFamily="34" charset="0"/>
        <a:buChar char="•"/>
        <a:defRPr sz="101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514350" rtl="0" eaLnBrk="1" latinLnBrk="0" hangingPunct="1">
        <a:defRPr sz="1015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5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5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5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5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5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5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5" kern="1200">
          <a:solidFill>
            <a:schemeClr val="tx1"/>
          </a:solidFill>
          <a:latin typeface="+mn-lt"/>
          <a:ea typeface="+mn-ea"/>
          <a:cs typeface="+mn-cs"/>
        </a:defRPr>
      </a:lvl8pPr>
      <a:lvl9pPr marL="2058035" algn="l" defTabSz="514350" rtl="0" eaLnBrk="1" latinLnBrk="0" hangingPunct="1">
        <a:defRPr sz="10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2.xml"/><Relationship Id="rId7" Type="http://schemas.openxmlformats.org/officeDocument/2006/relationships/image" Target="../media/image2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8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0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2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wmf"/><Relationship Id="rId3" Type="http://schemas.openxmlformats.org/officeDocument/2006/relationships/notesSlide" Target="../notesSlides/notesSlide15.xml"/><Relationship Id="rId7" Type="http://schemas.openxmlformats.org/officeDocument/2006/relationships/package" Target="../embeddings/Microsoft_Word___1.docx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10" Type="http://schemas.openxmlformats.org/officeDocument/2006/relationships/image" Target="../media/image27.wmf"/><Relationship Id="rId4" Type="http://schemas.openxmlformats.org/officeDocument/2006/relationships/image" Target="../media/image28.png"/><Relationship Id="rId9" Type="http://schemas.openxmlformats.org/officeDocument/2006/relationships/oleObject" Target="../embeddings/Microsoft_Word_97_-_2003___1.doc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1.wmf"/><Relationship Id="rId5" Type="http://schemas.openxmlformats.org/officeDocument/2006/relationships/package" Target="../embeddings/Microsoft_Excel____2.xlsx"/><Relationship Id="rId4" Type="http://schemas.openxmlformats.org/officeDocument/2006/relationships/image" Target="../media/image32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2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3470" y="643910"/>
          <a:ext cx="893" cy="8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7" name="think-cell Slide" r:id="rId5" imgW="9525" imgH="9525" progId="TCLayout.ActiveDocument.1">
                  <p:embed/>
                </p:oleObj>
              </mc:Choice>
              <mc:Fallback>
                <p:oleObj name="think-cell Slide" r:id="rId5" imgW="9525" imgH="9525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3470" y="643910"/>
                        <a:ext cx="893" cy="8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3"/>
            </p:custDataLst>
          </p:nvPr>
        </p:nvSpPr>
        <p:spPr>
          <a:xfrm>
            <a:off x="1142577" y="643017"/>
            <a:ext cx="89308" cy="8930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25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>
          <a:xfrm>
            <a:off x="1519337" y="3943837"/>
            <a:ext cx="6101516" cy="595862"/>
          </a:xfrm>
        </p:spPr>
        <p:txBody>
          <a:bodyPr>
            <a:noAutofit/>
          </a:bodyPr>
          <a:lstStyle/>
          <a:p>
            <a:r>
              <a:rPr lang="zh-CN" altLang="en-US" sz="1800" b="1" dirty="0">
                <a:solidFill>
                  <a:schemeClr val="accent3">
                    <a:lumMod val="50000"/>
                  </a:schemeClr>
                </a:solidFill>
              </a:rPr>
              <a:t>金融创新</a:t>
            </a:r>
            <a:r>
              <a:rPr lang="zh-CN" altLang="en-US" sz="1800" b="1" dirty="0" smtClean="0">
                <a:solidFill>
                  <a:schemeClr val="accent3">
                    <a:lumMod val="50000"/>
                  </a:schemeClr>
                </a:solidFill>
              </a:rPr>
              <a:t>部大数据中心 </a:t>
            </a:r>
            <a:endParaRPr lang="zh-CN" altLang="en-US" sz="1800" b="1" dirty="0">
              <a:solidFill>
                <a:schemeClr val="accent3">
                  <a:lumMod val="50000"/>
                </a:schemeClr>
              </a:solidFill>
            </a:endParaRPr>
          </a:p>
          <a:p>
            <a:r>
              <a:rPr lang="en-US" altLang="zh-CN" sz="1800" b="1" dirty="0">
                <a:solidFill>
                  <a:schemeClr val="accent3">
                    <a:lumMod val="50000"/>
                  </a:schemeClr>
                </a:solidFill>
              </a:rPr>
              <a:t>2019.5.31</a:t>
            </a: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1604130" y="2274768"/>
            <a:ext cx="6101516" cy="1555212"/>
          </a:xfrm>
        </p:spPr>
        <p:txBody>
          <a:bodyPr>
            <a:normAutofit/>
          </a:bodyPr>
          <a:lstStyle/>
          <a:p>
            <a:r>
              <a:rPr lang="zh-CN" altLang="en-US" sz="2700" dirty="0" smtClean="0">
                <a:solidFill>
                  <a:schemeClr val="accent3">
                    <a:lumMod val="50000"/>
                  </a:schemeClr>
                </a:solidFill>
                <a:latin typeface="Arial Black" panose="020B0A04020102020204" pitchFamily="34" charset="0"/>
              </a:rPr>
              <a:t>重庆农商银行</a:t>
            </a:r>
            <a:r>
              <a:rPr lang="zh-CN" altLang="en-US" sz="2700" dirty="0" smtClean="0">
                <a:solidFill>
                  <a:schemeClr val="accent3">
                    <a:lumMod val="50000"/>
                  </a:schemeClr>
                </a:solidFill>
                <a:latin typeface="Arial Black" panose="020B0A04020102020204" pitchFamily="34" charset="0"/>
              </a:rPr>
              <a:t>大数据分析平台</a:t>
            </a:r>
            <a:r>
              <a:rPr lang="en-US" altLang="zh-CN" sz="2700" dirty="0" smtClean="0">
                <a:solidFill>
                  <a:schemeClr val="accent3">
                    <a:lumMod val="50000"/>
                  </a:schemeClr>
                </a:solidFill>
                <a:latin typeface="Arial Black" panose="020B0A04020102020204" pitchFamily="34" charset="0"/>
              </a:rPr>
              <a:t/>
            </a:r>
            <a:br>
              <a:rPr lang="en-US" altLang="zh-CN" sz="2700" dirty="0" smtClean="0">
                <a:solidFill>
                  <a:schemeClr val="accent3">
                    <a:lumMod val="50000"/>
                  </a:schemeClr>
                </a:solidFill>
                <a:latin typeface="Arial Black" panose="020B0A04020102020204" pitchFamily="34" charset="0"/>
              </a:rPr>
            </a:br>
            <a:r>
              <a:rPr lang="zh-CN" altLang="en-US" sz="2700" dirty="0" smtClean="0">
                <a:solidFill>
                  <a:schemeClr val="accent3">
                    <a:lumMod val="50000"/>
                  </a:schemeClr>
                </a:solidFill>
                <a:latin typeface="Arial Black" panose="020B0A04020102020204" pitchFamily="34" charset="0"/>
              </a:rPr>
              <a:t>暨客户画像</a:t>
            </a:r>
            <a:r>
              <a:rPr lang="zh-CN" altLang="en-US" sz="2700" dirty="0">
                <a:solidFill>
                  <a:schemeClr val="accent3">
                    <a:lumMod val="50000"/>
                  </a:schemeClr>
                </a:solidFill>
                <a:latin typeface="Arial Black" panose="020B0A04020102020204" pitchFamily="34" charset="0"/>
              </a:rPr>
              <a:t>自助式</a:t>
            </a:r>
            <a:r>
              <a:rPr lang="zh-CN" altLang="en-US" sz="2700" dirty="0" smtClean="0">
                <a:solidFill>
                  <a:schemeClr val="accent3">
                    <a:lumMod val="50000"/>
                  </a:schemeClr>
                </a:solidFill>
                <a:latin typeface="Arial Black" panose="020B0A04020102020204" pitchFamily="34" charset="0"/>
              </a:rPr>
              <a:t>分析工具</a:t>
            </a:r>
            <a:r>
              <a:rPr lang="en-US" altLang="zh-CN" sz="2700" dirty="0" smtClean="0">
                <a:solidFill>
                  <a:schemeClr val="accent3">
                    <a:lumMod val="50000"/>
                  </a:schemeClr>
                </a:solidFill>
                <a:latin typeface="Arial Black" panose="020B0A04020102020204" pitchFamily="34" charset="0"/>
              </a:rPr>
              <a:t/>
            </a:r>
            <a:br>
              <a:rPr lang="en-US" altLang="zh-CN" sz="2700" dirty="0" smtClean="0">
                <a:solidFill>
                  <a:schemeClr val="accent3">
                    <a:lumMod val="50000"/>
                  </a:schemeClr>
                </a:solidFill>
                <a:latin typeface="Arial Black" panose="020B0A04020102020204" pitchFamily="34" charset="0"/>
              </a:rPr>
            </a:br>
            <a:r>
              <a:rPr lang="zh-CN" altLang="en-US" sz="2700" dirty="0" smtClean="0">
                <a:solidFill>
                  <a:schemeClr val="accent3">
                    <a:lumMod val="50000"/>
                  </a:schemeClr>
                </a:solidFill>
                <a:latin typeface="Arial Black" panose="020B0A04020102020204" pitchFamily="34" charset="0"/>
              </a:rPr>
              <a:t>产品</a:t>
            </a:r>
            <a:r>
              <a:rPr lang="zh-CN" altLang="en-US" sz="2700" dirty="0">
                <a:solidFill>
                  <a:schemeClr val="accent3">
                    <a:lumMod val="50000"/>
                  </a:schemeClr>
                </a:solidFill>
                <a:latin typeface="Arial Black" panose="020B0A04020102020204" pitchFamily="34" charset="0"/>
              </a:rPr>
              <a:t>发布会</a:t>
            </a:r>
          </a:p>
        </p:txBody>
      </p:sp>
      <p:grpSp>
        <p:nvGrpSpPr>
          <p:cNvPr id="38" name="组合 37"/>
          <p:cNvGrpSpPr/>
          <p:nvPr/>
        </p:nvGrpSpPr>
        <p:grpSpPr>
          <a:xfrm>
            <a:off x="2489340" y="2567112"/>
            <a:ext cx="4165320" cy="1232046"/>
            <a:chOff x="2393950" y="3880018"/>
            <a:chExt cx="7404100" cy="1041400"/>
          </a:xfrm>
        </p:grpSpPr>
        <p:cxnSp>
          <p:nvCxnSpPr>
            <p:cNvPr id="32" name="直接连接符 31"/>
            <p:cNvCxnSpPr/>
            <p:nvPr/>
          </p:nvCxnSpPr>
          <p:spPr>
            <a:xfrm>
              <a:off x="2393950" y="4921418"/>
              <a:ext cx="7404100" cy="0"/>
            </a:xfrm>
            <a:prstGeom prst="line">
              <a:avLst/>
            </a:prstGeom>
            <a:ln w="12700">
              <a:solidFill>
                <a:schemeClr val="accent3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直接连接符 32"/>
            <p:cNvCxnSpPr/>
            <p:nvPr/>
          </p:nvCxnSpPr>
          <p:spPr>
            <a:xfrm>
              <a:off x="2393950" y="3880018"/>
              <a:ext cx="7404100" cy="0"/>
            </a:xfrm>
            <a:prstGeom prst="line">
              <a:avLst/>
            </a:prstGeom>
            <a:ln w="12700">
              <a:solidFill>
                <a:schemeClr val="accent3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9" name="Picture 1024" descr="E:\201206起-项目\农商行\理财进校园PPT\logo.png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253365" y="136525"/>
            <a:ext cx="3152140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图片 12" descr="客户画像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173173" y="709948"/>
            <a:ext cx="2793844" cy="1710992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为什么要做客户画像自助式分析工具？</a:t>
            </a:r>
            <a:r>
              <a:rPr lang="en-US" altLang="zh-CN"/>
              <a:t>——</a:t>
            </a:r>
            <a:r>
              <a:rPr lang="zh-CN" altLang="en-US"/>
              <a:t>解决客户营销痛点，提高营销效率</a:t>
            </a:r>
          </a:p>
        </p:txBody>
      </p:sp>
      <p:grpSp>
        <p:nvGrpSpPr>
          <p:cNvPr id="4" name="组合 3"/>
          <p:cNvGrpSpPr/>
          <p:nvPr/>
        </p:nvGrpSpPr>
        <p:grpSpPr>
          <a:xfrm>
            <a:off x="116733" y="1229090"/>
            <a:ext cx="8689773" cy="3688985"/>
            <a:chOff x="1498" y="2075"/>
            <a:chExt cx="11344" cy="5019"/>
          </a:xfrm>
        </p:grpSpPr>
        <p:sp>
          <p:nvSpPr>
            <p:cNvPr id="316" name="TextBox 315"/>
            <p:cNvSpPr txBox="1"/>
            <p:nvPr/>
          </p:nvSpPr>
          <p:spPr>
            <a:xfrm>
              <a:off x="5874" y="2075"/>
              <a:ext cx="3448" cy="26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ctr"/>
              <a:r>
                <a:rPr lang="zh-CN" altLang="en-US" sz="1200" b="1" dirty="0" smtClean="0">
                  <a:solidFill>
                    <a:schemeClr val="accent5"/>
                  </a:solidFill>
                </a:rPr>
                <a:t>我的客户都是些什么样子的人？</a:t>
              </a:r>
            </a:p>
          </p:txBody>
        </p:sp>
        <p:sp>
          <p:nvSpPr>
            <p:cNvPr id="47" name="TextBox 46"/>
            <p:cNvSpPr txBox="1"/>
            <p:nvPr/>
          </p:nvSpPr>
          <p:spPr>
            <a:xfrm>
              <a:off x="2861" y="2960"/>
              <a:ext cx="2651" cy="515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r"/>
              <a:r>
                <a:rPr lang="zh-CN" altLang="en-US" sz="1200" b="1" dirty="0">
                  <a:solidFill>
                    <a:schemeClr val="accent4"/>
                  </a:solidFill>
                </a:rPr>
                <a:t>明天就要做活动了，今天还没有看到客户的数据</a:t>
              </a:r>
            </a:p>
          </p:txBody>
        </p:sp>
        <p:sp>
          <p:nvSpPr>
            <p:cNvPr id="50" name="TextBox 49"/>
            <p:cNvSpPr txBox="1"/>
            <p:nvPr/>
          </p:nvSpPr>
          <p:spPr>
            <a:xfrm>
              <a:off x="1823" y="3864"/>
              <a:ext cx="2987" cy="515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r"/>
              <a:r>
                <a:rPr lang="zh-CN" altLang="en-US" sz="1200" b="1" dirty="0">
                  <a:solidFill>
                    <a:schemeClr val="accent3"/>
                  </a:solidFill>
                </a:rPr>
                <a:t>上次活动的效果怎样，这次的营销活动是否要做相应的调整？</a:t>
              </a:r>
            </a:p>
          </p:txBody>
        </p:sp>
        <p:sp>
          <p:nvSpPr>
            <p:cNvPr id="53" name="TextBox 52"/>
            <p:cNvSpPr txBox="1"/>
            <p:nvPr/>
          </p:nvSpPr>
          <p:spPr>
            <a:xfrm>
              <a:off x="1498" y="5000"/>
              <a:ext cx="3312" cy="515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r"/>
              <a:r>
                <a:rPr lang="zh-CN" altLang="en-US" sz="1200" b="1" dirty="0" smtClean="0">
                  <a:solidFill>
                    <a:schemeClr val="accent2"/>
                  </a:solidFill>
                </a:rPr>
                <a:t>只有</a:t>
              </a:r>
              <a:r>
                <a:rPr lang="en-US" altLang="zh-CN" sz="1200" b="1" dirty="0" smtClean="0">
                  <a:solidFill>
                    <a:schemeClr val="accent2"/>
                  </a:solidFill>
                </a:rPr>
                <a:t>50</a:t>
              </a:r>
              <a:r>
                <a:rPr lang="zh-CN" altLang="en-US" sz="1200" b="1" dirty="0" smtClean="0">
                  <a:solidFill>
                    <a:schemeClr val="accent2"/>
                  </a:solidFill>
                </a:rPr>
                <a:t>万预算，应该筛选什么类型的客户才能够实现更高的</a:t>
              </a:r>
              <a:r>
                <a:rPr lang="en-US" altLang="zh-CN" sz="1200" b="1" dirty="0" smtClean="0">
                  <a:solidFill>
                    <a:schemeClr val="accent2"/>
                  </a:solidFill>
                </a:rPr>
                <a:t>ROI</a:t>
              </a:r>
              <a:r>
                <a:rPr lang="zh-CN" altLang="en-US" sz="1200" b="1" dirty="0" smtClean="0">
                  <a:solidFill>
                    <a:schemeClr val="accent2"/>
                  </a:solidFill>
                </a:rPr>
                <a:t>呢？</a:t>
              </a:r>
            </a:p>
          </p:txBody>
        </p:sp>
        <p:sp>
          <p:nvSpPr>
            <p:cNvPr id="56" name="TextBox 55"/>
            <p:cNvSpPr txBox="1"/>
            <p:nvPr/>
          </p:nvSpPr>
          <p:spPr>
            <a:xfrm>
              <a:off x="1922" y="5990"/>
              <a:ext cx="3191" cy="515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r"/>
              <a:r>
                <a:rPr lang="zh-CN" altLang="en-US" sz="1200" b="1" dirty="0">
                  <a:solidFill>
                    <a:schemeClr val="accent1"/>
                  </a:solidFill>
                </a:rPr>
                <a:t>这个月</a:t>
              </a:r>
              <a:r>
                <a:rPr lang="en-US" altLang="zh-CN" sz="1200" b="1" dirty="0">
                  <a:solidFill>
                    <a:schemeClr val="accent1"/>
                  </a:solidFill>
                </a:rPr>
                <a:t>VIP</a:t>
              </a:r>
              <a:r>
                <a:rPr lang="zh-CN" altLang="en-US" sz="1200" b="1" dirty="0">
                  <a:solidFill>
                    <a:schemeClr val="accent1"/>
                  </a:solidFill>
                </a:rPr>
                <a:t>降级客户异常，到底是哪一类客户出现了异动？</a:t>
              </a:r>
            </a:p>
          </p:txBody>
        </p:sp>
        <p:sp>
          <p:nvSpPr>
            <p:cNvPr id="59" name="TextBox 58"/>
            <p:cNvSpPr txBox="1"/>
            <p:nvPr/>
          </p:nvSpPr>
          <p:spPr>
            <a:xfrm>
              <a:off x="8905" y="2920"/>
              <a:ext cx="3005" cy="26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r>
                <a:rPr lang="zh-CN" altLang="en-US" sz="1200" b="1" dirty="0" smtClean="0">
                  <a:solidFill>
                    <a:schemeClr val="accent6"/>
                  </a:solidFill>
                </a:rPr>
                <a:t>什么营销活动对客户有吸引力？</a:t>
              </a:r>
            </a:p>
          </p:txBody>
        </p:sp>
        <p:sp>
          <p:nvSpPr>
            <p:cNvPr id="62" name="TextBox 61"/>
            <p:cNvSpPr txBox="1"/>
            <p:nvPr/>
          </p:nvSpPr>
          <p:spPr>
            <a:xfrm>
              <a:off x="9673" y="3778"/>
              <a:ext cx="3169" cy="515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r>
                <a:rPr lang="zh-CN" altLang="en-US" sz="1200" b="1" dirty="0" smtClean="0">
                  <a:solidFill>
                    <a:schemeClr val="accent3">
                      <a:lumMod val="75000"/>
                    </a:schemeClr>
                  </a:solidFill>
                </a:rPr>
                <a:t>哪些客户应该被邀请来参加我的线下营销活动？</a:t>
              </a:r>
            </a:p>
          </p:txBody>
        </p:sp>
        <p:sp>
          <p:nvSpPr>
            <p:cNvPr id="65" name="TextBox 64"/>
            <p:cNvSpPr txBox="1"/>
            <p:nvPr/>
          </p:nvSpPr>
          <p:spPr>
            <a:xfrm>
              <a:off x="9673" y="4900"/>
              <a:ext cx="2692" cy="515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r>
                <a:rPr lang="zh-CN" altLang="en-US" sz="1200" b="1" dirty="0" smtClean="0">
                  <a:solidFill>
                    <a:schemeClr val="accent5">
                      <a:lumMod val="75000"/>
                    </a:schemeClr>
                  </a:solidFill>
                </a:rPr>
                <a:t>营销费用有限，怎么筛选出营销成功率高的客户呢？</a:t>
              </a:r>
            </a:p>
          </p:txBody>
        </p:sp>
        <p:sp>
          <p:nvSpPr>
            <p:cNvPr id="68" name="TextBox 67"/>
            <p:cNvSpPr txBox="1"/>
            <p:nvPr/>
          </p:nvSpPr>
          <p:spPr>
            <a:xfrm>
              <a:off x="9196" y="6030"/>
              <a:ext cx="3429" cy="515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r>
                <a:rPr lang="zh-CN" altLang="en-US" sz="1200" b="1" dirty="0">
                  <a:solidFill>
                    <a:schemeClr val="accent1">
                      <a:lumMod val="75000"/>
                    </a:schemeClr>
                  </a:solidFill>
                </a:rPr>
                <a:t>哪个支行的客户更加年轻，适合做为此次新产品的试点支行呢？</a:t>
              </a:r>
            </a:p>
          </p:txBody>
        </p:sp>
        <p:grpSp>
          <p:nvGrpSpPr>
            <p:cNvPr id="75" name="Group 74"/>
            <p:cNvGrpSpPr/>
            <p:nvPr/>
          </p:nvGrpSpPr>
          <p:grpSpPr>
            <a:xfrm>
              <a:off x="5950" y="3380"/>
              <a:ext cx="2500" cy="3714"/>
              <a:chOff x="3778281" y="2115818"/>
              <a:chExt cx="1587438" cy="2358480"/>
            </a:xfrm>
          </p:grpSpPr>
          <p:grpSp>
            <p:nvGrpSpPr>
              <p:cNvPr id="5" name="Group 245"/>
              <p:cNvGrpSpPr/>
              <p:nvPr/>
            </p:nvGrpSpPr>
            <p:grpSpPr>
              <a:xfrm>
                <a:off x="3778281" y="2115818"/>
                <a:ext cx="1587438" cy="2358480"/>
                <a:chOff x="4168751" y="1735138"/>
                <a:chExt cx="1000125" cy="1485900"/>
              </a:xfrm>
              <a:solidFill>
                <a:schemeClr val="tx2">
                  <a:lumMod val="25000"/>
                  <a:lumOff val="75000"/>
                </a:schemeClr>
              </a:solidFill>
            </p:grpSpPr>
            <p:sp>
              <p:nvSpPr>
                <p:cNvPr id="242" name="Freeform 123"/>
                <p:cNvSpPr/>
                <p:nvPr/>
              </p:nvSpPr>
              <p:spPr bwMode="auto">
                <a:xfrm>
                  <a:off x="4429102" y="3038475"/>
                  <a:ext cx="479425" cy="61913"/>
                </a:xfrm>
                <a:custGeom>
                  <a:avLst/>
                  <a:gdLst/>
                  <a:ahLst/>
                  <a:cxnLst>
                    <a:cxn ang="0">
                      <a:pos x="163" y="11"/>
                    </a:cxn>
                    <a:cxn ang="0">
                      <a:pos x="153" y="21"/>
                    </a:cxn>
                    <a:cxn ang="0">
                      <a:pos x="10" y="21"/>
                    </a:cxn>
                    <a:cxn ang="0">
                      <a:pos x="0" y="11"/>
                    </a:cxn>
                    <a:cxn ang="0">
                      <a:pos x="10" y="0"/>
                    </a:cxn>
                    <a:cxn ang="0">
                      <a:pos x="153" y="0"/>
                    </a:cxn>
                    <a:cxn ang="0">
                      <a:pos x="163" y="11"/>
                    </a:cxn>
                  </a:cxnLst>
                  <a:rect l="0" t="0" r="r" b="b"/>
                  <a:pathLst>
                    <a:path w="163" h="21">
                      <a:moveTo>
                        <a:pt x="163" y="11"/>
                      </a:moveTo>
                      <a:cubicBezTo>
                        <a:pt x="163" y="16"/>
                        <a:pt x="158" y="21"/>
                        <a:pt x="153" y="21"/>
                      </a:cubicBezTo>
                      <a:cubicBezTo>
                        <a:pt x="10" y="21"/>
                        <a:pt x="10" y="21"/>
                        <a:pt x="10" y="21"/>
                      </a:cubicBezTo>
                      <a:cubicBezTo>
                        <a:pt x="5" y="21"/>
                        <a:pt x="0" y="16"/>
                        <a:pt x="0" y="11"/>
                      </a:cubicBezTo>
                      <a:cubicBezTo>
                        <a:pt x="0" y="5"/>
                        <a:pt x="5" y="0"/>
                        <a:pt x="10" y="0"/>
                      </a:cubicBezTo>
                      <a:cubicBezTo>
                        <a:pt x="153" y="0"/>
                        <a:pt x="153" y="0"/>
                        <a:pt x="153" y="0"/>
                      </a:cubicBezTo>
                      <a:cubicBezTo>
                        <a:pt x="158" y="0"/>
                        <a:pt x="163" y="5"/>
                        <a:pt x="163" y="11"/>
                      </a:cubicBezTo>
                      <a:close/>
                    </a:path>
                  </a:pathLst>
                </a:custGeom>
                <a:solidFill>
                  <a:schemeClr val="bg1">
                    <a:lumMod val="75000"/>
                  </a:schemeClr>
                </a:solidFill>
                <a:ln w="9525">
                  <a:noFill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US"/>
                </a:p>
              </p:txBody>
            </p:sp>
            <p:sp>
              <p:nvSpPr>
                <p:cNvPr id="243" name="Freeform 124"/>
                <p:cNvSpPr/>
                <p:nvPr/>
              </p:nvSpPr>
              <p:spPr bwMode="auto">
                <a:xfrm>
                  <a:off x="4429102" y="2952750"/>
                  <a:ext cx="479425" cy="61913"/>
                </a:xfrm>
                <a:custGeom>
                  <a:avLst/>
                  <a:gdLst/>
                  <a:ahLst/>
                  <a:cxnLst>
                    <a:cxn ang="0">
                      <a:pos x="163" y="11"/>
                    </a:cxn>
                    <a:cxn ang="0">
                      <a:pos x="153" y="21"/>
                    </a:cxn>
                    <a:cxn ang="0">
                      <a:pos x="10" y="21"/>
                    </a:cxn>
                    <a:cxn ang="0">
                      <a:pos x="0" y="11"/>
                    </a:cxn>
                    <a:cxn ang="0">
                      <a:pos x="10" y="0"/>
                    </a:cxn>
                    <a:cxn ang="0">
                      <a:pos x="153" y="0"/>
                    </a:cxn>
                    <a:cxn ang="0">
                      <a:pos x="163" y="11"/>
                    </a:cxn>
                  </a:cxnLst>
                  <a:rect l="0" t="0" r="r" b="b"/>
                  <a:pathLst>
                    <a:path w="163" h="21">
                      <a:moveTo>
                        <a:pt x="163" y="11"/>
                      </a:moveTo>
                      <a:cubicBezTo>
                        <a:pt x="163" y="16"/>
                        <a:pt x="158" y="21"/>
                        <a:pt x="153" y="21"/>
                      </a:cubicBezTo>
                      <a:cubicBezTo>
                        <a:pt x="10" y="21"/>
                        <a:pt x="10" y="21"/>
                        <a:pt x="10" y="21"/>
                      </a:cubicBezTo>
                      <a:cubicBezTo>
                        <a:pt x="5" y="21"/>
                        <a:pt x="0" y="16"/>
                        <a:pt x="0" y="11"/>
                      </a:cubicBezTo>
                      <a:cubicBezTo>
                        <a:pt x="0" y="5"/>
                        <a:pt x="5" y="0"/>
                        <a:pt x="10" y="0"/>
                      </a:cubicBezTo>
                      <a:cubicBezTo>
                        <a:pt x="153" y="0"/>
                        <a:pt x="153" y="0"/>
                        <a:pt x="153" y="0"/>
                      </a:cubicBezTo>
                      <a:cubicBezTo>
                        <a:pt x="158" y="0"/>
                        <a:pt x="163" y="5"/>
                        <a:pt x="163" y="11"/>
                      </a:cubicBezTo>
                      <a:close/>
                    </a:path>
                  </a:pathLst>
                </a:custGeom>
                <a:solidFill>
                  <a:schemeClr val="bg1">
                    <a:lumMod val="75000"/>
                  </a:schemeClr>
                </a:solidFill>
                <a:ln w="9525">
                  <a:noFill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US"/>
                </a:p>
              </p:txBody>
            </p:sp>
            <p:sp>
              <p:nvSpPr>
                <p:cNvPr id="244" name="Freeform 125"/>
                <p:cNvSpPr/>
                <p:nvPr/>
              </p:nvSpPr>
              <p:spPr bwMode="auto">
                <a:xfrm>
                  <a:off x="4470377" y="3125788"/>
                  <a:ext cx="379413" cy="9525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129" y="0"/>
                    </a:cxn>
                    <a:cxn ang="0">
                      <a:pos x="63" y="3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29" h="32">
                      <a:moveTo>
                        <a:pt x="0" y="0"/>
                      </a:move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0" y="32"/>
                        <a:pt x="63" y="30"/>
                      </a:cubicBezTo>
                      <a:cubicBezTo>
                        <a:pt x="17" y="29"/>
                        <a:pt x="0" y="0"/>
                        <a:pt x="0" y="0"/>
                      </a:cubicBezTo>
                      <a:close/>
                    </a:path>
                  </a:pathLst>
                </a:custGeom>
                <a:solidFill>
                  <a:schemeClr val="bg1">
                    <a:lumMod val="75000"/>
                  </a:schemeClr>
                </a:solidFill>
                <a:ln w="9525">
                  <a:noFill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US"/>
                </a:p>
              </p:txBody>
            </p:sp>
            <p:sp>
              <p:nvSpPr>
                <p:cNvPr id="245" name="Freeform 237"/>
                <p:cNvSpPr>
                  <a:spLocks noEditPoints="1"/>
                </p:cNvSpPr>
                <p:nvPr/>
              </p:nvSpPr>
              <p:spPr bwMode="auto">
                <a:xfrm>
                  <a:off x="4168751" y="1735138"/>
                  <a:ext cx="1000125" cy="1179513"/>
                </a:xfrm>
                <a:custGeom>
                  <a:avLst/>
                  <a:gdLst/>
                  <a:ahLst/>
                  <a:cxnLst>
                    <a:cxn ang="0">
                      <a:pos x="175" y="0"/>
                    </a:cxn>
                    <a:cxn ang="0">
                      <a:pos x="167" y="0"/>
                    </a:cxn>
                    <a:cxn ang="0">
                      <a:pos x="6" y="165"/>
                    </a:cxn>
                    <a:cxn ang="0">
                      <a:pos x="67" y="318"/>
                    </a:cxn>
                    <a:cxn ang="0">
                      <a:pos x="90" y="396"/>
                    </a:cxn>
                    <a:cxn ang="0">
                      <a:pos x="90" y="396"/>
                    </a:cxn>
                    <a:cxn ang="0">
                      <a:pos x="99" y="401"/>
                    </a:cxn>
                    <a:cxn ang="0">
                      <a:pos x="242" y="401"/>
                    </a:cxn>
                    <a:cxn ang="0">
                      <a:pos x="251" y="396"/>
                    </a:cxn>
                    <a:cxn ang="0">
                      <a:pos x="251" y="396"/>
                    </a:cxn>
                    <a:cxn ang="0">
                      <a:pos x="274" y="318"/>
                    </a:cxn>
                    <a:cxn ang="0">
                      <a:pos x="336" y="165"/>
                    </a:cxn>
                    <a:cxn ang="0">
                      <a:pos x="175" y="0"/>
                    </a:cxn>
                    <a:cxn ang="0">
                      <a:pos x="295" y="166"/>
                    </a:cxn>
                    <a:cxn ang="0">
                      <a:pos x="249" y="282"/>
                    </a:cxn>
                    <a:cxn ang="0">
                      <a:pos x="231" y="352"/>
                    </a:cxn>
                    <a:cxn ang="0">
                      <a:pos x="231" y="352"/>
                    </a:cxn>
                    <a:cxn ang="0">
                      <a:pos x="224" y="356"/>
                    </a:cxn>
                    <a:cxn ang="0">
                      <a:pos x="117" y="356"/>
                    </a:cxn>
                    <a:cxn ang="0">
                      <a:pos x="110" y="352"/>
                    </a:cxn>
                    <a:cxn ang="0">
                      <a:pos x="110" y="352"/>
                    </a:cxn>
                    <a:cxn ang="0">
                      <a:pos x="93" y="282"/>
                    </a:cxn>
                    <a:cxn ang="0">
                      <a:pos x="47" y="166"/>
                    </a:cxn>
                    <a:cxn ang="0">
                      <a:pos x="168" y="43"/>
                    </a:cxn>
                    <a:cxn ang="0">
                      <a:pos x="174" y="43"/>
                    </a:cxn>
                    <a:cxn ang="0">
                      <a:pos x="295" y="166"/>
                    </a:cxn>
                  </a:cxnLst>
                  <a:rect l="0" t="0" r="r" b="b"/>
                  <a:pathLst>
                    <a:path w="341" h="401">
                      <a:moveTo>
                        <a:pt x="175" y="0"/>
                      </a:move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61" y="7"/>
                        <a:pt x="0" y="83"/>
                        <a:pt x="6" y="165"/>
                      </a:cubicBezTo>
                      <a:cubicBezTo>
                        <a:pt x="12" y="254"/>
                        <a:pt x="61" y="264"/>
                        <a:pt x="67" y="318"/>
                      </a:cubicBezTo>
                      <a:cubicBezTo>
                        <a:pt x="73" y="372"/>
                        <a:pt x="90" y="396"/>
                        <a:pt x="90" y="396"/>
                      </a:cubicBezTo>
                      <a:cubicBezTo>
                        <a:pt x="90" y="396"/>
                        <a:pt x="90" y="396"/>
                        <a:pt x="90" y="396"/>
                      </a:cubicBezTo>
                      <a:cubicBezTo>
                        <a:pt x="92" y="399"/>
                        <a:pt x="96" y="401"/>
                        <a:pt x="99" y="401"/>
                      </a:cubicBezTo>
                      <a:cubicBezTo>
                        <a:pt x="242" y="401"/>
                        <a:pt x="242" y="401"/>
                        <a:pt x="242" y="401"/>
                      </a:cubicBezTo>
                      <a:cubicBezTo>
                        <a:pt x="245" y="401"/>
                        <a:pt x="249" y="399"/>
                        <a:pt x="251" y="396"/>
                      </a:cubicBezTo>
                      <a:cubicBezTo>
                        <a:pt x="251" y="396"/>
                        <a:pt x="251" y="396"/>
                        <a:pt x="251" y="396"/>
                      </a:cubicBezTo>
                      <a:cubicBezTo>
                        <a:pt x="251" y="396"/>
                        <a:pt x="268" y="372"/>
                        <a:pt x="274" y="318"/>
                      </a:cubicBezTo>
                      <a:cubicBezTo>
                        <a:pt x="280" y="264"/>
                        <a:pt x="330" y="254"/>
                        <a:pt x="336" y="165"/>
                      </a:cubicBezTo>
                      <a:cubicBezTo>
                        <a:pt x="341" y="83"/>
                        <a:pt x="280" y="7"/>
                        <a:pt x="175" y="0"/>
                      </a:cubicBezTo>
                      <a:close/>
                      <a:moveTo>
                        <a:pt x="295" y="166"/>
                      </a:moveTo>
                      <a:cubicBezTo>
                        <a:pt x="290" y="234"/>
                        <a:pt x="253" y="241"/>
                        <a:pt x="249" y="282"/>
                      </a:cubicBezTo>
                      <a:cubicBezTo>
                        <a:pt x="244" y="322"/>
                        <a:pt x="231" y="352"/>
                        <a:pt x="231" y="352"/>
                      </a:cubicBezTo>
                      <a:cubicBezTo>
                        <a:pt x="231" y="352"/>
                        <a:pt x="231" y="352"/>
                        <a:pt x="231" y="352"/>
                      </a:cubicBezTo>
                      <a:cubicBezTo>
                        <a:pt x="229" y="354"/>
                        <a:pt x="227" y="356"/>
                        <a:pt x="224" y="356"/>
                      </a:cubicBezTo>
                      <a:cubicBezTo>
                        <a:pt x="117" y="356"/>
                        <a:pt x="117" y="356"/>
                        <a:pt x="117" y="356"/>
                      </a:cubicBezTo>
                      <a:cubicBezTo>
                        <a:pt x="114" y="356"/>
                        <a:pt x="112" y="354"/>
                        <a:pt x="110" y="352"/>
                      </a:cubicBezTo>
                      <a:cubicBezTo>
                        <a:pt x="110" y="352"/>
                        <a:pt x="110" y="352"/>
                        <a:pt x="110" y="352"/>
                      </a:cubicBezTo>
                      <a:cubicBezTo>
                        <a:pt x="110" y="352"/>
                        <a:pt x="98" y="322"/>
                        <a:pt x="93" y="282"/>
                      </a:cubicBezTo>
                      <a:cubicBezTo>
                        <a:pt x="89" y="241"/>
                        <a:pt x="51" y="234"/>
                        <a:pt x="47" y="166"/>
                      </a:cubicBezTo>
                      <a:cubicBezTo>
                        <a:pt x="43" y="105"/>
                        <a:pt x="89" y="48"/>
                        <a:pt x="168" y="43"/>
                      </a:cubicBezTo>
                      <a:cubicBezTo>
                        <a:pt x="174" y="43"/>
                        <a:pt x="174" y="43"/>
                        <a:pt x="174" y="43"/>
                      </a:cubicBezTo>
                      <a:cubicBezTo>
                        <a:pt x="253" y="48"/>
                        <a:pt x="299" y="105"/>
                        <a:pt x="295" y="166"/>
                      </a:cubicBezTo>
                      <a:close/>
                    </a:path>
                  </a:pathLst>
                </a:custGeom>
                <a:solidFill>
                  <a:schemeClr val="bg1">
                    <a:lumMod val="75000"/>
                  </a:schemeClr>
                </a:solidFill>
                <a:ln w="9525">
                  <a:noFill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US"/>
                </a:p>
              </p:txBody>
            </p:sp>
          </p:grpSp>
          <p:sp>
            <p:nvSpPr>
              <p:cNvPr id="74" name="Rectangle 73"/>
              <p:cNvSpPr/>
              <p:nvPr/>
            </p:nvSpPr>
            <p:spPr>
              <a:xfrm>
                <a:off x="3947191" y="2802253"/>
                <a:ext cx="1254125" cy="55740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zh-CN" altLang="en-US" b="1" dirty="0">
                    <a:solidFill>
                      <a:schemeClr val="tx1">
                        <a:lumMod val="25000"/>
                        <a:lumOff val="75000"/>
                      </a:schemeClr>
                    </a:solidFill>
                  </a:rPr>
                  <a:t>客户营销</a:t>
                </a:r>
              </a:p>
              <a:p>
                <a:pPr algn="ctr"/>
                <a:r>
                  <a:rPr lang="zh-CN" altLang="en-US" b="1" dirty="0">
                    <a:solidFill>
                      <a:schemeClr val="tx1">
                        <a:lumMod val="25000"/>
                        <a:lumOff val="75000"/>
                      </a:schemeClr>
                    </a:solidFill>
                  </a:rPr>
                  <a:t>痛点</a:t>
                </a:r>
              </a:p>
            </p:txBody>
          </p:sp>
        </p:grpSp>
        <p:sp>
          <p:nvSpPr>
            <p:cNvPr id="309" name="Oval 308"/>
            <p:cNvSpPr/>
            <p:nvPr/>
          </p:nvSpPr>
          <p:spPr>
            <a:xfrm>
              <a:off x="5638" y="2761"/>
              <a:ext cx="777" cy="755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91440" rtlCol="0" anchor="ctr"/>
            <a:lstStyle/>
            <a:p>
              <a:pPr algn="ctr"/>
              <a:endParaRPr lang="en-US" dirty="0">
                <a:solidFill>
                  <a:schemeClr val="bg1"/>
                </a:solidFill>
                <a:latin typeface="FontAwesome" pitchFamily="2" charset="0"/>
              </a:endParaRPr>
            </a:p>
          </p:txBody>
        </p:sp>
        <p:sp>
          <p:nvSpPr>
            <p:cNvPr id="296" name="Oval 295"/>
            <p:cNvSpPr/>
            <p:nvPr/>
          </p:nvSpPr>
          <p:spPr>
            <a:xfrm>
              <a:off x="5334" y="5739"/>
              <a:ext cx="777" cy="755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bg1"/>
                </a:solidFill>
                <a:latin typeface="FontAwesome" pitchFamily="2" charset="0"/>
              </a:endParaRPr>
            </a:p>
          </p:txBody>
        </p:sp>
        <p:sp>
          <p:nvSpPr>
            <p:cNvPr id="292" name="Oval 291"/>
            <p:cNvSpPr/>
            <p:nvPr/>
          </p:nvSpPr>
          <p:spPr>
            <a:xfrm>
              <a:off x="4881" y="4740"/>
              <a:ext cx="777" cy="75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bg1"/>
                </a:solidFill>
                <a:latin typeface="FontAwesome" pitchFamily="2" charset="0"/>
              </a:endParaRPr>
            </a:p>
          </p:txBody>
        </p:sp>
        <p:sp>
          <p:nvSpPr>
            <p:cNvPr id="288" name="Oval 287"/>
            <p:cNvSpPr/>
            <p:nvPr/>
          </p:nvSpPr>
          <p:spPr>
            <a:xfrm>
              <a:off x="4946" y="3652"/>
              <a:ext cx="777" cy="755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bg1"/>
                </a:solidFill>
                <a:latin typeface="FontAwesome" pitchFamily="2" charset="0"/>
              </a:endParaRPr>
            </a:p>
          </p:txBody>
        </p:sp>
        <p:sp>
          <p:nvSpPr>
            <p:cNvPr id="310" name="Oval 309"/>
            <p:cNvSpPr/>
            <p:nvPr/>
          </p:nvSpPr>
          <p:spPr>
            <a:xfrm>
              <a:off x="6812" y="2444"/>
              <a:ext cx="777" cy="755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bg1"/>
                </a:solidFill>
                <a:latin typeface="FontAwesome" pitchFamily="2" charset="0"/>
              </a:endParaRPr>
            </a:p>
          </p:txBody>
        </p:sp>
        <p:sp>
          <p:nvSpPr>
            <p:cNvPr id="300" name="Oval 299"/>
            <p:cNvSpPr/>
            <p:nvPr/>
          </p:nvSpPr>
          <p:spPr>
            <a:xfrm>
              <a:off x="7991" y="2758"/>
              <a:ext cx="777" cy="755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bg1"/>
                </a:solidFill>
                <a:latin typeface="FontAwesome" pitchFamily="2" charset="0"/>
              </a:endParaRPr>
            </a:p>
          </p:txBody>
        </p:sp>
        <p:sp>
          <p:nvSpPr>
            <p:cNvPr id="304" name="Oval 303"/>
            <p:cNvSpPr/>
            <p:nvPr/>
          </p:nvSpPr>
          <p:spPr>
            <a:xfrm>
              <a:off x="8768" y="3652"/>
              <a:ext cx="777" cy="755"/>
            </a:xfrm>
            <a:prstGeom prst="ellipse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bg1"/>
                </a:solidFill>
                <a:latin typeface="FontAwesome" pitchFamily="2" charset="0"/>
              </a:endParaRPr>
            </a:p>
          </p:txBody>
        </p:sp>
        <p:sp>
          <p:nvSpPr>
            <p:cNvPr id="308" name="Oval 307"/>
            <p:cNvSpPr/>
            <p:nvPr/>
          </p:nvSpPr>
          <p:spPr>
            <a:xfrm>
              <a:off x="8782" y="4740"/>
              <a:ext cx="777" cy="755"/>
            </a:xfrm>
            <a:prstGeom prst="ellipse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bg1"/>
                </a:solidFill>
                <a:latin typeface="FontAwesome" pitchFamily="2" charset="0"/>
              </a:endParaRPr>
            </a:p>
          </p:txBody>
        </p:sp>
        <p:sp>
          <p:nvSpPr>
            <p:cNvPr id="45" name="Oval 44"/>
            <p:cNvSpPr/>
            <p:nvPr/>
          </p:nvSpPr>
          <p:spPr>
            <a:xfrm>
              <a:off x="8289" y="5739"/>
              <a:ext cx="777" cy="755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bg1"/>
                </a:solidFill>
                <a:latin typeface="FontAwesome" pitchFamily="2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Slide Number Placeholder 37"/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/>
          <a:p>
            <a:fld id="{C136B7D2-B98C-44FD-8D04-7EC62A564975}" type="slidenum">
              <a:rPr lang="en-US" smtClean="0"/>
              <a:t>11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>
                <a:sym typeface="+mn-ea"/>
              </a:rPr>
              <a:t>客户画像自助式分析工具亮点</a:t>
            </a:r>
            <a:r>
              <a:rPr lang="en-US" altLang="zh-CN">
                <a:sym typeface="+mn-ea"/>
              </a:rPr>
              <a:t>1——</a:t>
            </a:r>
            <a:r>
              <a:rPr lang="zh-CN" altLang="en-US">
                <a:sym typeface="+mn-ea"/>
              </a:rPr>
              <a:t>描述客户更全面</a:t>
            </a:r>
            <a:endParaRPr lang="zh-CN" altLang="en-US" dirty="0">
              <a:sym typeface="+mn-ea"/>
            </a:endParaRPr>
          </a:p>
        </p:txBody>
      </p:sp>
      <p:grpSp>
        <p:nvGrpSpPr>
          <p:cNvPr id="10" name="组合 9"/>
          <p:cNvGrpSpPr/>
          <p:nvPr/>
        </p:nvGrpSpPr>
        <p:grpSpPr>
          <a:xfrm>
            <a:off x="522295" y="903605"/>
            <a:ext cx="3227787" cy="3681525"/>
            <a:chOff x="6027" y="1815"/>
            <a:chExt cx="4174" cy="4758"/>
          </a:xfrm>
        </p:grpSpPr>
        <p:sp>
          <p:nvSpPr>
            <p:cNvPr id="80" name="Teardrop 79"/>
            <p:cNvSpPr>
              <a:spLocks noChangeAspect="1"/>
            </p:cNvSpPr>
            <p:nvPr/>
          </p:nvSpPr>
          <p:spPr>
            <a:xfrm rot="8068996">
              <a:off x="6027" y="1815"/>
              <a:ext cx="2346" cy="2346"/>
            </a:xfrm>
            <a:prstGeom prst="teardrop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b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8" name="Rectangle 27"/>
            <p:cNvSpPr/>
            <p:nvPr/>
          </p:nvSpPr>
          <p:spPr>
            <a:xfrm>
              <a:off x="6632" y="3160"/>
              <a:ext cx="1293" cy="506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zh-CN" altLang="en-US" sz="2400" b="1" dirty="0" smtClean="0">
                  <a:solidFill>
                    <a:schemeClr val="bg1"/>
                  </a:solidFill>
                </a:rPr>
                <a:t>更全面</a:t>
              </a:r>
            </a:p>
          </p:txBody>
        </p:sp>
        <p:sp>
          <p:nvSpPr>
            <p:cNvPr id="31" name="Rectangle 30"/>
            <p:cNvSpPr/>
            <p:nvPr/>
          </p:nvSpPr>
          <p:spPr>
            <a:xfrm>
              <a:off x="8926" y="6067"/>
              <a:ext cx="1275" cy="506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zh-CN" altLang="en-US" sz="2400" b="1" dirty="0" smtClean="0">
                  <a:solidFill>
                    <a:schemeClr val="bg1"/>
                  </a:solidFill>
                </a:rPr>
                <a:t>更便捷</a:t>
              </a:r>
            </a:p>
          </p:txBody>
        </p:sp>
        <p:sp>
          <p:nvSpPr>
            <p:cNvPr id="33" name="Freeform 105"/>
            <p:cNvSpPr>
              <a:spLocks noEditPoints="1"/>
            </p:cNvSpPr>
            <p:nvPr/>
          </p:nvSpPr>
          <p:spPr bwMode="auto">
            <a:xfrm>
              <a:off x="6782" y="2204"/>
              <a:ext cx="725" cy="737"/>
            </a:xfrm>
            <a:custGeom>
              <a:avLst/>
              <a:gdLst/>
              <a:ahLst/>
              <a:cxnLst>
                <a:cxn ang="0">
                  <a:pos x="59" y="63"/>
                </a:cxn>
                <a:cxn ang="0">
                  <a:pos x="55" y="61"/>
                </a:cxn>
                <a:cxn ang="0">
                  <a:pos x="42" y="48"/>
                </a:cxn>
                <a:cxn ang="0">
                  <a:pos x="27" y="53"/>
                </a:cxn>
                <a:cxn ang="0">
                  <a:pos x="0" y="26"/>
                </a:cxn>
                <a:cxn ang="0">
                  <a:pos x="27" y="0"/>
                </a:cxn>
                <a:cxn ang="0">
                  <a:pos x="54" y="26"/>
                </a:cxn>
                <a:cxn ang="0">
                  <a:pos x="49" y="41"/>
                </a:cxn>
                <a:cxn ang="0">
                  <a:pos x="62" y="54"/>
                </a:cxn>
                <a:cxn ang="0">
                  <a:pos x="64" y="58"/>
                </a:cxn>
                <a:cxn ang="0">
                  <a:pos x="59" y="63"/>
                </a:cxn>
                <a:cxn ang="0">
                  <a:pos x="27" y="9"/>
                </a:cxn>
                <a:cxn ang="0">
                  <a:pos x="10" y="26"/>
                </a:cxn>
                <a:cxn ang="0">
                  <a:pos x="27" y="43"/>
                </a:cxn>
                <a:cxn ang="0">
                  <a:pos x="44" y="26"/>
                </a:cxn>
                <a:cxn ang="0">
                  <a:pos x="27" y="9"/>
                </a:cxn>
              </a:cxnLst>
              <a:rect l="0" t="0" r="r" b="b"/>
              <a:pathLst>
                <a:path w="64" h="63">
                  <a:moveTo>
                    <a:pt x="59" y="63"/>
                  </a:moveTo>
                  <a:cubicBezTo>
                    <a:pt x="57" y="63"/>
                    <a:pt x="56" y="62"/>
                    <a:pt x="55" y="61"/>
                  </a:cubicBezTo>
                  <a:cubicBezTo>
                    <a:pt x="42" y="48"/>
                    <a:pt x="42" y="48"/>
                    <a:pt x="42" y="48"/>
                  </a:cubicBezTo>
                  <a:cubicBezTo>
                    <a:pt x="38" y="51"/>
                    <a:pt x="33" y="53"/>
                    <a:pt x="27" y="53"/>
                  </a:cubicBezTo>
                  <a:cubicBezTo>
                    <a:pt x="12" y="53"/>
                    <a:pt x="0" y="41"/>
                    <a:pt x="0" y="26"/>
                  </a:cubicBezTo>
                  <a:cubicBezTo>
                    <a:pt x="0" y="12"/>
                    <a:pt x="12" y="0"/>
                    <a:pt x="27" y="0"/>
                  </a:cubicBezTo>
                  <a:cubicBezTo>
                    <a:pt x="42" y="0"/>
                    <a:pt x="54" y="12"/>
                    <a:pt x="54" y="26"/>
                  </a:cubicBezTo>
                  <a:cubicBezTo>
                    <a:pt x="54" y="32"/>
                    <a:pt x="52" y="37"/>
                    <a:pt x="49" y="41"/>
                  </a:cubicBezTo>
                  <a:cubicBezTo>
                    <a:pt x="62" y="54"/>
                    <a:pt x="62" y="54"/>
                    <a:pt x="62" y="54"/>
                  </a:cubicBezTo>
                  <a:cubicBezTo>
                    <a:pt x="63" y="55"/>
                    <a:pt x="64" y="57"/>
                    <a:pt x="64" y="58"/>
                  </a:cubicBezTo>
                  <a:cubicBezTo>
                    <a:pt x="64" y="61"/>
                    <a:pt x="61" y="63"/>
                    <a:pt x="59" y="63"/>
                  </a:cubicBezTo>
                  <a:close/>
                  <a:moveTo>
                    <a:pt x="27" y="9"/>
                  </a:moveTo>
                  <a:cubicBezTo>
                    <a:pt x="18" y="9"/>
                    <a:pt x="10" y="17"/>
                    <a:pt x="10" y="26"/>
                  </a:cubicBezTo>
                  <a:cubicBezTo>
                    <a:pt x="10" y="36"/>
                    <a:pt x="18" y="43"/>
                    <a:pt x="27" y="43"/>
                  </a:cubicBezTo>
                  <a:cubicBezTo>
                    <a:pt x="37" y="43"/>
                    <a:pt x="44" y="36"/>
                    <a:pt x="44" y="26"/>
                  </a:cubicBezTo>
                  <a:cubicBezTo>
                    <a:pt x="44" y="17"/>
                    <a:pt x="37" y="9"/>
                    <a:pt x="27" y="9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sz="3200" dirty="0">
                <a:solidFill>
                  <a:schemeClr val="accent3">
                    <a:lumMod val="50000"/>
                  </a:schemeClr>
                </a:solidFill>
              </a:endParaRPr>
            </a:p>
          </p:txBody>
        </p:sp>
        <p:sp>
          <p:nvSpPr>
            <p:cNvPr id="93" name="Freeform 5"/>
            <p:cNvSpPr>
              <a:spLocks noEditPoints="1"/>
            </p:cNvSpPr>
            <p:nvPr/>
          </p:nvSpPr>
          <p:spPr bwMode="auto">
            <a:xfrm>
              <a:off x="6409" y="4701"/>
              <a:ext cx="1582" cy="1684"/>
            </a:xfrm>
            <a:custGeom>
              <a:avLst/>
              <a:gdLst/>
              <a:ahLst/>
              <a:cxnLst>
                <a:cxn ang="0">
                  <a:pos x="250" y="250"/>
                </a:cxn>
                <a:cxn ang="0">
                  <a:pos x="125" y="296"/>
                </a:cxn>
                <a:cxn ang="0">
                  <a:pos x="0" y="250"/>
                </a:cxn>
                <a:cxn ang="0">
                  <a:pos x="66" y="210"/>
                </a:cxn>
                <a:cxn ang="0">
                  <a:pos x="79" y="219"/>
                </a:cxn>
                <a:cxn ang="0">
                  <a:pos x="70" y="232"/>
                </a:cxn>
                <a:cxn ang="0">
                  <a:pos x="23" y="251"/>
                </a:cxn>
                <a:cxn ang="0">
                  <a:pos x="125" y="273"/>
                </a:cxn>
                <a:cxn ang="0">
                  <a:pos x="228" y="250"/>
                </a:cxn>
                <a:cxn ang="0">
                  <a:pos x="180" y="232"/>
                </a:cxn>
                <a:cxn ang="0">
                  <a:pos x="171" y="219"/>
                </a:cxn>
                <a:cxn ang="0">
                  <a:pos x="184" y="210"/>
                </a:cxn>
                <a:cxn ang="0">
                  <a:pos x="250" y="250"/>
                </a:cxn>
                <a:cxn ang="0">
                  <a:pos x="80" y="182"/>
                </a:cxn>
                <a:cxn ang="0">
                  <a:pos x="91" y="182"/>
                </a:cxn>
                <a:cxn ang="0">
                  <a:pos x="91" y="250"/>
                </a:cxn>
                <a:cxn ang="0">
                  <a:pos x="102" y="262"/>
                </a:cxn>
                <a:cxn ang="0">
                  <a:pos x="148" y="262"/>
                </a:cxn>
                <a:cxn ang="0">
                  <a:pos x="159" y="250"/>
                </a:cxn>
                <a:cxn ang="0">
                  <a:pos x="159" y="182"/>
                </a:cxn>
                <a:cxn ang="0">
                  <a:pos x="171" y="182"/>
                </a:cxn>
                <a:cxn ang="0">
                  <a:pos x="182" y="171"/>
                </a:cxn>
                <a:cxn ang="0">
                  <a:pos x="182" y="102"/>
                </a:cxn>
                <a:cxn ang="0">
                  <a:pos x="157" y="82"/>
                </a:cxn>
                <a:cxn ang="0">
                  <a:pos x="125" y="80"/>
                </a:cxn>
                <a:cxn ang="0">
                  <a:pos x="93" y="82"/>
                </a:cxn>
                <a:cxn ang="0">
                  <a:pos x="68" y="102"/>
                </a:cxn>
                <a:cxn ang="0">
                  <a:pos x="68" y="171"/>
                </a:cxn>
                <a:cxn ang="0">
                  <a:pos x="80" y="182"/>
                </a:cxn>
                <a:cxn ang="0">
                  <a:pos x="125" y="68"/>
                </a:cxn>
                <a:cxn ang="0">
                  <a:pos x="159" y="34"/>
                </a:cxn>
                <a:cxn ang="0">
                  <a:pos x="125" y="0"/>
                </a:cxn>
                <a:cxn ang="0">
                  <a:pos x="91" y="34"/>
                </a:cxn>
                <a:cxn ang="0">
                  <a:pos x="125" y="68"/>
                </a:cxn>
                <a:cxn ang="0">
                  <a:pos x="125" y="68"/>
                </a:cxn>
                <a:cxn ang="0">
                  <a:pos x="125" y="68"/>
                </a:cxn>
              </a:cxnLst>
              <a:rect l="0" t="0" r="r" b="b"/>
              <a:pathLst>
                <a:path w="250" h="296">
                  <a:moveTo>
                    <a:pt x="250" y="250"/>
                  </a:moveTo>
                  <a:cubicBezTo>
                    <a:pt x="250" y="282"/>
                    <a:pt x="185" y="296"/>
                    <a:pt x="125" y="296"/>
                  </a:cubicBezTo>
                  <a:cubicBezTo>
                    <a:pt x="65" y="296"/>
                    <a:pt x="0" y="282"/>
                    <a:pt x="0" y="250"/>
                  </a:cubicBezTo>
                  <a:cubicBezTo>
                    <a:pt x="0" y="226"/>
                    <a:pt x="36" y="215"/>
                    <a:pt x="66" y="210"/>
                  </a:cubicBezTo>
                  <a:cubicBezTo>
                    <a:pt x="72" y="209"/>
                    <a:pt x="78" y="213"/>
                    <a:pt x="79" y="219"/>
                  </a:cubicBezTo>
                  <a:cubicBezTo>
                    <a:pt x="80" y="225"/>
                    <a:pt x="76" y="231"/>
                    <a:pt x="70" y="232"/>
                  </a:cubicBezTo>
                  <a:cubicBezTo>
                    <a:pt x="33" y="239"/>
                    <a:pt x="23" y="249"/>
                    <a:pt x="23" y="251"/>
                  </a:cubicBezTo>
                  <a:cubicBezTo>
                    <a:pt x="24" y="257"/>
                    <a:pt x="58" y="273"/>
                    <a:pt x="125" y="273"/>
                  </a:cubicBezTo>
                  <a:cubicBezTo>
                    <a:pt x="192" y="273"/>
                    <a:pt x="226" y="257"/>
                    <a:pt x="228" y="250"/>
                  </a:cubicBezTo>
                  <a:cubicBezTo>
                    <a:pt x="227" y="249"/>
                    <a:pt x="217" y="238"/>
                    <a:pt x="180" y="232"/>
                  </a:cubicBezTo>
                  <a:cubicBezTo>
                    <a:pt x="174" y="231"/>
                    <a:pt x="170" y="225"/>
                    <a:pt x="171" y="219"/>
                  </a:cubicBezTo>
                  <a:cubicBezTo>
                    <a:pt x="172" y="213"/>
                    <a:pt x="178" y="209"/>
                    <a:pt x="184" y="210"/>
                  </a:cubicBezTo>
                  <a:cubicBezTo>
                    <a:pt x="214" y="215"/>
                    <a:pt x="250" y="226"/>
                    <a:pt x="250" y="250"/>
                  </a:cubicBezTo>
                  <a:close/>
                  <a:moveTo>
                    <a:pt x="80" y="182"/>
                  </a:moveTo>
                  <a:cubicBezTo>
                    <a:pt x="91" y="182"/>
                    <a:pt x="91" y="182"/>
                    <a:pt x="91" y="182"/>
                  </a:cubicBezTo>
                  <a:cubicBezTo>
                    <a:pt x="91" y="250"/>
                    <a:pt x="91" y="250"/>
                    <a:pt x="91" y="250"/>
                  </a:cubicBezTo>
                  <a:cubicBezTo>
                    <a:pt x="91" y="257"/>
                    <a:pt x="96" y="262"/>
                    <a:pt x="102" y="262"/>
                  </a:cubicBezTo>
                  <a:cubicBezTo>
                    <a:pt x="148" y="262"/>
                    <a:pt x="148" y="262"/>
                    <a:pt x="148" y="262"/>
                  </a:cubicBezTo>
                  <a:cubicBezTo>
                    <a:pt x="154" y="262"/>
                    <a:pt x="159" y="257"/>
                    <a:pt x="159" y="250"/>
                  </a:cubicBezTo>
                  <a:cubicBezTo>
                    <a:pt x="159" y="182"/>
                    <a:pt x="159" y="182"/>
                    <a:pt x="159" y="182"/>
                  </a:cubicBezTo>
                  <a:cubicBezTo>
                    <a:pt x="171" y="182"/>
                    <a:pt x="171" y="182"/>
                    <a:pt x="171" y="182"/>
                  </a:cubicBezTo>
                  <a:cubicBezTo>
                    <a:pt x="177" y="182"/>
                    <a:pt x="182" y="177"/>
                    <a:pt x="182" y="171"/>
                  </a:cubicBezTo>
                  <a:cubicBezTo>
                    <a:pt x="182" y="102"/>
                    <a:pt x="182" y="102"/>
                    <a:pt x="182" y="102"/>
                  </a:cubicBezTo>
                  <a:cubicBezTo>
                    <a:pt x="182" y="97"/>
                    <a:pt x="173" y="84"/>
                    <a:pt x="157" y="82"/>
                  </a:cubicBezTo>
                  <a:cubicBezTo>
                    <a:pt x="150" y="81"/>
                    <a:pt x="138" y="80"/>
                    <a:pt x="125" y="80"/>
                  </a:cubicBezTo>
                  <a:cubicBezTo>
                    <a:pt x="112" y="80"/>
                    <a:pt x="100" y="81"/>
                    <a:pt x="93" y="82"/>
                  </a:cubicBezTo>
                  <a:cubicBezTo>
                    <a:pt x="77" y="84"/>
                    <a:pt x="68" y="97"/>
                    <a:pt x="68" y="102"/>
                  </a:cubicBezTo>
                  <a:cubicBezTo>
                    <a:pt x="68" y="171"/>
                    <a:pt x="68" y="171"/>
                    <a:pt x="68" y="171"/>
                  </a:cubicBezTo>
                  <a:cubicBezTo>
                    <a:pt x="68" y="177"/>
                    <a:pt x="73" y="182"/>
                    <a:pt x="80" y="182"/>
                  </a:cubicBezTo>
                  <a:close/>
                  <a:moveTo>
                    <a:pt x="125" y="68"/>
                  </a:moveTo>
                  <a:cubicBezTo>
                    <a:pt x="144" y="68"/>
                    <a:pt x="159" y="53"/>
                    <a:pt x="159" y="34"/>
                  </a:cubicBezTo>
                  <a:cubicBezTo>
                    <a:pt x="159" y="15"/>
                    <a:pt x="144" y="0"/>
                    <a:pt x="125" y="0"/>
                  </a:cubicBezTo>
                  <a:cubicBezTo>
                    <a:pt x="106" y="0"/>
                    <a:pt x="91" y="15"/>
                    <a:pt x="91" y="34"/>
                  </a:cubicBezTo>
                  <a:cubicBezTo>
                    <a:pt x="91" y="53"/>
                    <a:pt x="106" y="68"/>
                    <a:pt x="125" y="68"/>
                  </a:cubicBezTo>
                  <a:close/>
                  <a:moveTo>
                    <a:pt x="125" y="68"/>
                  </a:moveTo>
                  <a:cubicBezTo>
                    <a:pt x="125" y="68"/>
                    <a:pt x="125" y="68"/>
                    <a:pt x="125" y="68"/>
                  </a:cubicBezTo>
                </a:path>
              </a:pathLst>
            </a:custGeom>
            <a:solidFill>
              <a:srgbClr val="002060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sz="3200"/>
            </a:p>
          </p:txBody>
        </p:sp>
      </p:grpSp>
      <p:grpSp>
        <p:nvGrpSpPr>
          <p:cNvPr id="13" name="组合 12"/>
          <p:cNvGrpSpPr/>
          <p:nvPr/>
        </p:nvGrpSpPr>
        <p:grpSpPr>
          <a:xfrm>
            <a:off x="3133090" y="2089150"/>
            <a:ext cx="5553075" cy="1691640"/>
            <a:chOff x="4934" y="3288"/>
            <a:chExt cx="8745" cy="2664"/>
          </a:xfrm>
        </p:grpSpPr>
        <p:sp>
          <p:nvSpPr>
            <p:cNvPr id="3" name="文本框 2"/>
            <p:cNvSpPr txBox="1"/>
            <p:nvPr/>
          </p:nvSpPr>
          <p:spPr>
            <a:xfrm>
              <a:off x="4934" y="3288"/>
              <a:ext cx="3917" cy="127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4400" b="1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24</a:t>
              </a:r>
              <a:r>
                <a:rPr lang="zh-CN" altLang="en-US" sz="2000" b="1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个可用标签</a:t>
              </a:r>
            </a:p>
          </p:txBody>
        </p:sp>
        <p:sp>
          <p:nvSpPr>
            <p:cNvPr id="4" name="文本框 3"/>
            <p:cNvSpPr txBox="1"/>
            <p:nvPr/>
          </p:nvSpPr>
          <p:spPr>
            <a:xfrm>
              <a:off x="4934" y="4548"/>
              <a:ext cx="8745" cy="140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 fontAlgn="auto"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zh-CN" sz="140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充分挖掘行内数据，整理出可用标签，帮助业务部门能够有尽可能多的维度去了解客户</a:t>
              </a:r>
            </a:p>
            <a:p>
              <a:pPr marL="285750" indent="-285750" fontAlgn="auto"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zh-CN" sz="140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可用标签后续可根据业务需求进行扩展和丰富</a:t>
              </a:r>
            </a:p>
          </p:txBody>
        </p:sp>
      </p:grpSp>
      <p:grpSp>
        <p:nvGrpSpPr>
          <p:cNvPr id="14" name="组合 13"/>
          <p:cNvGrpSpPr/>
          <p:nvPr/>
        </p:nvGrpSpPr>
        <p:grpSpPr>
          <a:xfrm>
            <a:off x="3133090" y="3679190"/>
            <a:ext cx="5656580" cy="1421765"/>
            <a:chOff x="4934" y="5794"/>
            <a:chExt cx="8908" cy="2239"/>
          </a:xfrm>
        </p:grpSpPr>
        <p:sp>
          <p:nvSpPr>
            <p:cNvPr id="5" name="文本框 4"/>
            <p:cNvSpPr txBox="1"/>
            <p:nvPr/>
          </p:nvSpPr>
          <p:spPr>
            <a:xfrm>
              <a:off x="4934" y="5794"/>
              <a:ext cx="5610" cy="12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4400" b="1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000</a:t>
              </a:r>
              <a:r>
                <a:rPr lang="zh-CN" altLang="en-US" sz="4400" b="1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万</a:t>
              </a:r>
              <a:r>
                <a:rPr lang="en-US" altLang="zh-CN" sz="4400" b="1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+</a:t>
              </a:r>
              <a:r>
                <a:rPr lang="zh-CN" altLang="en-US" sz="2000" b="1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客户数据</a:t>
              </a:r>
            </a:p>
          </p:txBody>
        </p:sp>
        <p:sp>
          <p:nvSpPr>
            <p:cNvPr id="6" name="文本框 5"/>
            <p:cNvSpPr txBox="1"/>
            <p:nvPr/>
          </p:nvSpPr>
          <p:spPr>
            <a:xfrm>
              <a:off x="4934" y="6872"/>
              <a:ext cx="8908" cy="116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 algn="l" fontAlgn="auto"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zh-CN" altLang="en-US" sz="140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ea"/>
                </a:rPr>
                <a:t>底层客户数据清洗，成功获取</a:t>
              </a:r>
              <a:r>
                <a:rPr lang="en-US" altLang="zh-CN" sz="140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ea"/>
                </a:rPr>
                <a:t>1000</a:t>
              </a:r>
              <a:r>
                <a:rPr lang="zh-CN" altLang="en-US" sz="140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ea"/>
                </a:rPr>
                <a:t>多万名活跃客户，满足日常客户分析及营销活动的需求，避免了客户数较少、带来的分析结果失真及营销无意义的情况</a:t>
              </a:r>
            </a:p>
          </p:txBody>
        </p:sp>
      </p:grpSp>
      <p:grpSp>
        <p:nvGrpSpPr>
          <p:cNvPr id="12" name="组合 11"/>
          <p:cNvGrpSpPr/>
          <p:nvPr/>
        </p:nvGrpSpPr>
        <p:grpSpPr>
          <a:xfrm>
            <a:off x="3133090" y="715645"/>
            <a:ext cx="5551170" cy="1381125"/>
            <a:chOff x="4934" y="1127"/>
            <a:chExt cx="8742" cy="2175"/>
          </a:xfrm>
        </p:grpSpPr>
        <p:sp>
          <p:nvSpPr>
            <p:cNvPr id="8" name="文本框 7"/>
            <p:cNvSpPr txBox="1"/>
            <p:nvPr/>
          </p:nvSpPr>
          <p:spPr>
            <a:xfrm>
              <a:off x="4934" y="1127"/>
              <a:ext cx="2831" cy="12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4400" b="1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4</a:t>
              </a:r>
              <a:r>
                <a:rPr lang="zh-CN" altLang="en-US" sz="2000" b="1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类标签类型</a:t>
              </a:r>
            </a:p>
          </p:txBody>
        </p:sp>
        <p:sp>
          <p:nvSpPr>
            <p:cNvPr id="9" name="文本框 8"/>
            <p:cNvSpPr txBox="1"/>
            <p:nvPr/>
          </p:nvSpPr>
          <p:spPr>
            <a:xfrm>
              <a:off x="4934" y="2238"/>
              <a:ext cx="8742" cy="106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285750" indent="-285750" fontAlgn="auto"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zh-CN" altLang="en-US" sz="140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基于全行内部数据，从无到有，建立用户画像标签体系</a:t>
              </a:r>
            </a:p>
            <a:p>
              <a:pPr marL="285750" indent="-285750" fontAlgn="auto"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altLang="zh-CN" sz="140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4</a:t>
              </a:r>
              <a:r>
                <a:rPr lang="zh-CN" altLang="en-US" sz="140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类标签分别为：基本属性，资产情况，产品持有情况，交易情况</a:t>
              </a:r>
              <a:endParaRPr lang="en-US" altLang="zh-CN" sz="140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</p:spTree>
  </p:cSld>
  <p:clrMapOvr>
    <a:masterClrMapping/>
  </p:clrMapOvr>
  <p:transition advTm="3000"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Slide Number Placeholder 37"/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/>
          <a:p>
            <a:fld id="{C136B7D2-B98C-44FD-8D04-7EC62A564975}" type="slidenum">
              <a:rPr lang="en-US" smtClean="0"/>
              <a:t>12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>
                <a:sym typeface="+mn-ea"/>
              </a:rPr>
              <a:t>客户画像自助式分析工具亮点</a:t>
            </a:r>
            <a:r>
              <a:rPr lang="en-US" altLang="zh-CN">
                <a:sym typeface="+mn-ea"/>
              </a:rPr>
              <a:t>2——</a:t>
            </a:r>
            <a:r>
              <a:rPr lang="zh-CN" altLang="en-US">
                <a:sym typeface="+mn-ea"/>
              </a:rPr>
              <a:t>触达客户更精准</a:t>
            </a:r>
            <a:endParaRPr lang="zh-CN" altLang="en-US" dirty="0">
              <a:sym typeface="+mn-ea"/>
            </a:endParaRPr>
          </a:p>
        </p:txBody>
      </p:sp>
      <p:grpSp>
        <p:nvGrpSpPr>
          <p:cNvPr id="10" name="组合 9"/>
          <p:cNvGrpSpPr/>
          <p:nvPr/>
        </p:nvGrpSpPr>
        <p:grpSpPr>
          <a:xfrm>
            <a:off x="522295" y="903605"/>
            <a:ext cx="3227787" cy="3681525"/>
            <a:chOff x="6027" y="1815"/>
            <a:chExt cx="4174" cy="4758"/>
          </a:xfrm>
        </p:grpSpPr>
        <p:sp>
          <p:nvSpPr>
            <p:cNvPr id="80" name="Teardrop 79"/>
            <p:cNvSpPr>
              <a:spLocks noChangeAspect="1"/>
            </p:cNvSpPr>
            <p:nvPr/>
          </p:nvSpPr>
          <p:spPr>
            <a:xfrm rot="8068996">
              <a:off x="6027" y="1815"/>
              <a:ext cx="2346" cy="2346"/>
            </a:xfrm>
            <a:prstGeom prst="teardrop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b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31" name="Rectangle 30"/>
            <p:cNvSpPr/>
            <p:nvPr/>
          </p:nvSpPr>
          <p:spPr>
            <a:xfrm>
              <a:off x="8926" y="6067"/>
              <a:ext cx="1275" cy="506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zh-CN" altLang="en-US" sz="2400" b="1" dirty="0" smtClean="0">
                  <a:solidFill>
                    <a:schemeClr val="bg1"/>
                  </a:solidFill>
                </a:rPr>
                <a:t>更便捷</a:t>
              </a:r>
            </a:p>
          </p:txBody>
        </p:sp>
        <p:sp>
          <p:nvSpPr>
            <p:cNvPr id="93" name="Freeform 5"/>
            <p:cNvSpPr>
              <a:spLocks noEditPoints="1"/>
            </p:cNvSpPr>
            <p:nvPr/>
          </p:nvSpPr>
          <p:spPr bwMode="auto">
            <a:xfrm>
              <a:off x="6409" y="4701"/>
              <a:ext cx="1582" cy="1684"/>
            </a:xfrm>
            <a:custGeom>
              <a:avLst/>
              <a:gdLst/>
              <a:ahLst/>
              <a:cxnLst>
                <a:cxn ang="0">
                  <a:pos x="250" y="250"/>
                </a:cxn>
                <a:cxn ang="0">
                  <a:pos x="125" y="296"/>
                </a:cxn>
                <a:cxn ang="0">
                  <a:pos x="0" y="250"/>
                </a:cxn>
                <a:cxn ang="0">
                  <a:pos x="66" y="210"/>
                </a:cxn>
                <a:cxn ang="0">
                  <a:pos x="79" y="219"/>
                </a:cxn>
                <a:cxn ang="0">
                  <a:pos x="70" y="232"/>
                </a:cxn>
                <a:cxn ang="0">
                  <a:pos x="23" y="251"/>
                </a:cxn>
                <a:cxn ang="0">
                  <a:pos x="125" y="273"/>
                </a:cxn>
                <a:cxn ang="0">
                  <a:pos x="228" y="250"/>
                </a:cxn>
                <a:cxn ang="0">
                  <a:pos x="180" y="232"/>
                </a:cxn>
                <a:cxn ang="0">
                  <a:pos x="171" y="219"/>
                </a:cxn>
                <a:cxn ang="0">
                  <a:pos x="184" y="210"/>
                </a:cxn>
                <a:cxn ang="0">
                  <a:pos x="250" y="250"/>
                </a:cxn>
                <a:cxn ang="0">
                  <a:pos x="80" y="182"/>
                </a:cxn>
                <a:cxn ang="0">
                  <a:pos x="91" y="182"/>
                </a:cxn>
                <a:cxn ang="0">
                  <a:pos x="91" y="250"/>
                </a:cxn>
                <a:cxn ang="0">
                  <a:pos x="102" y="262"/>
                </a:cxn>
                <a:cxn ang="0">
                  <a:pos x="148" y="262"/>
                </a:cxn>
                <a:cxn ang="0">
                  <a:pos x="159" y="250"/>
                </a:cxn>
                <a:cxn ang="0">
                  <a:pos x="159" y="182"/>
                </a:cxn>
                <a:cxn ang="0">
                  <a:pos x="171" y="182"/>
                </a:cxn>
                <a:cxn ang="0">
                  <a:pos x="182" y="171"/>
                </a:cxn>
                <a:cxn ang="0">
                  <a:pos x="182" y="102"/>
                </a:cxn>
                <a:cxn ang="0">
                  <a:pos x="157" y="82"/>
                </a:cxn>
                <a:cxn ang="0">
                  <a:pos x="125" y="80"/>
                </a:cxn>
                <a:cxn ang="0">
                  <a:pos x="93" y="82"/>
                </a:cxn>
                <a:cxn ang="0">
                  <a:pos x="68" y="102"/>
                </a:cxn>
                <a:cxn ang="0">
                  <a:pos x="68" y="171"/>
                </a:cxn>
                <a:cxn ang="0">
                  <a:pos x="80" y="182"/>
                </a:cxn>
                <a:cxn ang="0">
                  <a:pos x="125" y="68"/>
                </a:cxn>
                <a:cxn ang="0">
                  <a:pos x="159" y="34"/>
                </a:cxn>
                <a:cxn ang="0">
                  <a:pos x="125" y="0"/>
                </a:cxn>
                <a:cxn ang="0">
                  <a:pos x="91" y="34"/>
                </a:cxn>
                <a:cxn ang="0">
                  <a:pos x="125" y="68"/>
                </a:cxn>
                <a:cxn ang="0">
                  <a:pos x="125" y="68"/>
                </a:cxn>
                <a:cxn ang="0">
                  <a:pos x="125" y="68"/>
                </a:cxn>
              </a:cxnLst>
              <a:rect l="0" t="0" r="r" b="b"/>
              <a:pathLst>
                <a:path w="250" h="296">
                  <a:moveTo>
                    <a:pt x="250" y="250"/>
                  </a:moveTo>
                  <a:cubicBezTo>
                    <a:pt x="250" y="282"/>
                    <a:pt x="185" y="296"/>
                    <a:pt x="125" y="296"/>
                  </a:cubicBezTo>
                  <a:cubicBezTo>
                    <a:pt x="65" y="296"/>
                    <a:pt x="0" y="282"/>
                    <a:pt x="0" y="250"/>
                  </a:cubicBezTo>
                  <a:cubicBezTo>
                    <a:pt x="0" y="226"/>
                    <a:pt x="36" y="215"/>
                    <a:pt x="66" y="210"/>
                  </a:cubicBezTo>
                  <a:cubicBezTo>
                    <a:pt x="72" y="209"/>
                    <a:pt x="78" y="213"/>
                    <a:pt x="79" y="219"/>
                  </a:cubicBezTo>
                  <a:cubicBezTo>
                    <a:pt x="80" y="225"/>
                    <a:pt x="76" y="231"/>
                    <a:pt x="70" y="232"/>
                  </a:cubicBezTo>
                  <a:cubicBezTo>
                    <a:pt x="33" y="239"/>
                    <a:pt x="23" y="249"/>
                    <a:pt x="23" y="251"/>
                  </a:cubicBezTo>
                  <a:cubicBezTo>
                    <a:pt x="24" y="257"/>
                    <a:pt x="58" y="273"/>
                    <a:pt x="125" y="273"/>
                  </a:cubicBezTo>
                  <a:cubicBezTo>
                    <a:pt x="192" y="273"/>
                    <a:pt x="226" y="257"/>
                    <a:pt x="228" y="250"/>
                  </a:cubicBezTo>
                  <a:cubicBezTo>
                    <a:pt x="227" y="249"/>
                    <a:pt x="217" y="238"/>
                    <a:pt x="180" y="232"/>
                  </a:cubicBezTo>
                  <a:cubicBezTo>
                    <a:pt x="174" y="231"/>
                    <a:pt x="170" y="225"/>
                    <a:pt x="171" y="219"/>
                  </a:cubicBezTo>
                  <a:cubicBezTo>
                    <a:pt x="172" y="213"/>
                    <a:pt x="178" y="209"/>
                    <a:pt x="184" y="210"/>
                  </a:cubicBezTo>
                  <a:cubicBezTo>
                    <a:pt x="214" y="215"/>
                    <a:pt x="250" y="226"/>
                    <a:pt x="250" y="250"/>
                  </a:cubicBezTo>
                  <a:close/>
                  <a:moveTo>
                    <a:pt x="80" y="182"/>
                  </a:moveTo>
                  <a:cubicBezTo>
                    <a:pt x="91" y="182"/>
                    <a:pt x="91" y="182"/>
                    <a:pt x="91" y="182"/>
                  </a:cubicBezTo>
                  <a:cubicBezTo>
                    <a:pt x="91" y="250"/>
                    <a:pt x="91" y="250"/>
                    <a:pt x="91" y="250"/>
                  </a:cubicBezTo>
                  <a:cubicBezTo>
                    <a:pt x="91" y="257"/>
                    <a:pt x="96" y="262"/>
                    <a:pt x="102" y="262"/>
                  </a:cubicBezTo>
                  <a:cubicBezTo>
                    <a:pt x="148" y="262"/>
                    <a:pt x="148" y="262"/>
                    <a:pt x="148" y="262"/>
                  </a:cubicBezTo>
                  <a:cubicBezTo>
                    <a:pt x="154" y="262"/>
                    <a:pt x="159" y="257"/>
                    <a:pt x="159" y="250"/>
                  </a:cubicBezTo>
                  <a:cubicBezTo>
                    <a:pt x="159" y="182"/>
                    <a:pt x="159" y="182"/>
                    <a:pt x="159" y="182"/>
                  </a:cubicBezTo>
                  <a:cubicBezTo>
                    <a:pt x="171" y="182"/>
                    <a:pt x="171" y="182"/>
                    <a:pt x="171" y="182"/>
                  </a:cubicBezTo>
                  <a:cubicBezTo>
                    <a:pt x="177" y="182"/>
                    <a:pt x="182" y="177"/>
                    <a:pt x="182" y="171"/>
                  </a:cubicBezTo>
                  <a:cubicBezTo>
                    <a:pt x="182" y="102"/>
                    <a:pt x="182" y="102"/>
                    <a:pt x="182" y="102"/>
                  </a:cubicBezTo>
                  <a:cubicBezTo>
                    <a:pt x="182" y="97"/>
                    <a:pt x="173" y="84"/>
                    <a:pt x="157" y="82"/>
                  </a:cubicBezTo>
                  <a:cubicBezTo>
                    <a:pt x="150" y="81"/>
                    <a:pt x="138" y="80"/>
                    <a:pt x="125" y="80"/>
                  </a:cubicBezTo>
                  <a:cubicBezTo>
                    <a:pt x="112" y="80"/>
                    <a:pt x="100" y="81"/>
                    <a:pt x="93" y="82"/>
                  </a:cubicBezTo>
                  <a:cubicBezTo>
                    <a:pt x="77" y="84"/>
                    <a:pt x="68" y="97"/>
                    <a:pt x="68" y="102"/>
                  </a:cubicBezTo>
                  <a:cubicBezTo>
                    <a:pt x="68" y="171"/>
                    <a:pt x="68" y="171"/>
                    <a:pt x="68" y="171"/>
                  </a:cubicBezTo>
                  <a:cubicBezTo>
                    <a:pt x="68" y="177"/>
                    <a:pt x="73" y="182"/>
                    <a:pt x="80" y="182"/>
                  </a:cubicBezTo>
                  <a:close/>
                  <a:moveTo>
                    <a:pt x="125" y="68"/>
                  </a:moveTo>
                  <a:cubicBezTo>
                    <a:pt x="144" y="68"/>
                    <a:pt x="159" y="53"/>
                    <a:pt x="159" y="34"/>
                  </a:cubicBezTo>
                  <a:cubicBezTo>
                    <a:pt x="159" y="15"/>
                    <a:pt x="144" y="0"/>
                    <a:pt x="125" y="0"/>
                  </a:cubicBezTo>
                  <a:cubicBezTo>
                    <a:pt x="106" y="0"/>
                    <a:pt x="91" y="15"/>
                    <a:pt x="91" y="34"/>
                  </a:cubicBezTo>
                  <a:cubicBezTo>
                    <a:pt x="91" y="53"/>
                    <a:pt x="106" y="68"/>
                    <a:pt x="125" y="68"/>
                  </a:cubicBezTo>
                  <a:close/>
                  <a:moveTo>
                    <a:pt x="125" y="68"/>
                  </a:moveTo>
                  <a:cubicBezTo>
                    <a:pt x="125" y="68"/>
                    <a:pt x="125" y="68"/>
                    <a:pt x="125" y="68"/>
                  </a:cubicBezTo>
                </a:path>
              </a:pathLst>
            </a:custGeom>
            <a:solidFill>
              <a:srgbClr val="002060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sz="3200"/>
            </a:p>
          </p:txBody>
        </p:sp>
      </p:grpSp>
      <p:grpSp>
        <p:nvGrpSpPr>
          <p:cNvPr id="7" name="组合 6"/>
          <p:cNvGrpSpPr/>
          <p:nvPr/>
        </p:nvGrpSpPr>
        <p:grpSpPr>
          <a:xfrm>
            <a:off x="913130" y="1255103"/>
            <a:ext cx="1031875" cy="1113447"/>
            <a:chOff x="3071" y="5223"/>
            <a:chExt cx="1625" cy="1753"/>
          </a:xfrm>
        </p:grpSpPr>
        <p:sp>
          <p:nvSpPr>
            <p:cNvPr id="56" name="Rectangle 55"/>
            <p:cNvSpPr/>
            <p:nvPr/>
          </p:nvSpPr>
          <p:spPr>
            <a:xfrm>
              <a:off x="3071" y="6359"/>
              <a:ext cx="1625" cy="61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zh-CN" altLang="en-US" sz="2400" b="1" dirty="0" smtClean="0">
                  <a:solidFill>
                    <a:schemeClr val="bg1"/>
                  </a:solidFill>
                </a:rPr>
                <a:t>更精准</a:t>
              </a:r>
            </a:p>
          </p:txBody>
        </p:sp>
        <p:sp>
          <p:nvSpPr>
            <p:cNvPr id="37" name="Freeform 137"/>
            <p:cNvSpPr>
              <a:spLocks noEditPoints="1"/>
            </p:cNvSpPr>
            <p:nvPr/>
          </p:nvSpPr>
          <p:spPr bwMode="auto">
            <a:xfrm>
              <a:off x="3373" y="5223"/>
              <a:ext cx="1023" cy="1005"/>
            </a:xfrm>
            <a:custGeom>
              <a:avLst/>
              <a:gdLst/>
              <a:ahLst/>
              <a:cxnLst>
                <a:cxn ang="0">
                  <a:pos x="46" y="30"/>
                </a:cxn>
                <a:cxn ang="0">
                  <a:pos x="39" y="36"/>
                </a:cxn>
                <a:cxn ang="0">
                  <a:pos x="39" y="50"/>
                </a:cxn>
                <a:cxn ang="0">
                  <a:pos x="38" y="50"/>
                </a:cxn>
                <a:cxn ang="0">
                  <a:pos x="24" y="58"/>
                </a:cxn>
                <a:cxn ang="0">
                  <a:pos x="24" y="59"/>
                </a:cxn>
                <a:cxn ang="0">
                  <a:pos x="23" y="58"/>
                </a:cxn>
                <a:cxn ang="0">
                  <a:pos x="21" y="56"/>
                </a:cxn>
                <a:cxn ang="0">
                  <a:pos x="21" y="55"/>
                </a:cxn>
                <a:cxn ang="0">
                  <a:pos x="24" y="45"/>
                </a:cxn>
                <a:cxn ang="0">
                  <a:pos x="14" y="35"/>
                </a:cxn>
                <a:cxn ang="0">
                  <a:pos x="4" y="38"/>
                </a:cxn>
                <a:cxn ang="0">
                  <a:pos x="3" y="38"/>
                </a:cxn>
                <a:cxn ang="0">
                  <a:pos x="3" y="38"/>
                </a:cxn>
                <a:cxn ang="0">
                  <a:pos x="0" y="35"/>
                </a:cxn>
                <a:cxn ang="0">
                  <a:pos x="0" y="34"/>
                </a:cxn>
                <a:cxn ang="0">
                  <a:pos x="8" y="20"/>
                </a:cxn>
                <a:cxn ang="0">
                  <a:pos x="9" y="20"/>
                </a:cxn>
                <a:cxn ang="0">
                  <a:pos x="23" y="19"/>
                </a:cxn>
                <a:cxn ang="0">
                  <a:pos x="29" y="12"/>
                </a:cxn>
                <a:cxn ang="0">
                  <a:pos x="57" y="0"/>
                </a:cxn>
                <a:cxn ang="0">
                  <a:pos x="58" y="1"/>
                </a:cxn>
                <a:cxn ang="0">
                  <a:pos x="46" y="30"/>
                </a:cxn>
                <a:cxn ang="0">
                  <a:pos x="47" y="8"/>
                </a:cxn>
                <a:cxn ang="0">
                  <a:pos x="43" y="12"/>
                </a:cxn>
                <a:cxn ang="0">
                  <a:pos x="47" y="15"/>
                </a:cxn>
                <a:cxn ang="0">
                  <a:pos x="50" y="12"/>
                </a:cxn>
                <a:cxn ang="0">
                  <a:pos x="47" y="8"/>
                </a:cxn>
              </a:cxnLst>
              <a:rect l="0" t="0" r="r" b="b"/>
              <a:pathLst>
                <a:path w="58" h="59">
                  <a:moveTo>
                    <a:pt x="46" y="30"/>
                  </a:moveTo>
                  <a:cubicBezTo>
                    <a:pt x="44" y="32"/>
                    <a:pt x="42" y="34"/>
                    <a:pt x="39" y="36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39" y="50"/>
                    <a:pt x="38" y="50"/>
                  </a:cubicBezTo>
                  <a:cubicBezTo>
                    <a:pt x="24" y="58"/>
                    <a:pt x="24" y="58"/>
                    <a:pt x="24" y="58"/>
                  </a:cubicBezTo>
                  <a:cubicBezTo>
                    <a:pt x="24" y="59"/>
                    <a:pt x="24" y="59"/>
                    <a:pt x="24" y="59"/>
                  </a:cubicBezTo>
                  <a:cubicBezTo>
                    <a:pt x="24" y="59"/>
                    <a:pt x="23" y="58"/>
                    <a:pt x="23" y="58"/>
                  </a:cubicBezTo>
                  <a:cubicBezTo>
                    <a:pt x="21" y="56"/>
                    <a:pt x="21" y="56"/>
                    <a:pt x="21" y="56"/>
                  </a:cubicBezTo>
                  <a:cubicBezTo>
                    <a:pt x="21" y="56"/>
                    <a:pt x="20" y="55"/>
                    <a:pt x="21" y="55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4" y="38"/>
                    <a:pt x="4" y="38"/>
                    <a:pt x="4" y="38"/>
                  </a:cubicBezTo>
                  <a:cubicBezTo>
                    <a:pt x="4" y="38"/>
                    <a:pt x="3" y="38"/>
                    <a:pt x="3" y="38"/>
                  </a:cubicBezTo>
                  <a:cubicBezTo>
                    <a:pt x="3" y="38"/>
                    <a:pt x="3" y="38"/>
                    <a:pt x="3" y="3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5"/>
                    <a:pt x="0" y="34"/>
                    <a:pt x="0" y="34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8" y="20"/>
                    <a:pt x="9" y="20"/>
                    <a:pt x="9" y="20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5" y="17"/>
                    <a:pt x="27" y="14"/>
                    <a:pt x="29" y="12"/>
                  </a:cubicBezTo>
                  <a:cubicBezTo>
                    <a:pt x="38" y="3"/>
                    <a:pt x="45" y="0"/>
                    <a:pt x="57" y="0"/>
                  </a:cubicBezTo>
                  <a:cubicBezTo>
                    <a:pt x="58" y="0"/>
                    <a:pt x="58" y="1"/>
                    <a:pt x="58" y="1"/>
                  </a:cubicBezTo>
                  <a:cubicBezTo>
                    <a:pt x="58" y="13"/>
                    <a:pt x="55" y="21"/>
                    <a:pt x="46" y="30"/>
                  </a:cubicBezTo>
                  <a:close/>
                  <a:moveTo>
                    <a:pt x="47" y="8"/>
                  </a:moveTo>
                  <a:cubicBezTo>
                    <a:pt x="45" y="8"/>
                    <a:pt x="43" y="10"/>
                    <a:pt x="43" y="12"/>
                  </a:cubicBezTo>
                  <a:cubicBezTo>
                    <a:pt x="43" y="14"/>
                    <a:pt x="45" y="15"/>
                    <a:pt x="47" y="15"/>
                  </a:cubicBezTo>
                  <a:cubicBezTo>
                    <a:pt x="49" y="15"/>
                    <a:pt x="50" y="14"/>
                    <a:pt x="50" y="12"/>
                  </a:cubicBezTo>
                  <a:cubicBezTo>
                    <a:pt x="50" y="10"/>
                    <a:pt x="49" y="8"/>
                    <a:pt x="47" y="8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sz="3200"/>
            </a:p>
          </p:txBody>
        </p:sp>
      </p:grpSp>
      <p:grpSp>
        <p:nvGrpSpPr>
          <p:cNvPr id="13" name="组合 12"/>
          <p:cNvGrpSpPr/>
          <p:nvPr/>
        </p:nvGrpSpPr>
        <p:grpSpPr>
          <a:xfrm>
            <a:off x="3206115" y="2887345"/>
            <a:ext cx="5553075" cy="1262380"/>
            <a:chOff x="4934" y="3288"/>
            <a:chExt cx="8745" cy="1988"/>
          </a:xfrm>
        </p:grpSpPr>
        <p:sp>
          <p:nvSpPr>
            <p:cNvPr id="11" name="文本框 10"/>
            <p:cNvSpPr txBox="1"/>
            <p:nvPr/>
          </p:nvSpPr>
          <p:spPr>
            <a:xfrm>
              <a:off x="4934" y="3288"/>
              <a:ext cx="2528" cy="86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zh-CN" sz="2800" b="1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精准触达</a:t>
              </a:r>
            </a:p>
          </p:txBody>
        </p:sp>
        <p:sp>
          <p:nvSpPr>
            <p:cNvPr id="12" name="文本框 11"/>
            <p:cNvSpPr txBox="1"/>
            <p:nvPr/>
          </p:nvSpPr>
          <p:spPr>
            <a:xfrm>
              <a:off x="4934" y="4212"/>
              <a:ext cx="8745" cy="10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 fontAlgn="auto"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zh-CN" sz="140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ea"/>
                </a:rPr>
                <a:t>排除非活跃客户，保证营销对象更精准</a:t>
              </a:r>
            </a:p>
            <a:p>
              <a:pPr marL="285750" indent="-285750" fontAlgn="auto"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zh-CN" sz="140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ea"/>
                </a:rPr>
                <a:t>核准全行客户联系方式的正确性，保证营销活动的有效触达</a:t>
              </a:r>
              <a:endParaRPr lang="zh-CN" sz="140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8" name="组合 17"/>
          <p:cNvGrpSpPr/>
          <p:nvPr/>
        </p:nvGrpSpPr>
        <p:grpSpPr>
          <a:xfrm>
            <a:off x="3163570" y="1234440"/>
            <a:ext cx="5241925" cy="1116330"/>
            <a:chOff x="4934" y="1127"/>
            <a:chExt cx="8255" cy="1758"/>
          </a:xfrm>
        </p:grpSpPr>
        <p:sp>
          <p:nvSpPr>
            <p:cNvPr id="19" name="文本框 18"/>
            <p:cNvSpPr txBox="1"/>
            <p:nvPr/>
          </p:nvSpPr>
          <p:spPr>
            <a:xfrm>
              <a:off x="4934" y="1127"/>
              <a:ext cx="2528" cy="86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zh-CN" sz="2800" b="1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精准分析</a:t>
              </a:r>
            </a:p>
          </p:txBody>
        </p:sp>
        <p:sp>
          <p:nvSpPr>
            <p:cNvPr id="20" name="文本框 19"/>
            <p:cNvSpPr txBox="1"/>
            <p:nvPr/>
          </p:nvSpPr>
          <p:spPr>
            <a:xfrm>
              <a:off x="4934" y="2046"/>
              <a:ext cx="8255" cy="8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 algn="l" fontAlgn="auto"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zh-CN" sz="140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ea"/>
                </a:rPr>
                <a:t>客户底层数据清洗，保证每条客户信息的准确性，实现分析结果不失真</a:t>
              </a:r>
              <a:endParaRPr lang="zh-CN" sz="140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</p:spTree>
  </p:cSld>
  <p:clrMapOvr>
    <a:masterClrMapping/>
  </p:clrMapOvr>
  <p:transition advTm="3000"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组合 14"/>
          <p:cNvGrpSpPr/>
          <p:nvPr/>
        </p:nvGrpSpPr>
        <p:grpSpPr>
          <a:xfrm>
            <a:off x="3308350" y="3679190"/>
            <a:ext cx="5656580" cy="1232535"/>
            <a:chOff x="4934" y="5794"/>
            <a:chExt cx="8908" cy="1941"/>
          </a:xfrm>
        </p:grpSpPr>
        <p:sp>
          <p:nvSpPr>
            <p:cNvPr id="17" name="文本框 16"/>
            <p:cNvSpPr txBox="1"/>
            <p:nvPr/>
          </p:nvSpPr>
          <p:spPr>
            <a:xfrm>
              <a:off x="4934" y="6656"/>
              <a:ext cx="8908" cy="107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 algn="l" fontAlgn="auto"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zh-CN" sz="140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ea"/>
                </a:rPr>
                <a:t>自动生成图表，使分析结果一目了然</a:t>
              </a:r>
            </a:p>
            <a:p>
              <a:pPr marL="285750" indent="-285750" algn="l" fontAlgn="auto"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zh-CN" sz="140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ea"/>
                </a:rPr>
                <a:t>支持图表及数据导出，方便日常汇报交流</a:t>
              </a:r>
            </a:p>
          </p:txBody>
        </p:sp>
        <p:sp>
          <p:nvSpPr>
            <p:cNvPr id="16" name="文本框 15"/>
            <p:cNvSpPr txBox="1"/>
            <p:nvPr/>
          </p:nvSpPr>
          <p:spPr>
            <a:xfrm>
              <a:off x="4934" y="5794"/>
              <a:ext cx="2528" cy="86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zh-CN" sz="2800" b="1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图表显示</a:t>
              </a: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>
                <a:sym typeface="+mn-ea"/>
              </a:rPr>
              <a:t>客户画像自助式分析工具亮点</a:t>
            </a:r>
            <a:r>
              <a:rPr lang="en-US" altLang="zh-CN">
                <a:sym typeface="+mn-ea"/>
              </a:rPr>
              <a:t>3——</a:t>
            </a:r>
            <a:r>
              <a:rPr lang="zh-CN" altLang="en-US">
                <a:sym typeface="+mn-ea"/>
              </a:rPr>
              <a:t>用户使用更便捷</a:t>
            </a:r>
            <a:endParaRPr lang="zh-CN" altLang="en-US" dirty="0">
              <a:sym typeface="+mn-ea"/>
            </a:endParaRPr>
          </a:p>
        </p:txBody>
      </p:sp>
      <p:grpSp>
        <p:nvGrpSpPr>
          <p:cNvPr id="10" name="组合 9"/>
          <p:cNvGrpSpPr/>
          <p:nvPr/>
        </p:nvGrpSpPr>
        <p:grpSpPr>
          <a:xfrm>
            <a:off x="522295" y="903605"/>
            <a:ext cx="1814180" cy="3536059"/>
            <a:chOff x="6027" y="1815"/>
            <a:chExt cx="2346" cy="4570"/>
          </a:xfrm>
        </p:grpSpPr>
        <p:sp>
          <p:nvSpPr>
            <p:cNvPr id="80" name="Teardrop 79"/>
            <p:cNvSpPr>
              <a:spLocks noChangeAspect="1"/>
            </p:cNvSpPr>
            <p:nvPr/>
          </p:nvSpPr>
          <p:spPr>
            <a:xfrm rot="8068996">
              <a:off x="6027" y="1815"/>
              <a:ext cx="2346" cy="2346"/>
            </a:xfrm>
            <a:prstGeom prst="teardrop">
              <a:avLst/>
            </a:prstGeom>
            <a:solidFill>
              <a:schemeClr val="accent3"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Overflow="overflow" horzOverflow="overflow" vert="horz" wrap="square" numCol="1" spcCol="0" rtlCol="0" fromWordArt="0" anchor="ctr" anchorCtr="0" forceAA="0" compatLnSpc="1">
              <a:noAutofit/>
            </a:bodyPr>
            <a:lstStyle/>
            <a:p>
              <a:pPr lvl="0" algn="ctr"/>
              <a:endParaRPr lang="en-US" sz="2400" b="1" dirty="0">
                <a:solidFill>
                  <a:schemeClr val="bg1"/>
                </a:solidFill>
                <a:latin typeface="+mj-lt"/>
                <a:sym typeface="+mn-ea"/>
              </a:endParaRPr>
            </a:p>
          </p:txBody>
        </p:sp>
        <p:sp>
          <p:nvSpPr>
            <p:cNvPr id="93" name="Freeform 5"/>
            <p:cNvSpPr>
              <a:spLocks noEditPoints="1"/>
            </p:cNvSpPr>
            <p:nvPr/>
          </p:nvSpPr>
          <p:spPr bwMode="auto">
            <a:xfrm>
              <a:off x="6409" y="4701"/>
              <a:ext cx="1582" cy="1684"/>
            </a:xfrm>
            <a:custGeom>
              <a:avLst/>
              <a:gdLst/>
              <a:ahLst/>
              <a:cxnLst>
                <a:cxn ang="0">
                  <a:pos x="250" y="250"/>
                </a:cxn>
                <a:cxn ang="0">
                  <a:pos x="125" y="296"/>
                </a:cxn>
                <a:cxn ang="0">
                  <a:pos x="0" y="250"/>
                </a:cxn>
                <a:cxn ang="0">
                  <a:pos x="66" y="210"/>
                </a:cxn>
                <a:cxn ang="0">
                  <a:pos x="79" y="219"/>
                </a:cxn>
                <a:cxn ang="0">
                  <a:pos x="70" y="232"/>
                </a:cxn>
                <a:cxn ang="0">
                  <a:pos x="23" y="251"/>
                </a:cxn>
                <a:cxn ang="0">
                  <a:pos x="125" y="273"/>
                </a:cxn>
                <a:cxn ang="0">
                  <a:pos x="228" y="250"/>
                </a:cxn>
                <a:cxn ang="0">
                  <a:pos x="180" y="232"/>
                </a:cxn>
                <a:cxn ang="0">
                  <a:pos x="171" y="219"/>
                </a:cxn>
                <a:cxn ang="0">
                  <a:pos x="184" y="210"/>
                </a:cxn>
                <a:cxn ang="0">
                  <a:pos x="250" y="250"/>
                </a:cxn>
                <a:cxn ang="0">
                  <a:pos x="80" y="182"/>
                </a:cxn>
                <a:cxn ang="0">
                  <a:pos x="91" y="182"/>
                </a:cxn>
                <a:cxn ang="0">
                  <a:pos x="91" y="250"/>
                </a:cxn>
                <a:cxn ang="0">
                  <a:pos x="102" y="262"/>
                </a:cxn>
                <a:cxn ang="0">
                  <a:pos x="148" y="262"/>
                </a:cxn>
                <a:cxn ang="0">
                  <a:pos x="159" y="250"/>
                </a:cxn>
                <a:cxn ang="0">
                  <a:pos x="159" y="182"/>
                </a:cxn>
                <a:cxn ang="0">
                  <a:pos x="171" y="182"/>
                </a:cxn>
                <a:cxn ang="0">
                  <a:pos x="182" y="171"/>
                </a:cxn>
                <a:cxn ang="0">
                  <a:pos x="182" y="102"/>
                </a:cxn>
                <a:cxn ang="0">
                  <a:pos x="157" y="82"/>
                </a:cxn>
                <a:cxn ang="0">
                  <a:pos x="125" y="80"/>
                </a:cxn>
                <a:cxn ang="0">
                  <a:pos x="93" y="82"/>
                </a:cxn>
                <a:cxn ang="0">
                  <a:pos x="68" y="102"/>
                </a:cxn>
                <a:cxn ang="0">
                  <a:pos x="68" y="171"/>
                </a:cxn>
                <a:cxn ang="0">
                  <a:pos x="80" y="182"/>
                </a:cxn>
                <a:cxn ang="0">
                  <a:pos x="125" y="68"/>
                </a:cxn>
                <a:cxn ang="0">
                  <a:pos x="159" y="34"/>
                </a:cxn>
                <a:cxn ang="0">
                  <a:pos x="125" y="0"/>
                </a:cxn>
                <a:cxn ang="0">
                  <a:pos x="91" y="34"/>
                </a:cxn>
                <a:cxn ang="0">
                  <a:pos x="125" y="68"/>
                </a:cxn>
                <a:cxn ang="0">
                  <a:pos x="125" y="68"/>
                </a:cxn>
                <a:cxn ang="0">
                  <a:pos x="125" y="68"/>
                </a:cxn>
              </a:cxnLst>
              <a:rect l="0" t="0" r="r" b="b"/>
              <a:pathLst>
                <a:path w="250" h="296">
                  <a:moveTo>
                    <a:pt x="250" y="250"/>
                  </a:moveTo>
                  <a:cubicBezTo>
                    <a:pt x="250" y="282"/>
                    <a:pt x="185" y="296"/>
                    <a:pt x="125" y="296"/>
                  </a:cubicBezTo>
                  <a:cubicBezTo>
                    <a:pt x="65" y="296"/>
                    <a:pt x="0" y="282"/>
                    <a:pt x="0" y="250"/>
                  </a:cubicBezTo>
                  <a:cubicBezTo>
                    <a:pt x="0" y="226"/>
                    <a:pt x="36" y="215"/>
                    <a:pt x="66" y="210"/>
                  </a:cubicBezTo>
                  <a:cubicBezTo>
                    <a:pt x="72" y="209"/>
                    <a:pt x="78" y="213"/>
                    <a:pt x="79" y="219"/>
                  </a:cubicBezTo>
                  <a:cubicBezTo>
                    <a:pt x="80" y="225"/>
                    <a:pt x="76" y="231"/>
                    <a:pt x="70" y="232"/>
                  </a:cubicBezTo>
                  <a:cubicBezTo>
                    <a:pt x="33" y="239"/>
                    <a:pt x="23" y="249"/>
                    <a:pt x="23" y="251"/>
                  </a:cubicBezTo>
                  <a:cubicBezTo>
                    <a:pt x="24" y="257"/>
                    <a:pt x="58" y="273"/>
                    <a:pt x="125" y="273"/>
                  </a:cubicBezTo>
                  <a:cubicBezTo>
                    <a:pt x="192" y="273"/>
                    <a:pt x="226" y="257"/>
                    <a:pt x="228" y="250"/>
                  </a:cubicBezTo>
                  <a:cubicBezTo>
                    <a:pt x="227" y="249"/>
                    <a:pt x="217" y="238"/>
                    <a:pt x="180" y="232"/>
                  </a:cubicBezTo>
                  <a:cubicBezTo>
                    <a:pt x="174" y="231"/>
                    <a:pt x="170" y="225"/>
                    <a:pt x="171" y="219"/>
                  </a:cubicBezTo>
                  <a:cubicBezTo>
                    <a:pt x="172" y="213"/>
                    <a:pt x="178" y="209"/>
                    <a:pt x="184" y="210"/>
                  </a:cubicBezTo>
                  <a:cubicBezTo>
                    <a:pt x="214" y="215"/>
                    <a:pt x="250" y="226"/>
                    <a:pt x="250" y="250"/>
                  </a:cubicBezTo>
                  <a:close/>
                  <a:moveTo>
                    <a:pt x="80" y="182"/>
                  </a:moveTo>
                  <a:cubicBezTo>
                    <a:pt x="91" y="182"/>
                    <a:pt x="91" y="182"/>
                    <a:pt x="91" y="182"/>
                  </a:cubicBezTo>
                  <a:cubicBezTo>
                    <a:pt x="91" y="250"/>
                    <a:pt x="91" y="250"/>
                    <a:pt x="91" y="250"/>
                  </a:cubicBezTo>
                  <a:cubicBezTo>
                    <a:pt x="91" y="257"/>
                    <a:pt x="96" y="262"/>
                    <a:pt x="102" y="262"/>
                  </a:cubicBezTo>
                  <a:cubicBezTo>
                    <a:pt x="148" y="262"/>
                    <a:pt x="148" y="262"/>
                    <a:pt x="148" y="262"/>
                  </a:cubicBezTo>
                  <a:cubicBezTo>
                    <a:pt x="154" y="262"/>
                    <a:pt x="159" y="257"/>
                    <a:pt x="159" y="250"/>
                  </a:cubicBezTo>
                  <a:cubicBezTo>
                    <a:pt x="159" y="182"/>
                    <a:pt x="159" y="182"/>
                    <a:pt x="159" y="182"/>
                  </a:cubicBezTo>
                  <a:cubicBezTo>
                    <a:pt x="171" y="182"/>
                    <a:pt x="171" y="182"/>
                    <a:pt x="171" y="182"/>
                  </a:cubicBezTo>
                  <a:cubicBezTo>
                    <a:pt x="177" y="182"/>
                    <a:pt x="182" y="177"/>
                    <a:pt x="182" y="171"/>
                  </a:cubicBezTo>
                  <a:cubicBezTo>
                    <a:pt x="182" y="102"/>
                    <a:pt x="182" y="102"/>
                    <a:pt x="182" y="102"/>
                  </a:cubicBezTo>
                  <a:cubicBezTo>
                    <a:pt x="182" y="97"/>
                    <a:pt x="173" y="84"/>
                    <a:pt x="157" y="82"/>
                  </a:cubicBezTo>
                  <a:cubicBezTo>
                    <a:pt x="150" y="81"/>
                    <a:pt x="138" y="80"/>
                    <a:pt x="125" y="80"/>
                  </a:cubicBezTo>
                  <a:cubicBezTo>
                    <a:pt x="112" y="80"/>
                    <a:pt x="100" y="81"/>
                    <a:pt x="93" y="82"/>
                  </a:cubicBezTo>
                  <a:cubicBezTo>
                    <a:pt x="77" y="84"/>
                    <a:pt x="68" y="97"/>
                    <a:pt x="68" y="102"/>
                  </a:cubicBezTo>
                  <a:cubicBezTo>
                    <a:pt x="68" y="171"/>
                    <a:pt x="68" y="171"/>
                    <a:pt x="68" y="171"/>
                  </a:cubicBezTo>
                  <a:cubicBezTo>
                    <a:pt x="68" y="177"/>
                    <a:pt x="73" y="182"/>
                    <a:pt x="80" y="182"/>
                  </a:cubicBezTo>
                  <a:close/>
                  <a:moveTo>
                    <a:pt x="125" y="68"/>
                  </a:moveTo>
                  <a:cubicBezTo>
                    <a:pt x="144" y="68"/>
                    <a:pt x="159" y="53"/>
                    <a:pt x="159" y="34"/>
                  </a:cubicBezTo>
                  <a:cubicBezTo>
                    <a:pt x="159" y="15"/>
                    <a:pt x="144" y="0"/>
                    <a:pt x="125" y="0"/>
                  </a:cubicBezTo>
                  <a:cubicBezTo>
                    <a:pt x="106" y="0"/>
                    <a:pt x="91" y="15"/>
                    <a:pt x="91" y="34"/>
                  </a:cubicBezTo>
                  <a:cubicBezTo>
                    <a:pt x="91" y="53"/>
                    <a:pt x="106" y="68"/>
                    <a:pt x="125" y="68"/>
                  </a:cubicBezTo>
                  <a:close/>
                  <a:moveTo>
                    <a:pt x="125" y="68"/>
                  </a:moveTo>
                  <a:cubicBezTo>
                    <a:pt x="125" y="68"/>
                    <a:pt x="125" y="68"/>
                    <a:pt x="125" y="68"/>
                  </a:cubicBezTo>
                </a:path>
              </a:pathLst>
            </a:cu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lvl="0" algn="ctr"/>
              <a:endParaRPr lang="en-US" sz="2400" b="1" dirty="0">
                <a:solidFill>
                  <a:schemeClr val="bg1"/>
                </a:solidFill>
                <a:latin typeface="+mj-lt"/>
                <a:sym typeface="+mn-ea"/>
              </a:endParaRPr>
            </a:p>
          </p:txBody>
        </p:sp>
      </p:grpSp>
      <p:grpSp>
        <p:nvGrpSpPr>
          <p:cNvPr id="8" name="组合 7"/>
          <p:cNvGrpSpPr/>
          <p:nvPr/>
        </p:nvGrpSpPr>
        <p:grpSpPr>
          <a:xfrm>
            <a:off x="916940" y="1135097"/>
            <a:ext cx="985960" cy="1257304"/>
            <a:chOff x="9177" y="5000"/>
            <a:chExt cx="1553" cy="1980"/>
          </a:xfrm>
        </p:grpSpPr>
        <p:sp>
          <p:nvSpPr>
            <p:cNvPr id="4" name="Rectangle 30"/>
            <p:cNvSpPr/>
            <p:nvPr/>
          </p:nvSpPr>
          <p:spPr>
            <a:xfrm>
              <a:off x="9177" y="6363"/>
              <a:ext cx="1553" cy="61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zh-CN" altLang="en-US" sz="2400" b="1" dirty="0" smtClean="0">
                  <a:solidFill>
                    <a:schemeClr val="bg1"/>
                  </a:solidFill>
                </a:rPr>
                <a:t>更便捷</a:t>
              </a:r>
            </a:p>
          </p:txBody>
        </p:sp>
        <p:sp>
          <p:nvSpPr>
            <p:cNvPr id="6" name="Freeform 45"/>
            <p:cNvSpPr>
              <a:spLocks noEditPoints="1"/>
            </p:cNvSpPr>
            <p:nvPr/>
          </p:nvSpPr>
          <p:spPr bwMode="auto">
            <a:xfrm>
              <a:off x="9446" y="5000"/>
              <a:ext cx="980" cy="980"/>
            </a:xfrm>
            <a:custGeom>
              <a:avLst/>
              <a:gdLst/>
              <a:ahLst/>
              <a:cxnLst>
                <a:cxn ang="0">
                  <a:pos x="27" y="55"/>
                </a:cxn>
                <a:cxn ang="0">
                  <a:pos x="0" y="27"/>
                </a:cxn>
                <a:cxn ang="0">
                  <a:pos x="27" y="0"/>
                </a:cxn>
                <a:cxn ang="0">
                  <a:pos x="55" y="27"/>
                </a:cxn>
                <a:cxn ang="0">
                  <a:pos x="27" y="55"/>
                </a:cxn>
                <a:cxn ang="0">
                  <a:pos x="45" y="20"/>
                </a:cxn>
                <a:cxn ang="0">
                  <a:pos x="42" y="17"/>
                </a:cxn>
                <a:cxn ang="0">
                  <a:pos x="40" y="16"/>
                </a:cxn>
                <a:cxn ang="0">
                  <a:pos x="38" y="17"/>
                </a:cxn>
                <a:cxn ang="0">
                  <a:pos x="24" y="31"/>
                </a:cxn>
                <a:cxn ang="0">
                  <a:pos x="16" y="23"/>
                </a:cxn>
                <a:cxn ang="0">
                  <a:pos x="14" y="22"/>
                </a:cxn>
                <a:cxn ang="0">
                  <a:pos x="13" y="23"/>
                </a:cxn>
                <a:cxn ang="0">
                  <a:pos x="9" y="26"/>
                </a:cxn>
                <a:cxn ang="0">
                  <a:pos x="9" y="28"/>
                </a:cxn>
                <a:cxn ang="0">
                  <a:pos x="9" y="30"/>
                </a:cxn>
                <a:cxn ang="0">
                  <a:pos x="22" y="43"/>
                </a:cxn>
                <a:cxn ang="0">
                  <a:pos x="24" y="43"/>
                </a:cxn>
                <a:cxn ang="0">
                  <a:pos x="26" y="43"/>
                </a:cxn>
                <a:cxn ang="0">
                  <a:pos x="45" y="23"/>
                </a:cxn>
                <a:cxn ang="0">
                  <a:pos x="46" y="22"/>
                </a:cxn>
                <a:cxn ang="0">
                  <a:pos x="45" y="20"/>
                </a:cxn>
              </a:cxnLst>
              <a:rect l="0" t="0" r="r" b="b"/>
              <a:pathLst>
                <a:path w="55" h="55">
                  <a:moveTo>
                    <a:pt x="27" y="55"/>
                  </a:moveTo>
                  <a:cubicBezTo>
                    <a:pt x="12" y="55"/>
                    <a:pt x="0" y="42"/>
                    <a:pt x="0" y="27"/>
                  </a:cubicBezTo>
                  <a:cubicBezTo>
                    <a:pt x="0" y="12"/>
                    <a:pt x="12" y="0"/>
                    <a:pt x="27" y="0"/>
                  </a:cubicBezTo>
                  <a:cubicBezTo>
                    <a:pt x="42" y="0"/>
                    <a:pt x="55" y="12"/>
                    <a:pt x="55" y="27"/>
                  </a:cubicBezTo>
                  <a:cubicBezTo>
                    <a:pt x="55" y="42"/>
                    <a:pt x="42" y="55"/>
                    <a:pt x="27" y="55"/>
                  </a:cubicBezTo>
                  <a:close/>
                  <a:moveTo>
                    <a:pt x="45" y="20"/>
                  </a:moveTo>
                  <a:cubicBezTo>
                    <a:pt x="42" y="17"/>
                    <a:pt x="42" y="17"/>
                    <a:pt x="42" y="17"/>
                  </a:cubicBezTo>
                  <a:cubicBezTo>
                    <a:pt x="41" y="16"/>
                    <a:pt x="41" y="16"/>
                    <a:pt x="40" y="16"/>
                  </a:cubicBezTo>
                  <a:cubicBezTo>
                    <a:pt x="39" y="16"/>
                    <a:pt x="39" y="16"/>
                    <a:pt x="38" y="17"/>
                  </a:cubicBezTo>
                  <a:cubicBezTo>
                    <a:pt x="24" y="31"/>
                    <a:pt x="24" y="31"/>
                    <a:pt x="24" y="31"/>
                  </a:cubicBezTo>
                  <a:cubicBezTo>
                    <a:pt x="16" y="23"/>
                    <a:pt x="16" y="23"/>
                    <a:pt x="16" y="23"/>
                  </a:cubicBezTo>
                  <a:cubicBezTo>
                    <a:pt x="15" y="23"/>
                    <a:pt x="15" y="22"/>
                    <a:pt x="14" y="22"/>
                  </a:cubicBezTo>
                  <a:cubicBezTo>
                    <a:pt x="14" y="22"/>
                    <a:pt x="13" y="23"/>
                    <a:pt x="13" y="23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7"/>
                    <a:pt x="9" y="27"/>
                    <a:pt x="9" y="28"/>
                  </a:cubicBezTo>
                  <a:cubicBezTo>
                    <a:pt x="9" y="29"/>
                    <a:pt x="9" y="29"/>
                    <a:pt x="9" y="30"/>
                  </a:cubicBezTo>
                  <a:cubicBezTo>
                    <a:pt x="22" y="43"/>
                    <a:pt x="22" y="43"/>
                    <a:pt x="22" y="43"/>
                  </a:cubicBezTo>
                  <a:cubicBezTo>
                    <a:pt x="23" y="43"/>
                    <a:pt x="23" y="43"/>
                    <a:pt x="24" y="43"/>
                  </a:cubicBezTo>
                  <a:cubicBezTo>
                    <a:pt x="25" y="43"/>
                    <a:pt x="25" y="43"/>
                    <a:pt x="26" y="43"/>
                  </a:cubicBezTo>
                  <a:cubicBezTo>
                    <a:pt x="45" y="23"/>
                    <a:pt x="45" y="23"/>
                    <a:pt x="45" y="23"/>
                  </a:cubicBezTo>
                  <a:cubicBezTo>
                    <a:pt x="45" y="23"/>
                    <a:pt x="46" y="22"/>
                    <a:pt x="46" y="22"/>
                  </a:cubicBezTo>
                  <a:cubicBezTo>
                    <a:pt x="46" y="21"/>
                    <a:pt x="45" y="20"/>
                    <a:pt x="45" y="2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sz="3200"/>
            </a:p>
          </p:txBody>
        </p:sp>
      </p:grpSp>
      <p:grpSp>
        <p:nvGrpSpPr>
          <p:cNvPr id="13" name="组合 12"/>
          <p:cNvGrpSpPr/>
          <p:nvPr/>
        </p:nvGrpSpPr>
        <p:grpSpPr>
          <a:xfrm>
            <a:off x="3308350" y="2413000"/>
            <a:ext cx="5553075" cy="875665"/>
            <a:chOff x="4934" y="3288"/>
            <a:chExt cx="8745" cy="1379"/>
          </a:xfrm>
        </p:grpSpPr>
        <p:sp>
          <p:nvSpPr>
            <p:cNvPr id="12" name="文本框 11"/>
            <p:cNvSpPr txBox="1"/>
            <p:nvPr/>
          </p:nvSpPr>
          <p:spPr>
            <a:xfrm>
              <a:off x="4934" y="3288"/>
              <a:ext cx="4768" cy="86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sz="2800" b="1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人性化的交互界面</a:t>
              </a:r>
            </a:p>
          </p:txBody>
        </p:sp>
        <p:sp>
          <p:nvSpPr>
            <p:cNvPr id="14" name="文本框 13"/>
            <p:cNvSpPr txBox="1"/>
            <p:nvPr/>
          </p:nvSpPr>
          <p:spPr>
            <a:xfrm>
              <a:off x="4934" y="4164"/>
              <a:ext cx="8745" cy="50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 fontAlgn="auto"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zh-CN" sz="140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通过标签勾选方式，降低数据分析门槛，高度定制化的界面设计</a:t>
              </a:r>
            </a:p>
          </p:txBody>
        </p:sp>
      </p:grpSp>
      <p:grpSp>
        <p:nvGrpSpPr>
          <p:cNvPr id="18" name="组合 17"/>
          <p:cNvGrpSpPr/>
          <p:nvPr/>
        </p:nvGrpSpPr>
        <p:grpSpPr>
          <a:xfrm>
            <a:off x="3308350" y="936625"/>
            <a:ext cx="3846830" cy="1215390"/>
            <a:chOff x="4934" y="1127"/>
            <a:chExt cx="6058" cy="1914"/>
          </a:xfrm>
        </p:grpSpPr>
        <p:sp>
          <p:nvSpPr>
            <p:cNvPr id="19" name="文本框 18"/>
            <p:cNvSpPr txBox="1"/>
            <p:nvPr/>
          </p:nvSpPr>
          <p:spPr>
            <a:xfrm>
              <a:off x="4934" y="1127"/>
              <a:ext cx="2528" cy="86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zh-CN" sz="2800" b="1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实时查询</a:t>
              </a:r>
            </a:p>
          </p:txBody>
        </p:sp>
        <p:sp>
          <p:nvSpPr>
            <p:cNvPr id="20" name="文本框 19"/>
            <p:cNvSpPr txBox="1"/>
            <p:nvPr/>
          </p:nvSpPr>
          <p:spPr>
            <a:xfrm>
              <a:off x="4934" y="1962"/>
              <a:ext cx="6058" cy="107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285750" indent="-285750" fontAlgn="auto"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zh-CN" sz="140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省去日常提数分析流程，实现实时数据展示</a:t>
              </a:r>
            </a:p>
            <a:p>
              <a:pPr marL="285750" indent="-285750" fontAlgn="auto"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zh-CN" sz="140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有利于培养业务部门的</a:t>
              </a:r>
              <a:r>
                <a:rPr lang="en-US" altLang="zh-CN" sz="140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“</a:t>
              </a:r>
              <a:r>
                <a:rPr lang="zh-CN" sz="140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数据化思维</a:t>
              </a:r>
              <a:r>
                <a:rPr lang="en-US" altLang="zh-CN" sz="140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”</a:t>
              </a:r>
            </a:p>
          </p:txBody>
        </p:sp>
      </p:grp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 advTm="3000"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业务需求驱动与数据治理基础建设相结合：客户画像自助式分析工具产品开发全流程</a:t>
            </a:r>
          </a:p>
        </p:txBody>
      </p:sp>
      <p:pic>
        <p:nvPicPr>
          <p:cNvPr id="17" name="图片 16" descr="3D047F5C-92ED-4EB6-B456-19AC8FCB6F6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5305" y="1034415"/>
            <a:ext cx="7911465" cy="361378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02444" y="193042"/>
            <a:ext cx="8137922" cy="771659"/>
          </a:xfrm>
        </p:spPr>
        <p:txBody>
          <a:bodyPr/>
          <a:lstStyle/>
          <a:p>
            <a:r>
              <a:rPr lang="zh-CN" altLang="en-US">
                <a:sym typeface="+mn-ea"/>
              </a:rPr>
              <a:t>客户画像数据从何而来？</a:t>
            </a:r>
            <a:r>
              <a:rPr lang="en-US" altLang="zh-CN">
                <a:sym typeface="+mn-ea"/>
              </a:rPr>
              <a:t>——1.</a:t>
            </a:r>
            <a:r>
              <a:rPr lang="zh-CN" altLang="en-US">
                <a:sym typeface="+mn-ea"/>
              </a:rPr>
              <a:t>建立数据治理体系，确保数据准确性和高可用性</a:t>
            </a:r>
            <a:r>
              <a:rPr lang="zh-CN" altLang="en-US"/>
              <a:t/>
            </a:r>
            <a:br>
              <a:rPr lang="zh-CN" altLang="en-US"/>
            </a:br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15</a:t>
            </a:fld>
            <a:endParaRPr lang="zh-CN" altLang="en-US"/>
          </a:p>
        </p:txBody>
      </p:sp>
      <p:pic>
        <p:nvPicPr>
          <p:cNvPr id="6" name="内容占位符 5"/>
          <p:cNvPicPr>
            <a:picLocks noGrp="1" noChangeAspect="1"/>
          </p:cNvPicPr>
          <p:nvPr>
            <p:ph sz="quarter" idx="13"/>
          </p:nvPr>
        </p:nvPicPr>
        <p:blipFill>
          <a:blip r:embed="rId2"/>
          <a:stretch>
            <a:fillRect/>
          </a:stretch>
        </p:blipFill>
        <p:spPr>
          <a:xfrm>
            <a:off x="1123315" y="969645"/>
            <a:ext cx="6894830" cy="375602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02444" y="193042"/>
            <a:ext cx="8137922" cy="771659"/>
          </a:xfrm>
        </p:spPr>
        <p:txBody>
          <a:bodyPr/>
          <a:lstStyle/>
          <a:p>
            <a:r>
              <a:rPr lang="zh-CN" altLang="en-US">
                <a:sym typeface="+mn-ea"/>
              </a:rPr>
              <a:t>客户画像数据从何而来？</a:t>
            </a:r>
            <a:r>
              <a:rPr lang="en-US" altLang="zh-CN">
                <a:sym typeface="+mn-ea"/>
              </a:rPr>
              <a:t>——2.</a:t>
            </a:r>
            <a:r>
              <a:rPr lang="zh-CN" altLang="en-US">
                <a:sym typeface="+mn-ea"/>
              </a:rPr>
              <a:t>打通</a:t>
            </a:r>
            <a:r>
              <a:rPr lang="en-US" altLang="zh-CN">
                <a:sym typeface="+mn-ea"/>
              </a:rPr>
              <a:t>10+</a:t>
            </a:r>
            <a:r>
              <a:rPr lang="zh-CN" altLang="en-US">
                <a:sym typeface="+mn-ea"/>
              </a:rPr>
              <a:t>个行内系统，建立客户视图</a:t>
            </a:r>
            <a:r>
              <a:rPr lang="zh-CN" altLang="en-US"/>
              <a:t/>
            </a:r>
            <a:br>
              <a:rPr lang="zh-CN" altLang="en-US"/>
            </a:br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16</a:t>
            </a:fld>
            <a:endParaRPr lang="zh-CN" altLang="en-US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52921" y="893867"/>
            <a:ext cx="6507027" cy="3654529"/>
          </a:xfrm>
          <a:prstGeom prst="rect">
            <a:avLst/>
          </a:prstGeom>
        </p:spPr>
      </p:pic>
      <p:sp>
        <p:nvSpPr>
          <p:cNvPr id="8" name="文本框 7"/>
          <p:cNvSpPr txBox="1"/>
          <p:nvPr/>
        </p:nvSpPr>
        <p:spPr>
          <a:xfrm>
            <a:off x="414076" y="1209499"/>
            <a:ext cx="1838623" cy="18630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8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通过用户证件类型和证件号码，从用户角度打通核心，产品，客户管理，网银，手机银行，信贷系统，基金系统和统一支付平台，帮助客户画像平台从多维度清晰展现用户资产，负债，动户等精准营销信息。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02285" y="304800"/>
            <a:ext cx="8213090" cy="878840"/>
          </a:xfrm>
        </p:spPr>
        <p:txBody>
          <a:bodyPr>
            <a:normAutofit/>
          </a:bodyPr>
          <a:lstStyle/>
          <a:p>
            <a:r>
              <a:rPr lang="zh-CN" altLang="en-US">
                <a:sym typeface="+mn-ea"/>
              </a:rPr>
              <a:t>客户画像数据从何而来？</a:t>
            </a:r>
            <a:r>
              <a:rPr lang="en-US" altLang="zh-CN">
                <a:sym typeface="+mn-ea"/>
              </a:rPr>
              <a:t>——3.</a:t>
            </a:r>
            <a:r>
              <a:rPr lang="zh-CN" altLang="en-US">
                <a:sym typeface="Arial" panose="020B0604020202020204" pitchFamily="34" charset="0"/>
              </a:rPr>
              <a:t>跨系统交叉数据验证，全面提升数据质量</a:t>
            </a:r>
            <a:r>
              <a:rPr lang="zh-CN" altLang="en-US" noProof="1" smtClean="0">
                <a:solidFill>
                  <a:srgbClr val="366B7E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/>
            </a:r>
            <a:br>
              <a:rPr lang="zh-CN" altLang="en-US" noProof="1" smtClean="0">
                <a:solidFill>
                  <a:srgbClr val="366B7E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</a:br>
            <a:r>
              <a:rPr lang="zh-CN" altLang="en-US"/>
              <a:t/>
            </a:r>
            <a:br>
              <a:rPr lang="zh-CN" altLang="en-US"/>
            </a:br>
            <a:endParaRPr lang="zh-CN" altLang="en-US"/>
          </a:p>
        </p:txBody>
      </p:sp>
      <p:sp>
        <p:nvSpPr>
          <p:cNvPr id="3" name="文本框 2"/>
          <p:cNvSpPr txBox="1"/>
          <p:nvPr/>
        </p:nvSpPr>
        <p:spPr>
          <a:xfrm>
            <a:off x="987425" y="809625"/>
            <a:ext cx="1319530" cy="2882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8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数据质量检核</a:t>
            </a:r>
            <a:endParaRPr lang="en-US" altLang="zh-CN" sz="1280" b="1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6" name="表格 5"/>
          <p:cNvGraphicFramePr>
            <a:graphicFrameLocks noGrp="1"/>
          </p:cNvGraphicFramePr>
          <p:nvPr/>
        </p:nvGraphicFramePr>
        <p:xfrm>
          <a:off x="987701" y="2050971"/>
          <a:ext cx="6589395" cy="2905760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1599565"/>
                <a:gridCol w="918845"/>
                <a:gridCol w="906145"/>
                <a:gridCol w="918845"/>
                <a:gridCol w="1123315"/>
                <a:gridCol w="1122680"/>
              </a:tblGrid>
              <a:tr h="22352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20" b="1" u="none" strike="noStrike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要素名称</a:t>
                      </a:r>
                      <a:endParaRPr lang="zh-CN" altLang="en-US" sz="1420" b="1" i="0" u="none" strike="noStrike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773" marR="6773" marT="6773" marB="0" anchor="ctr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20" b="1" u="none" strike="noStrike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合规性</a:t>
                      </a:r>
                      <a:endParaRPr lang="zh-CN" altLang="en-US" sz="1420" b="1" i="0" u="none" strike="noStrike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773" marR="6773" marT="6773" marB="0" anchor="ctr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20" b="1" u="none" strike="noStrike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一致性</a:t>
                      </a:r>
                      <a:endParaRPr lang="zh-CN" altLang="en-US" sz="1420" b="1" i="0" u="none" strike="noStrike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773" marR="6773" marT="6773" marB="0" anchor="ctr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20" b="1" u="none" strike="noStrike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完备性</a:t>
                      </a:r>
                      <a:endParaRPr lang="zh-CN" altLang="en-US" sz="1420" b="1" i="0" u="none" strike="noStrike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773" marR="6773" marT="6773" marB="0" anchor="ctr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20" b="1" u="none" strike="noStrike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数据标准化</a:t>
                      </a:r>
                      <a:endParaRPr lang="zh-CN" altLang="en-US" sz="1420" b="1" i="0" u="none" strike="noStrike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773" marR="6773" marT="6773" marB="0" anchor="ctr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20" b="1" u="none" strike="noStrike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准确性提升</a:t>
                      </a:r>
                      <a:endParaRPr lang="zh-CN" altLang="en-US" sz="1420" b="1" i="0" u="none" strike="noStrike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773" marR="6773" marT="6773" marB="0" anchor="ctr">
                    <a:solidFill>
                      <a:srgbClr val="00B0F0"/>
                    </a:solidFill>
                  </a:tcPr>
                </a:tc>
              </a:tr>
              <a:tr h="22352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20" u="none" strike="noStrike" dirty="0">
                          <a:ln>
                            <a:noFill/>
                          </a:ln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客户姓名</a:t>
                      </a:r>
                      <a:endParaRPr lang="zh-CN" altLang="en-US" sz="1420" b="0" i="0" u="none" strike="noStrike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773" marR="6773" marT="67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20" u="none" strike="noStrike" dirty="0">
                          <a:ln>
                            <a:noFill/>
                          </a:ln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√</a:t>
                      </a:r>
                      <a:endParaRPr lang="zh-CN" altLang="en-US" sz="1420" b="0" i="0" u="none" strike="noStrike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773" marR="6773" marT="67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20" u="none" strike="noStrike">
                          <a:ln>
                            <a:noFill/>
                          </a:ln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√</a:t>
                      </a:r>
                      <a:endParaRPr lang="zh-CN" altLang="en-US" sz="1420" b="0" i="0" u="none" strike="noStrike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773" marR="6773" marT="67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20" u="none" strike="noStrike">
                          <a:ln>
                            <a:noFill/>
                          </a:ln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√</a:t>
                      </a:r>
                      <a:endParaRPr lang="zh-CN" altLang="en-US" sz="1420" b="0" i="0" u="none" strike="noStrike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773" marR="6773" marT="67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20" u="none" strike="noStrike" dirty="0">
                          <a:ln>
                            <a:noFill/>
                          </a:ln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  <a:endParaRPr lang="zh-CN" altLang="en-US" sz="1420" b="0" i="0" u="none" strike="noStrike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773" marR="6773" marT="67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20" u="none" strike="noStrike">
                          <a:ln>
                            <a:noFill/>
                          </a:ln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  <a:endParaRPr lang="zh-CN" altLang="en-US" sz="1420" b="0" i="0" u="none" strike="noStrike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773" marR="6773" marT="6773" marB="0" anchor="ctr"/>
                </a:tc>
              </a:tr>
              <a:tr h="22352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20" u="none" strike="noStrike" dirty="0">
                          <a:ln>
                            <a:noFill/>
                          </a:ln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证件类型</a:t>
                      </a:r>
                      <a:endParaRPr lang="zh-CN" altLang="en-US" sz="1420" b="0" i="0" u="none" strike="noStrike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773" marR="6773" marT="67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20" u="none" strike="noStrike">
                          <a:ln>
                            <a:noFill/>
                          </a:ln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√</a:t>
                      </a:r>
                      <a:endParaRPr lang="zh-CN" altLang="en-US" sz="1420" b="0" i="0" u="none" strike="noStrike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773" marR="6773" marT="67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20" u="none" strike="noStrike">
                          <a:ln>
                            <a:noFill/>
                          </a:ln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√</a:t>
                      </a:r>
                      <a:endParaRPr lang="zh-CN" altLang="en-US" sz="1420" b="0" i="0" u="none" strike="noStrike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773" marR="6773" marT="67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20" u="none" strike="noStrike">
                          <a:ln>
                            <a:noFill/>
                          </a:ln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√</a:t>
                      </a:r>
                      <a:endParaRPr lang="zh-CN" altLang="en-US" sz="1420" b="0" i="0" u="none" strike="noStrike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773" marR="6773" marT="67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20" u="none" strike="noStrike">
                          <a:ln>
                            <a:noFill/>
                          </a:ln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√</a:t>
                      </a:r>
                      <a:endParaRPr lang="zh-CN" altLang="en-US" sz="1420" b="0" i="0" u="none" strike="noStrike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773" marR="6773" marT="67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20" u="none" strike="noStrike">
                          <a:ln>
                            <a:noFill/>
                          </a:ln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  <a:endParaRPr lang="zh-CN" altLang="en-US" sz="1420" b="0" i="0" u="none" strike="noStrike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773" marR="6773" marT="6773" marB="0" anchor="ctr"/>
                </a:tc>
              </a:tr>
              <a:tr h="22352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20" u="none" strike="noStrike" dirty="0">
                          <a:ln>
                            <a:noFill/>
                          </a:ln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证件号码</a:t>
                      </a:r>
                      <a:endParaRPr lang="zh-CN" altLang="en-US" sz="1420" b="0" i="0" u="none" strike="noStrike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773" marR="6773" marT="67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20" u="none" strike="noStrike">
                          <a:ln>
                            <a:noFill/>
                          </a:ln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√</a:t>
                      </a:r>
                      <a:endParaRPr lang="zh-CN" altLang="en-US" sz="1420" b="0" i="0" u="none" strike="noStrike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773" marR="6773" marT="67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20" u="none" strike="noStrike">
                          <a:ln>
                            <a:noFill/>
                          </a:ln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√</a:t>
                      </a:r>
                      <a:endParaRPr lang="zh-CN" altLang="en-US" sz="1420" b="0" i="0" u="none" strike="noStrike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773" marR="6773" marT="67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20" u="none" strike="noStrike">
                          <a:ln>
                            <a:noFill/>
                          </a:ln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√</a:t>
                      </a:r>
                      <a:endParaRPr lang="zh-CN" altLang="en-US" sz="1420" b="0" i="0" u="none" strike="noStrike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773" marR="6773" marT="67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20" u="none" strike="noStrike">
                          <a:ln>
                            <a:noFill/>
                          </a:ln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  <a:endParaRPr lang="zh-CN" altLang="en-US" sz="1420" b="0" i="0" u="none" strike="noStrike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773" marR="6773" marT="67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20" u="none" strike="noStrike">
                          <a:ln>
                            <a:noFill/>
                          </a:ln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  <a:endParaRPr lang="zh-CN" altLang="en-US" sz="1420" b="0" i="0" u="none" strike="noStrike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773" marR="6773" marT="6773" marB="0" anchor="ctr"/>
                </a:tc>
              </a:tr>
              <a:tr h="22352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20" u="none" strike="noStrike">
                          <a:ln>
                            <a:noFill/>
                          </a:ln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证件到期日</a:t>
                      </a:r>
                      <a:endParaRPr lang="zh-CN" altLang="en-US" sz="1420" b="0" i="0" u="none" strike="noStrike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773" marR="6773" marT="67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20" u="none" strike="noStrike">
                          <a:ln>
                            <a:noFill/>
                          </a:ln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√</a:t>
                      </a:r>
                      <a:endParaRPr lang="zh-CN" altLang="en-US" sz="1420" b="0" i="0" u="none" strike="noStrike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773" marR="6773" marT="67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20" u="none" strike="noStrike">
                          <a:ln>
                            <a:noFill/>
                          </a:ln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√</a:t>
                      </a:r>
                      <a:endParaRPr lang="zh-CN" altLang="en-US" sz="1420" b="0" i="0" u="none" strike="noStrike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773" marR="6773" marT="67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20" u="none" strike="noStrike">
                          <a:ln>
                            <a:noFill/>
                          </a:ln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  <a:endParaRPr lang="zh-CN" altLang="en-US" sz="1420" b="0" i="0" u="none" strike="noStrike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773" marR="6773" marT="67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20" u="none" strike="noStrike">
                          <a:ln>
                            <a:noFill/>
                          </a:ln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  <a:endParaRPr lang="zh-CN" altLang="en-US" sz="1420" b="0" i="0" u="none" strike="noStrike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773" marR="6773" marT="67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20" u="none" strike="noStrike">
                          <a:ln>
                            <a:noFill/>
                          </a:ln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  <a:endParaRPr lang="zh-CN" altLang="en-US" sz="1420" b="0" i="0" u="none" strike="noStrike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773" marR="6773" marT="6773" marB="0" anchor="ctr"/>
                </a:tc>
              </a:tr>
              <a:tr h="22352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20" u="none" strike="noStrike">
                          <a:ln>
                            <a:noFill/>
                          </a:ln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手机号号码</a:t>
                      </a:r>
                      <a:endParaRPr lang="zh-CN" altLang="en-US" sz="1420" b="0" i="0" u="none" strike="noStrike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773" marR="6773" marT="67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20" u="none" strike="noStrike">
                          <a:ln>
                            <a:noFill/>
                          </a:ln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√</a:t>
                      </a:r>
                      <a:endParaRPr lang="zh-CN" altLang="en-US" sz="1420" b="0" i="0" u="none" strike="noStrike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773" marR="6773" marT="67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20" u="none" strike="noStrike">
                          <a:ln>
                            <a:noFill/>
                          </a:ln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√</a:t>
                      </a:r>
                      <a:endParaRPr lang="zh-CN" altLang="en-US" sz="1420" b="0" i="0" u="none" strike="noStrike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773" marR="6773" marT="67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20" u="none" strike="noStrike">
                          <a:ln>
                            <a:noFill/>
                          </a:ln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√</a:t>
                      </a:r>
                      <a:endParaRPr lang="zh-CN" altLang="en-US" sz="1420" b="0" i="0" u="none" strike="noStrike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773" marR="6773" marT="67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20" u="none" strike="noStrike">
                          <a:ln>
                            <a:noFill/>
                          </a:ln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  <a:endParaRPr lang="zh-CN" altLang="en-US" sz="1420" b="0" i="0" u="none" strike="noStrike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773" marR="6773" marT="67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20" u="none" strike="noStrike">
                          <a:ln>
                            <a:noFill/>
                          </a:ln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√</a:t>
                      </a:r>
                      <a:endParaRPr lang="zh-CN" altLang="en-US" sz="1420" b="0" i="0" u="none" strike="noStrike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773" marR="6773" marT="6773" marB="0" anchor="ctr"/>
                </a:tc>
              </a:tr>
              <a:tr h="22352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20" u="none" strike="noStrike">
                          <a:ln>
                            <a:noFill/>
                          </a:ln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国籍</a:t>
                      </a:r>
                      <a:endParaRPr lang="zh-CN" altLang="en-US" sz="1420" b="0" i="0" u="none" strike="noStrike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773" marR="6773" marT="67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20" u="none" strike="noStrike">
                          <a:ln>
                            <a:noFill/>
                          </a:ln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√</a:t>
                      </a:r>
                      <a:endParaRPr lang="zh-CN" altLang="en-US" sz="1420" b="0" i="0" u="none" strike="noStrike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773" marR="6773" marT="67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20" u="none" strike="noStrike">
                          <a:ln>
                            <a:noFill/>
                          </a:ln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√</a:t>
                      </a:r>
                      <a:endParaRPr lang="zh-CN" altLang="en-US" sz="1420" b="0" i="0" u="none" strike="noStrike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773" marR="6773" marT="67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20" u="none" strike="noStrike">
                          <a:ln>
                            <a:noFill/>
                          </a:ln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  <a:endParaRPr lang="zh-CN" altLang="en-US" sz="1420" b="0" i="0" u="none" strike="noStrike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773" marR="6773" marT="67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20" u="none" strike="noStrike">
                          <a:ln>
                            <a:noFill/>
                          </a:ln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√</a:t>
                      </a:r>
                      <a:endParaRPr lang="zh-CN" altLang="en-US" sz="1420" b="0" i="0" u="none" strike="noStrike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773" marR="6773" marT="67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20" u="none" strike="noStrike">
                          <a:ln>
                            <a:noFill/>
                          </a:ln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  <a:endParaRPr lang="zh-CN" altLang="en-US" sz="1420" b="0" i="0" u="none" strike="noStrike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773" marR="6773" marT="6773" marB="0" anchor="ctr"/>
                </a:tc>
              </a:tr>
              <a:tr h="22352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20" u="none" strike="noStrike">
                          <a:ln>
                            <a:noFill/>
                          </a:ln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性别</a:t>
                      </a:r>
                      <a:endParaRPr lang="zh-CN" altLang="en-US" sz="1420" b="0" i="0" u="none" strike="noStrike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773" marR="6773" marT="67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20" u="none" strike="noStrike">
                          <a:ln>
                            <a:noFill/>
                          </a:ln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√</a:t>
                      </a:r>
                      <a:endParaRPr lang="zh-CN" altLang="en-US" sz="1420" b="0" i="0" u="none" strike="noStrike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773" marR="6773" marT="67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20" u="none" strike="noStrike">
                          <a:ln>
                            <a:noFill/>
                          </a:ln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√</a:t>
                      </a:r>
                      <a:endParaRPr lang="zh-CN" altLang="en-US" sz="1420" b="0" i="0" u="none" strike="noStrike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773" marR="6773" marT="67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20" u="none" strike="noStrike">
                          <a:ln>
                            <a:noFill/>
                          </a:ln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  <a:endParaRPr lang="zh-CN" altLang="en-US" sz="1420" b="0" i="0" u="none" strike="noStrike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773" marR="6773" marT="67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20" u="none" strike="noStrike">
                          <a:ln>
                            <a:noFill/>
                          </a:ln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√</a:t>
                      </a:r>
                      <a:endParaRPr lang="zh-CN" altLang="en-US" sz="1420" b="0" i="0" u="none" strike="noStrike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773" marR="6773" marT="67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20" u="none" strike="noStrike">
                          <a:ln>
                            <a:noFill/>
                          </a:ln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√</a:t>
                      </a:r>
                      <a:endParaRPr lang="zh-CN" altLang="en-US" sz="1420" b="0" i="0" u="none" strike="noStrike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773" marR="6773" marT="6773" marB="0" anchor="ctr"/>
                </a:tc>
              </a:tr>
              <a:tr h="22352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20" u="none" strike="noStrike">
                          <a:ln>
                            <a:noFill/>
                          </a:ln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龄</a:t>
                      </a:r>
                      <a:endParaRPr lang="zh-CN" altLang="en-US" sz="1420" b="0" i="0" u="none" strike="noStrike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773" marR="6773" marT="67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20" u="none" strike="noStrike">
                          <a:ln>
                            <a:noFill/>
                          </a:ln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√</a:t>
                      </a:r>
                      <a:endParaRPr lang="zh-CN" altLang="en-US" sz="1420" b="0" i="0" u="none" strike="noStrike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773" marR="6773" marT="67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20" u="none" strike="noStrike">
                          <a:ln>
                            <a:noFill/>
                          </a:ln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√</a:t>
                      </a:r>
                      <a:endParaRPr lang="zh-CN" altLang="en-US" sz="1420" b="0" i="0" u="none" strike="noStrike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773" marR="6773" marT="67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20" u="none" strike="noStrike">
                          <a:ln>
                            <a:noFill/>
                          </a:ln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  <a:endParaRPr lang="zh-CN" altLang="en-US" sz="1420" b="0" i="0" u="none" strike="noStrike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773" marR="6773" marT="67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20" u="none" strike="noStrike">
                          <a:ln>
                            <a:noFill/>
                          </a:ln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  <a:endParaRPr lang="zh-CN" altLang="en-US" sz="1420" b="0" i="0" u="none" strike="noStrike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773" marR="6773" marT="67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20" u="none" strike="noStrike">
                          <a:ln>
                            <a:noFill/>
                          </a:ln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√</a:t>
                      </a:r>
                      <a:endParaRPr lang="zh-CN" altLang="en-US" sz="1420" b="0" i="0" u="none" strike="noStrike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773" marR="6773" marT="6773" marB="0" anchor="ctr"/>
                </a:tc>
              </a:tr>
              <a:tr h="22352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20" u="none" strike="noStrike">
                          <a:ln>
                            <a:noFill/>
                          </a:ln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婚姻状况</a:t>
                      </a:r>
                      <a:endParaRPr lang="zh-CN" altLang="en-US" sz="1420" b="0" i="0" u="none" strike="noStrike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773" marR="6773" marT="67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20" u="none" strike="noStrike">
                          <a:ln>
                            <a:noFill/>
                          </a:ln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√</a:t>
                      </a:r>
                      <a:endParaRPr lang="zh-CN" altLang="en-US" sz="1420" b="0" i="0" u="none" strike="noStrike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773" marR="6773" marT="67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20" u="none" strike="noStrike">
                          <a:ln>
                            <a:noFill/>
                          </a:ln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√</a:t>
                      </a:r>
                      <a:endParaRPr lang="zh-CN" altLang="en-US" sz="1420" b="0" i="0" u="none" strike="noStrike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773" marR="6773" marT="67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20" u="none" strike="noStrike">
                          <a:ln>
                            <a:noFill/>
                          </a:ln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√</a:t>
                      </a:r>
                      <a:endParaRPr lang="zh-CN" altLang="en-US" sz="1420" b="0" i="0" u="none" strike="noStrike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773" marR="6773" marT="67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20" u="none" strike="noStrike">
                          <a:ln>
                            <a:noFill/>
                          </a:ln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√</a:t>
                      </a:r>
                      <a:endParaRPr lang="zh-CN" altLang="en-US" sz="1420" b="0" i="0" u="none" strike="noStrike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773" marR="6773" marT="67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20" u="none" strike="noStrike">
                          <a:ln>
                            <a:noFill/>
                          </a:ln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  <a:endParaRPr lang="zh-CN" altLang="en-US" sz="1420" b="0" i="0" u="none" strike="noStrike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773" marR="6773" marT="6773" marB="0" anchor="ctr"/>
                </a:tc>
              </a:tr>
              <a:tr h="22352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20" u="none" strike="noStrike">
                          <a:ln>
                            <a:noFill/>
                          </a:ln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学历</a:t>
                      </a:r>
                      <a:endParaRPr lang="zh-CN" altLang="en-US" sz="1420" b="0" i="0" u="none" strike="noStrike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773" marR="6773" marT="67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20" u="none" strike="noStrike">
                          <a:ln>
                            <a:noFill/>
                          </a:ln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√</a:t>
                      </a:r>
                      <a:endParaRPr lang="zh-CN" altLang="en-US" sz="1420" b="0" i="0" u="none" strike="noStrike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773" marR="6773" marT="67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20" u="none" strike="noStrike">
                          <a:ln>
                            <a:noFill/>
                          </a:ln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√</a:t>
                      </a:r>
                      <a:endParaRPr lang="zh-CN" altLang="en-US" sz="1420" b="0" i="0" u="none" strike="noStrike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773" marR="6773" marT="67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20" u="none" strike="noStrike">
                          <a:ln>
                            <a:noFill/>
                          </a:ln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  <a:endParaRPr lang="zh-CN" altLang="en-US" sz="1420" b="0" i="0" u="none" strike="noStrike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773" marR="6773" marT="67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20" u="none" strike="noStrike">
                          <a:ln>
                            <a:noFill/>
                          </a:ln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√</a:t>
                      </a:r>
                      <a:endParaRPr lang="zh-CN" altLang="en-US" sz="1420" b="0" i="0" u="none" strike="noStrike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773" marR="6773" marT="67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20" u="none" strike="noStrike">
                          <a:ln>
                            <a:noFill/>
                          </a:ln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  <a:endParaRPr lang="zh-CN" altLang="en-US" sz="1420" b="0" i="0" u="none" strike="noStrike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773" marR="6773" marT="6773" marB="0" anchor="ctr"/>
                </a:tc>
              </a:tr>
              <a:tr h="22352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20" u="none" strike="noStrike">
                          <a:ln>
                            <a:noFill/>
                          </a:ln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民族</a:t>
                      </a:r>
                      <a:endParaRPr lang="zh-CN" altLang="en-US" sz="1420" b="0" i="0" u="none" strike="noStrike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773" marR="6773" marT="67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20" u="none" strike="noStrike">
                          <a:ln>
                            <a:noFill/>
                          </a:ln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√</a:t>
                      </a:r>
                      <a:endParaRPr lang="zh-CN" altLang="en-US" sz="1420" b="0" i="0" u="none" strike="noStrike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773" marR="6773" marT="67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20" u="none" strike="noStrike">
                          <a:ln>
                            <a:noFill/>
                          </a:ln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√</a:t>
                      </a:r>
                      <a:endParaRPr lang="zh-CN" altLang="en-US" sz="1420" b="0" i="0" u="none" strike="noStrike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773" marR="6773" marT="67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20" u="none" strike="noStrike">
                          <a:ln>
                            <a:noFill/>
                          </a:ln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  <a:endParaRPr lang="zh-CN" altLang="en-US" sz="1420" b="0" i="0" u="none" strike="noStrike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773" marR="6773" marT="67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20" u="none" strike="noStrike">
                          <a:ln>
                            <a:noFill/>
                          </a:ln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√</a:t>
                      </a:r>
                      <a:endParaRPr lang="zh-CN" altLang="en-US" sz="1420" b="0" i="0" u="none" strike="noStrike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773" marR="6773" marT="67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20" u="none" strike="noStrike">
                          <a:ln>
                            <a:noFill/>
                          </a:ln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  <a:endParaRPr lang="zh-CN" altLang="en-US" sz="1420" b="0" i="0" u="none" strike="noStrike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773" marR="6773" marT="6773" marB="0" anchor="ctr"/>
                </a:tc>
              </a:tr>
              <a:tr h="22352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20" u="none" strike="noStrike">
                          <a:ln>
                            <a:noFill/>
                          </a:ln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单位性质</a:t>
                      </a:r>
                      <a:endParaRPr lang="zh-CN" altLang="en-US" sz="1420" b="0" i="0" u="none" strike="noStrike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773" marR="6773" marT="67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20" u="none" strike="noStrike">
                          <a:ln>
                            <a:noFill/>
                          </a:ln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√</a:t>
                      </a:r>
                      <a:endParaRPr lang="zh-CN" altLang="en-US" sz="1420" b="0" i="0" u="none" strike="noStrike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773" marR="6773" marT="67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20" u="none" strike="noStrike">
                          <a:ln>
                            <a:noFill/>
                          </a:ln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√</a:t>
                      </a:r>
                      <a:endParaRPr lang="zh-CN" altLang="en-US" sz="1420" b="0" i="0" u="none" strike="noStrike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773" marR="6773" marT="67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20" u="none" strike="noStrike">
                          <a:ln>
                            <a:noFill/>
                          </a:ln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  <a:endParaRPr lang="zh-CN" altLang="en-US" sz="1420" b="0" i="0" u="none" strike="noStrike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773" marR="6773" marT="67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20" u="none" strike="noStrike">
                          <a:ln>
                            <a:noFill/>
                          </a:ln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√</a:t>
                      </a:r>
                      <a:endParaRPr lang="zh-CN" altLang="en-US" sz="1420" b="0" i="0" u="none" strike="noStrike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773" marR="6773" marT="677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20" u="none" strike="noStrike" dirty="0">
                          <a:ln>
                            <a:noFill/>
                          </a:ln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  <a:endParaRPr lang="zh-CN" altLang="en-US" sz="1420" b="0" i="0" u="none" strike="noStrike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773" marR="6773" marT="6773" marB="0" anchor="ctr"/>
                </a:tc>
              </a:tr>
            </a:tbl>
          </a:graphicData>
        </a:graphic>
      </p:graphicFrame>
      <p:sp>
        <p:nvSpPr>
          <p:cNvPr id="7" name="矩形 6"/>
          <p:cNvSpPr/>
          <p:nvPr/>
        </p:nvSpPr>
        <p:spPr>
          <a:xfrm>
            <a:off x="3769360" y="820420"/>
            <a:ext cx="1354455" cy="2882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28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数据</a:t>
            </a:r>
            <a:r>
              <a:rPr lang="zh-CN" altLang="en-US" sz="128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标准化</a:t>
            </a:r>
            <a:endParaRPr lang="en-US" altLang="zh-CN" sz="128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6" name="TextBox 158"/>
          <p:cNvSpPr txBox="1"/>
          <p:nvPr/>
        </p:nvSpPr>
        <p:spPr>
          <a:xfrm>
            <a:off x="934684" y="1053105"/>
            <a:ext cx="2014988" cy="8604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995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.</a:t>
            </a:r>
            <a:r>
              <a:rPr lang="zh-CN" altLang="en-US" sz="995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合规性：要素类型、长度、非法字符等进行校验</a:t>
            </a:r>
            <a:endParaRPr lang="en-US" altLang="zh-CN" sz="995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995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2.</a:t>
            </a:r>
            <a:r>
              <a:rPr lang="zh-CN" altLang="en-US" sz="995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一致性：系统间进行交叉验证</a:t>
            </a:r>
            <a:endParaRPr lang="en-US" altLang="zh-CN" sz="995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995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3.</a:t>
            </a:r>
            <a:r>
              <a:rPr lang="zh-CN" altLang="en-US" sz="995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完备性：关键要素检验是否为空</a:t>
            </a:r>
            <a:endParaRPr lang="zh-CN" altLang="en-US" sz="995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2827784" y="1784288"/>
            <a:ext cx="2406601" cy="2882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28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关键要素质量提升</a:t>
            </a:r>
            <a:endParaRPr lang="zh-CN" altLang="en-US" sz="128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0" name="TextBox 158"/>
          <p:cNvSpPr txBox="1"/>
          <p:nvPr/>
        </p:nvSpPr>
        <p:spPr>
          <a:xfrm>
            <a:off x="3427484" y="1031233"/>
            <a:ext cx="2014988" cy="5530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995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参照</a:t>
            </a:r>
            <a:r>
              <a:rPr lang="zh-CN" altLang="en-US" sz="995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国标、行业标准</a:t>
            </a:r>
            <a:r>
              <a:rPr lang="zh-CN" altLang="en-US" sz="995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，并参考人行征信制定了我行数据技术标准，并在数据标准层做了数据标准化</a:t>
            </a:r>
            <a:endParaRPr lang="zh-CN" altLang="en-US" sz="995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1" name="TextBox 158"/>
          <p:cNvSpPr txBox="1"/>
          <p:nvPr/>
        </p:nvSpPr>
        <p:spPr>
          <a:xfrm>
            <a:off x="5654005" y="1025839"/>
            <a:ext cx="2014988" cy="8604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995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对关键要素进行了数据质量提升的转换，提高数据的精准度，如手机号经过</a:t>
            </a:r>
            <a:r>
              <a:rPr lang="en-US" altLang="zh-CN" sz="995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6</a:t>
            </a:r>
            <a:r>
              <a:rPr lang="zh-CN" altLang="en-US" sz="995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个对系统的重要度，数据更新时间的比对，加工出了客户的第一联系方式</a:t>
            </a:r>
            <a:endParaRPr lang="zh-CN" altLang="en-US" sz="995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6267545" y="810789"/>
            <a:ext cx="833120" cy="28829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128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数据转换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02285" y="355600"/>
            <a:ext cx="8405495" cy="1049655"/>
          </a:xfrm>
        </p:spPr>
        <p:txBody>
          <a:bodyPr>
            <a:normAutofit/>
          </a:bodyPr>
          <a:lstStyle/>
          <a:p>
            <a:r>
              <a:rPr lang="zh-CN" altLang="en-US">
                <a:sym typeface="+mn-ea"/>
              </a:rPr>
              <a:t>客户画像数据从何而来？</a:t>
            </a:r>
            <a:r>
              <a:rPr lang="en-US" altLang="zh-CN">
                <a:sym typeface="+mn-ea"/>
              </a:rPr>
              <a:t>——4.</a:t>
            </a:r>
            <a:r>
              <a:rPr lang="zh-CN" altLang="en-US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数据加工逻辑可溯源，数据资产管控成体系</a:t>
            </a: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/>
            </a:r>
            <a:b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</a:br>
            <a:r>
              <a:rPr lang="zh-CN" altLang="en-US" noProof="1" smtClean="0">
                <a:solidFill>
                  <a:srgbClr val="366B7E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/>
            </a:r>
            <a:br>
              <a:rPr lang="zh-CN" altLang="en-US" noProof="1" smtClean="0">
                <a:solidFill>
                  <a:srgbClr val="366B7E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</a:br>
            <a:r>
              <a:rPr lang="zh-CN" altLang="en-US"/>
              <a:t/>
            </a:r>
            <a:br>
              <a:rPr lang="zh-CN" altLang="en-US"/>
            </a:br>
            <a:endParaRPr lang="zh-CN" altLang="en-US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7291" y="1079402"/>
            <a:ext cx="8684546" cy="3571362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2052320" y="2572385"/>
            <a:ext cx="2785745" cy="746125"/>
          </a:xfrm>
        </p:spPr>
        <p:txBody>
          <a:bodyPr>
            <a:normAutofit/>
          </a:bodyPr>
          <a:lstStyle/>
          <a:p>
            <a:r>
              <a:rPr lang="zh-CN" altLang="en-US" sz="2800" dirty="0">
                <a:solidFill>
                  <a:schemeClr val="accent3">
                    <a:lumMod val="50000"/>
                  </a:schemeClr>
                </a:solidFill>
                <a:sym typeface="+mn-lt"/>
              </a:rPr>
              <a:t>用户手册</a:t>
            </a:r>
            <a:endParaRPr lang="zh-CN" altLang="en-US" sz="280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3834765" y="1017905"/>
            <a:ext cx="756285" cy="640080"/>
          </a:xfrm>
          <a:prstGeom prst="rect">
            <a:avLst/>
          </a:prstGeom>
          <a:noFill/>
          <a:ln w="117475">
            <a:noFill/>
          </a:ln>
        </p:spPr>
        <p:txBody>
          <a:bodyPr wrap="square" rtlCol="0">
            <a:prstTxWarp prst="textPlain">
              <a:avLst/>
            </a:prstTxWarp>
            <a:spAutoFit/>
          </a:bodyPr>
          <a:lstStyle/>
          <a:p>
            <a:r>
              <a:rPr lang="en-US" altLang="zh-CN" sz="1200" spc="75" dirty="0">
                <a:solidFill>
                  <a:schemeClr val="accent3">
                    <a:lumMod val="50000"/>
                  </a:schemeClr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3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/>
          <p:cNvGrpSpPr/>
          <p:nvPr/>
        </p:nvGrpSpPr>
        <p:grpSpPr>
          <a:xfrm>
            <a:off x="0" y="1154537"/>
            <a:ext cx="8472448" cy="2810510"/>
            <a:chOff x="-690904" y="1603005"/>
            <a:chExt cx="12753196" cy="4180010"/>
          </a:xfrm>
        </p:grpSpPr>
        <p:grpSp>
          <p:nvGrpSpPr>
            <p:cNvPr id="6" name="2b751056-6b97-492c-b763-340acee7e99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  <p:cNvGrpSpPr>
              <a:grpSpLocks noChangeAspect="1"/>
            </p:cNvGrpSpPr>
            <p:nvPr>
              <p:custDataLst>
                <p:tags r:id="rId1"/>
              </p:custDataLst>
            </p:nvPr>
          </p:nvGrpSpPr>
          <p:grpSpPr>
            <a:xfrm>
              <a:off x="-690904" y="1603005"/>
              <a:ext cx="12753196" cy="4109171"/>
              <a:chOff x="-216139" y="1603005"/>
              <a:chExt cx="12257366" cy="4109171"/>
            </a:xfrm>
          </p:grpSpPr>
          <p:sp>
            <p:nvSpPr>
              <p:cNvPr id="7" name="iṡľïḑè"/>
              <p:cNvSpPr txBox="1"/>
              <p:nvPr/>
            </p:nvSpPr>
            <p:spPr bwMode="auto">
              <a:xfrm>
                <a:off x="4342932" y="1603005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257175" indent="-257175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2000" b="0" dirty="0">
                    <a:latin typeface="+mn-lt"/>
                    <a:ea typeface="+mn-ea"/>
                    <a:sym typeface="+mn-lt"/>
                  </a:rPr>
                  <a:t>重庆农商大数据分析平台介绍</a:t>
                </a:r>
              </a:p>
              <a:p>
                <a:pPr marL="257175" indent="-257175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2000" b="0" dirty="0">
                    <a:latin typeface="+mn-lt"/>
                    <a:ea typeface="+mn-ea"/>
                    <a:sym typeface="+mn-lt"/>
                  </a:rPr>
                  <a:t>客户画像自助式分析工具介绍</a:t>
                </a:r>
              </a:p>
              <a:p>
                <a:pPr marL="257175" indent="-257175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2000" b="0" dirty="0">
                    <a:sym typeface="+mn-lt"/>
                  </a:rPr>
                  <a:t>客户画像自助式分析工具</a:t>
                </a:r>
                <a:r>
                  <a:rPr lang="zh-CN" altLang="en-US" sz="2000" b="0" dirty="0" smtClean="0">
                    <a:latin typeface="+mn-lt"/>
                    <a:ea typeface="+mn-ea"/>
                    <a:sym typeface="+mn-lt"/>
                  </a:rPr>
                  <a:t>用户手册</a:t>
                </a:r>
                <a:endParaRPr lang="zh-CN" altLang="en-US" sz="2000" b="0" dirty="0">
                  <a:latin typeface="+mn-lt"/>
                  <a:ea typeface="+mn-ea"/>
                  <a:sym typeface="+mn-lt"/>
                </a:endParaRPr>
              </a:p>
              <a:p>
                <a:pPr marL="257175" indent="-257175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2000" b="0" dirty="0">
                    <a:sym typeface="+mn-lt"/>
                  </a:rPr>
                  <a:t>客户画像自助式分析工具</a:t>
                </a:r>
                <a:r>
                  <a:rPr lang="zh-CN" altLang="en-US" sz="2000" b="0" dirty="0" smtClean="0">
                    <a:latin typeface="+mn-lt"/>
                    <a:ea typeface="+mn-ea"/>
                    <a:sym typeface="+mn-lt"/>
                  </a:rPr>
                  <a:t>后续</a:t>
                </a:r>
                <a:r>
                  <a:rPr lang="zh-CN" altLang="en-US" sz="2000" b="0" dirty="0">
                    <a:latin typeface="+mn-lt"/>
                    <a:ea typeface="+mn-ea"/>
                    <a:sym typeface="+mn-lt"/>
                  </a:rPr>
                  <a:t>迭代开发计划</a:t>
                </a:r>
              </a:p>
              <a:p>
                <a:pPr marL="257175" indent="-257175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2000" b="0" dirty="0" smtClean="0">
                    <a:latin typeface="+mn-lt"/>
                    <a:ea typeface="+mn-ea"/>
                    <a:sym typeface="+mn-lt"/>
                  </a:rPr>
                  <a:t>数据产品访问</a:t>
                </a:r>
                <a:r>
                  <a:rPr lang="zh-CN" altLang="en-US" sz="2000" b="0" dirty="0">
                    <a:latin typeface="+mn-lt"/>
                    <a:ea typeface="+mn-ea"/>
                    <a:sym typeface="+mn-lt"/>
                  </a:rPr>
                  <a:t>权限申请流程</a:t>
                </a:r>
              </a:p>
              <a:p>
                <a:pPr marL="257175" indent="-257175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2000" b="0" dirty="0">
                    <a:latin typeface="+mn-lt"/>
                    <a:ea typeface="+mn-ea"/>
                    <a:sym typeface="+mn-lt"/>
                  </a:rPr>
                  <a:t>开发需求受理与技术支持</a:t>
                </a:r>
              </a:p>
              <a:p>
                <a:pPr marL="257175" indent="-257175">
                  <a:lnSpc>
                    <a:spcPct val="150000"/>
                  </a:lnSpc>
                  <a:buFont typeface="+mj-lt"/>
                  <a:buAutoNum type="arabicPeriod"/>
                </a:pPr>
                <a:endParaRPr lang="zh-CN" altLang="en-US" sz="2000" b="0" dirty="0">
                  <a:latin typeface="+mn-lt"/>
                  <a:ea typeface="+mn-ea"/>
                  <a:sym typeface="+mn-lt"/>
                </a:endParaRPr>
              </a:p>
            </p:txBody>
          </p:sp>
          <p:cxnSp>
            <p:nvCxnSpPr>
              <p:cNvPr id="8" name="直接连接符 7"/>
              <p:cNvCxnSpPr/>
              <p:nvPr/>
            </p:nvCxnSpPr>
            <p:spPr>
              <a:xfrm>
                <a:off x="4078764" y="170856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išľïḋé"/>
              <p:cNvSpPr txBox="1"/>
              <p:nvPr/>
            </p:nvSpPr>
            <p:spPr>
              <a:xfrm>
                <a:off x="-216139" y="1863746"/>
                <a:ext cx="3913108" cy="593097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tr-TR" sz="2000" b="1" dirty="0">
                    <a:solidFill>
                      <a:schemeClr val="accent1">
                        <a:lumMod val="50000"/>
                      </a:schemeClr>
                    </a:solidFill>
                    <a:cs typeface="+mn-ea"/>
                    <a:sym typeface="+mn-lt"/>
                  </a:rPr>
                  <a:t>CONTENTS</a:t>
                </a:r>
              </a:p>
            </p:txBody>
          </p:sp>
        </p:grpSp>
        <p:sp>
          <p:nvSpPr>
            <p:cNvPr id="10" name="poetry_91022"/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 sz="2000">
                <a:cs typeface="+mn-ea"/>
                <a:sym typeface="+mn-lt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Slide Number Placeholder 37"/>
          <p:cNvSpPr>
            <a:spLocks noGrp="1"/>
          </p:cNvSpPr>
          <p:nvPr>
            <p:ph type="sldNum" sz="quarter" idx="12"/>
          </p:nvPr>
        </p:nvSpPr>
        <p:spPr>
          <a:xfrm>
            <a:off x="6450964" y="4681167"/>
            <a:ext cx="2182416" cy="154813"/>
          </a:xfrm>
          <a:prstGeom prst="rect">
            <a:avLst/>
          </a:prstGeom>
        </p:spPr>
        <p:txBody>
          <a:bodyPr/>
          <a:lstStyle/>
          <a:p>
            <a:fld id="{C136B7D2-B98C-44FD-8D04-7EC62A564975}" type="slidenum">
              <a:rPr lang="en-US" smtClean="0"/>
              <a:t>20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>
                <a:sym typeface="+mn-ea"/>
              </a:rPr>
              <a:t>登陆</a:t>
            </a:r>
            <a:endParaRPr lang="en-US" altLang="zh-CN" dirty="0">
              <a:sym typeface="+mn-ea"/>
            </a:endParaRPr>
          </a:p>
        </p:txBody>
      </p:sp>
      <p:sp>
        <p:nvSpPr>
          <p:cNvPr id="100" name="文本框 99"/>
          <p:cNvSpPr txBox="1"/>
          <p:nvPr/>
        </p:nvSpPr>
        <p:spPr>
          <a:xfrm>
            <a:off x="224790" y="825500"/>
            <a:ext cx="8691880" cy="82994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indent="127000" algn="l" fontAlgn="auto">
              <a:lnSpc>
                <a:spcPct val="150000"/>
              </a:lnSpc>
            </a:pPr>
            <a:r>
              <a:rPr lang="zh-CN" altLang="en-US" sz="1600" b="1">
                <a:latin typeface="Calibri" panose="020F0502020204030204" charset="0"/>
                <a:ea typeface="仿宋" panose="02010609060101010101" charset="-122"/>
              </a:rPr>
              <a:t>申请访问成功后</a:t>
            </a:r>
            <a:r>
              <a:rPr lang="zh-CN" sz="1600" b="1">
                <a:latin typeface="Calibri" panose="020F0502020204030204" charset="0"/>
                <a:ea typeface="仿宋" panose="02010609060101010101" charset="-122"/>
              </a:rPr>
              <a:t>使用</a:t>
            </a:r>
            <a:r>
              <a:rPr lang="en-US" sz="1600" b="1">
                <a:latin typeface="Calibri" panose="020F0502020204030204" charset="0"/>
                <a:ea typeface="仿宋" panose="02010609060101010101" charset="-122"/>
                <a:cs typeface="Times New Roman" panose="02020603050405020304" charset="0"/>
              </a:rPr>
              <a:t>google</a:t>
            </a:r>
            <a:r>
              <a:rPr lang="zh-CN" sz="1600" b="1">
                <a:latin typeface="Calibri" panose="020F0502020204030204" charset="0"/>
                <a:ea typeface="仿宋" panose="02010609060101010101" charset="-122"/>
              </a:rPr>
              <a:t>浏览器                 输入相同网址，</a:t>
            </a:r>
            <a:r>
              <a:rPr lang="zh-CN" altLang="en-US" sz="1600" b="1">
                <a:latin typeface="Calibri" panose="020F0502020204030204" charset="0"/>
                <a:ea typeface="仿宋" panose="02010609060101010101" charset="-122"/>
              </a:rPr>
              <a:t>使用</a:t>
            </a:r>
            <a:r>
              <a:rPr lang="en-US" altLang="zh-CN" sz="1600" b="1">
                <a:latin typeface="Calibri" panose="020F0502020204030204" charset="0"/>
                <a:ea typeface="仿宋" panose="02010609060101010101" charset="-122"/>
              </a:rPr>
              <a:t>SAS</a:t>
            </a:r>
            <a:r>
              <a:rPr lang="zh-CN" altLang="en-US" sz="1600" b="1">
                <a:latin typeface="Calibri" panose="020F0502020204030204" charset="0"/>
                <a:ea typeface="仿宋" panose="02010609060101010101" charset="-122"/>
              </a:rPr>
              <a:t>用户名和密码登陆进入大数据分析平台首页，选择</a:t>
            </a:r>
            <a:r>
              <a:rPr lang="en-US" altLang="zh-CN" sz="1600" b="1">
                <a:latin typeface="Calibri" panose="020F0502020204030204" charset="0"/>
                <a:ea typeface="仿宋" panose="02010609060101010101" charset="-122"/>
              </a:rPr>
              <a:t>“</a:t>
            </a:r>
            <a:r>
              <a:rPr lang="zh-CN" altLang="en-US" sz="1600" b="1">
                <a:latin typeface="Calibri" panose="020F0502020204030204" charset="0"/>
                <a:ea typeface="仿宋" panose="02010609060101010101" charset="-122"/>
              </a:rPr>
              <a:t>客户画像分析系统</a:t>
            </a:r>
            <a:r>
              <a:rPr lang="en-US" altLang="zh-CN" sz="1600" b="1">
                <a:latin typeface="Calibri" panose="020F0502020204030204" charset="0"/>
                <a:ea typeface="仿宋" panose="02010609060101010101" charset="-122"/>
              </a:rPr>
              <a:t>”</a:t>
            </a:r>
            <a:r>
              <a:rPr lang="zh-CN" altLang="en-US" sz="1600" b="1">
                <a:latin typeface="Calibri" panose="020F0502020204030204" charset="0"/>
                <a:ea typeface="仿宋" panose="02010609060101010101" charset="-122"/>
              </a:rPr>
              <a:t>后选择</a:t>
            </a:r>
            <a:r>
              <a:rPr lang="en-US" altLang="zh-CN" sz="1600" b="1">
                <a:latin typeface="Calibri" panose="020F0502020204030204" charset="0"/>
                <a:ea typeface="仿宋" panose="02010609060101010101" charset="-122"/>
              </a:rPr>
              <a:t>“</a:t>
            </a:r>
            <a:r>
              <a:rPr lang="zh-CN" altLang="en-US" sz="1600" b="1">
                <a:latin typeface="Calibri" panose="020F0502020204030204" charset="0"/>
                <a:ea typeface="仿宋" panose="02010609060101010101" charset="-122"/>
              </a:rPr>
              <a:t>点击进入</a:t>
            </a:r>
            <a:r>
              <a:rPr lang="en-US" altLang="zh-CN" sz="1600" b="1">
                <a:latin typeface="Calibri" panose="020F0502020204030204" charset="0"/>
                <a:ea typeface="仿宋" panose="02010609060101010101" charset="-122"/>
              </a:rPr>
              <a:t>”</a:t>
            </a:r>
            <a:r>
              <a:rPr lang="zh-CN" altLang="en-US" sz="1600" b="1">
                <a:latin typeface="Calibri" panose="020F0502020204030204" charset="0"/>
                <a:ea typeface="仿宋" panose="02010609060101010101" charset="-122"/>
              </a:rPr>
              <a:t>进入工具首页。</a:t>
            </a:r>
          </a:p>
        </p:txBody>
      </p:sp>
      <p:pic>
        <p:nvPicPr>
          <p:cNvPr id="3" name="图片 1" descr="IMG_25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61515" y="1846580"/>
            <a:ext cx="5279390" cy="3022600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</p:pic>
      <p:sp>
        <p:nvSpPr>
          <p:cNvPr id="7" name="矩形 7"/>
          <p:cNvSpPr/>
          <p:nvPr/>
        </p:nvSpPr>
        <p:spPr>
          <a:xfrm>
            <a:off x="2096135" y="4369435"/>
            <a:ext cx="1501140" cy="416560"/>
          </a:xfrm>
          <a:prstGeom prst="rect">
            <a:avLst/>
          </a:prstGeom>
          <a:noFill/>
          <a:ln w="28575" cmpd="sng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4" name="图片 3" descr="google"/>
          <p:cNvPicPr>
            <a:picLocks noChangeAspect="1"/>
          </p:cNvPicPr>
          <p:nvPr/>
        </p:nvPicPr>
        <p:blipFill>
          <a:blip r:embed="rId4">
            <a:clrChange>
              <a:clrFrom>
                <a:srgbClr val="FEF9F5">
                  <a:alpha val="100000"/>
                </a:srgbClr>
              </a:clrFrom>
              <a:clrTo>
                <a:srgbClr val="FEF9F5">
                  <a:alpha val="100000"/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560445" y="776605"/>
            <a:ext cx="587375" cy="587375"/>
          </a:xfrm>
          <a:prstGeom prst="rect">
            <a:avLst/>
          </a:prstGeom>
        </p:spPr>
      </p:pic>
    </p:spTree>
  </p:cSld>
  <p:clrMapOvr>
    <a:masterClrMapping/>
  </p:clrMapOvr>
  <p:transition advTm="3000"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Slide Number Placeholder 37"/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/>
          <a:p>
            <a:fld id="{C136B7D2-B98C-44FD-8D04-7EC62A564975}" type="slidenum">
              <a:rPr lang="en-US" smtClean="0"/>
              <a:t>21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>
                <a:sym typeface="+mn-ea"/>
              </a:rPr>
              <a:t>客群筛选</a:t>
            </a:r>
            <a:r>
              <a:rPr lang="en-US" altLang="zh-CN" dirty="0">
                <a:sym typeface="+mn-ea"/>
              </a:rPr>
              <a:t>——</a:t>
            </a:r>
            <a:r>
              <a:rPr lang="zh-CN" altLang="en-US" dirty="0">
                <a:sym typeface="+mn-ea"/>
              </a:rPr>
              <a:t>配置筛选标签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113030" y="902335"/>
            <a:ext cx="8676005" cy="368300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indent="127000" algn="ctr"/>
            <a:r>
              <a:rPr lang="zh-CN" altLang="en-US" b="1">
                <a:latin typeface="Calibri" panose="020F0502020204030204" charset="0"/>
                <a:ea typeface="仿宋" panose="02010609060101010101" charset="-122"/>
              </a:rPr>
              <a:t>点击</a:t>
            </a:r>
            <a:r>
              <a:rPr lang="en-US" altLang="zh-CN" b="1">
                <a:latin typeface="Calibri" panose="020F0502020204030204" charset="0"/>
                <a:ea typeface="仿宋" panose="02010609060101010101" charset="-122"/>
              </a:rPr>
              <a:t>“</a:t>
            </a:r>
            <a:r>
              <a:rPr lang="zh-CN" altLang="en-US" b="1">
                <a:latin typeface="Calibri" panose="020F0502020204030204" charset="0"/>
                <a:ea typeface="仿宋" panose="02010609060101010101" charset="-122"/>
              </a:rPr>
              <a:t>客群筛选区</a:t>
            </a:r>
            <a:r>
              <a:rPr lang="en-US" altLang="zh-CN" b="1">
                <a:latin typeface="Calibri" panose="020F0502020204030204" charset="0"/>
                <a:ea typeface="仿宋" panose="02010609060101010101" charset="-122"/>
              </a:rPr>
              <a:t>”</a:t>
            </a:r>
            <a:r>
              <a:rPr lang="zh-CN" altLang="en-US" b="1">
                <a:latin typeface="Calibri" panose="020F0502020204030204" charset="0"/>
                <a:ea typeface="仿宋" panose="02010609060101010101" charset="-122"/>
              </a:rPr>
              <a:t>的</a:t>
            </a:r>
            <a:r>
              <a:rPr lang="en-US" altLang="zh-CN" b="1">
                <a:latin typeface="Calibri" panose="020F0502020204030204" charset="0"/>
                <a:ea typeface="仿宋" panose="02010609060101010101" charset="-122"/>
              </a:rPr>
              <a:t>“</a:t>
            </a:r>
            <a:r>
              <a:rPr lang="zh-CN" altLang="en-US" b="1">
                <a:latin typeface="Calibri" panose="020F0502020204030204" charset="0"/>
                <a:ea typeface="仿宋" panose="02010609060101010101" charset="-122"/>
              </a:rPr>
              <a:t>配置筛选标签</a:t>
            </a:r>
            <a:r>
              <a:rPr lang="en-US" altLang="zh-CN" b="1">
                <a:latin typeface="Calibri" panose="020F0502020204030204" charset="0"/>
                <a:ea typeface="仿宋" panose="02010609060101010101" charset="-122"/>
              </a:rPr>
              <a:t>”</a:t>
            </a:r>
            <a:r>
              <a:rPr lang="zh-CN" altLang="en-US" b="1">
                <a:latin typeface="Calibri" panose="020F0502020204030204" charset="0"/>
                <a:ea typeface="仿宋" panose="02010609060101010101" charset="-122"/>
              </a:rPr>
              <a:t>按钮进入配置页面</a:t>
            </a:r>
          </a:p>
        </p:txBody>
      </p:sp>
      <p:pic>
        <p:nvPicPr>
          <p:cNvPr id="9" name="图片 2" descr="IMG_25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80883" y="1450975"/>
            <a:ext cx="5213985" cy="1591945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</p:pic>
      <p:cxnSp>
        <p:nvCxnSpPr>
          <p:cNvPr id="5" name="直接连接符 4"/>
          <p:cNvCxnSpPr>
            <a:stCxn id="4" idx="3"/>
          </p:cNvCxnSpPr>
          <p:nvPr/>
        </p:nvCxnSpPr>
        <p:spPr>
          <a:xfrm flipV="1">
            <a:off x="1149350" y="2242185"/>
            <a:ext cx="1000125" cy="37401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图片 1" descr="IMG_256"/>
          <p:cNvPicPr>
            <a:picLocks noChangeAspect="1"/>
          </p:cNvPicPr>
          <p:nvPr/>
        </p:nvPicPr>
        <p:blipFill>
          <a:blip r:embed="rId4"/>
          <a:srcRect t="2309"/>
          <a:stretch>
            <a:fillRect/>
          </a:stretch>
        </p:blipFill>
        <p:spPr>
          <a:xfrm>
            <a:off x="1982470" y="3465830"/>
            <a:ext cx="5219700" cy="14236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</p:pic>
      <p:sp>
        <p:nvSpPr>
          <p:cNvPr id="12" name="文本框 11"/>
          <p:cNvSpPr txBox="1"/>
          <p:nvPr/>
        </p:nvSpPr>
        <p:spPr>
          <a:xfrm>
            <a:off x="299720" y="2681605"/>
            <a:ext cx="1261110" cy="7372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sz="1400">
                <a:solidFill>
                  <a:srgbClr val="FF0000"/>
                </a:solidFill>
                <a:sym typeface="+mn-ea"/>
              </a:rPr>
              <a:t>所有筛选标签都可任意勾选或取消</a:t>
            </a:r>
          </a:p>
        </p:txBody>
      </p:sp>
      <p:sp>
        <p:nvSpPr>
          <p:cNvPr id="13" name="文本框 12"/>
          <p:cNvSpPr txBox="1"/>
          <p:nvPr/>
        </p:nvSpPr>
        <p:spPr>
          <a:xfrm>
            <a:off x="7677785" y="2897505"/>
            <a:ext cx="1261110" cy="7372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sz="1400">
                <a:solidFill>
                  <a:srgbClr val="FF0000"/>
                </a:solidFill>
                <a:sym typeface="+mn-ea"/>
              </a:rPr>
              <a:t>可查看当前选中的筛选标签，确认后</a:t>
            </a:r>
            <a:r>
              <a:rPr lang="en-US" altLang="zh-CN" sz="1400">
                <a:solidFill>
                  <a:srgbClr val="FF0000"/>
                </a:solidFill>
                <a:sym typeface="+mn-ea"/>
              </a:rPr>
              <a:t>“</a:t>
            </a:r>
            <a:r>
              <a:rPr lang="zh-CN" altLang="en-US" sz="1400">
                <a:solidFill>
                  <a:srgbClr val="FF0000"/>
                </a:solidFill>
                <a:sym typeface="+mn-ea"/>
              </a:rPr>
              <a:t>提交</a:t>
            </a:r>
            <a:r>
              <a:rPr lang="en-US" altLang="zh-CN" sz="1400">
                <a:solidFill>
                  <a:srgbClr val="FF0000"/>
                </a:solidFill>
                <a:sym typeface="+mn-ea"/>
              </a:rPr>
              <a:t>”</a:t>
            </a:r>
          </a:p>
        </p:txBody>
      </p:sp>
      <p:cxnSp>
        <p:nvCxnSpPr>
          <p:cNvPr id="14" name="直接连接符 13"/>
          <p:cNvCxnSpPr/>
          <p:nvPr/>
        </p:nvCxnSpPr>
        <p:spPr>
          <a:xfrm flipV="1">
            <a:off x="6880860" y="3469640"/>
            <a:ext cx="806450" cy="71818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 advTm="3000"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Slide Number Placeholder 37"/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/>
          <a:p>
            <a:fld id="{C136B7D2-B98C-44FD-8D04-7EC62A564975}" type="slidenum">
              <a:rPr lang="en-US" smtClean="0"/>
              <a:t>22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>
                <a:sym typeface="+mn-ea"/>
              </a:rPr>
              <a:t>客群筛选</a:t>
            </a:r>
            <a:r>
              <a:rPr lang="en-US" altLang="zh-CN" dirty="0">
                <a:sym typeface="+mn-ea"/>
              </a:rPr>
              <a:t>——</a:t>
            </a:r>
            <a:r>
              <a:rPr lang="zh-CN" altLang="en-US" dirty="0">
                <a:sym typeface="+mn-ea"/>
              </a:rPr>
              <a:t>创建自定义分箱方案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56515" y="820420"/>
            <a:ext cx="8916035" cy="645160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indent="127000"/>
            <a:r>
              <a:rPr lang="zh-CN" b="1">
                <a:latin typeface="Calibri" panose="020F0502020204030204" charset="0"/>
                <a:ea typeface="仿宋" panose="02010609060101010101" charset="-122"/>
              </a:rPr>
              <a:t>所有数值型的筛选标签都采用了系统默认的自动分箱方案，如果用户需要自定义，则点击</a:t>
            </a:r>
            <a:r>
              <a:rPr lang="zh-CN" b="1">
                <a:latin typeface="Calibri" panose="020F0502020204030204" charset="0"/>
                <a:ea typeface="仿宋" panose="02010609060101010101" charset="-122"/>
                <a:cs typeface="Times New Roman" panose="02020603050405020304" charset="0"/>
              </a:rPr>
              <a:t>“创建新的分箱方案”</a:t>
            </a:r>
            <a:r>
              <a:rPr lang="zh-CN" b="1">
                <a:latin typeface="Calibri" panose="020F0502020204030204" charset="0"/>
                <a:ea typeface="仿宋" panose="02010609060101010101" charset="-122"/>
              </a:rPr>
              <a:t>按钮</a:t>
            </a:r>
            <a:endParaRPr lang="zh-CN" altLang="en-US" b="1"/>
          </a:p>
        </p:txBody>
      </p:sp>
      <p:pic>
        <p:nvPicPr>
          <p:cNvPr id="18" name="图片 4" descr="IMG_25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0350" y="1574165"/>
            <a:ext cx="4161790" cy="1102995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</p:pic>
      <p:pic>
        <p:nvPicPr>
          <p:cNvPr id="3" name="图片 3" descr="IMG_25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57270" y="2771140"/>
            <a:ext cx="4664710" cy="2258060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</p:pic>
      <p:sp>
        <p:nvSpPr>
          <p:cNvPr id="7" name="矩形 7"/>
          <p:cNvSpPr/>
          <p:nvPr/>
        </p:nvSpPr>
        <p:spPr>
          <a:xfrm>
            <a:off x="163830" y="2351405"/>
            <a:ext cx="1110615" cy="35941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cxnSp>
        <p:nvCxnSpPr>
          <p:cNvPr id="4" name="直接箭头连接符 3"/>
          <p:cNvCxnSpPr>
            <a:stCxn id="7" idx="2"/>
          </p:cNvCxnSpPr>
          <p:nvPr/>
        </p:nvCxnSpPr>
        <p:spPr>
          <a:xfrm>
            <a:off x="719455" y="2710815"/>
            <a:ext cx="2628900" cy="1184910"/>
          </a:xfrm>
          <a:prstGeom prst="straightConnector1">
            <a:avLst/>
          </a:prstGeom>
          <a:ln w="1905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 advTm="3000"/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Slide Number Placeholder 37"/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/>
          <a:p>
            <a:fld id="{C136B7D2-B98C-44FD-8D04-7EC62A564975}" type="slidenum">
              <a:rPr lang="en-US" smtClean="0"/>
              <a:t>23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>
                <a:sym typeface="+mn-ea"/>
              </a:rPr>
              <a:t>客群筛选</a:t>
            </a:r>
            <a:r>
              <a:rPr lang="en-US" altLang="zh-CN" dirty="0">
                <a:sym typeface="+mn-ea"/>
              </a:rPr>
              <a:t>——</a:t>
            </a:r>
            <a:r>
              <a:rPr lang="zh-CN" altLang="en-US" dirty="0">
                <a:sym typeface="+mn-ea"/>
              </a:rPr>
              <a:t>选择标签分组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1082675" y="903605"/>
            <a:ext cx="6972935" cy="368300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indent="127000"/>
            <a:r>
              <a:rPr lang="zh-CN" b="1">
                <a:latin typeface="Calibri" panose="020F0502020204030204" charset="0"/>
                <a:ea typeface="仿宋" panose="02010609060101010101" charset="-122"/>
              </a:rPr>
              <a:t>基于已经配置好的筛选标签，用户可以对标签分组进行自由选择</a:t>
            </a:r>
            <a:endParaRPr lang="zh-CN" altLang="en-US" b="1">
              <a:latin typeface="Calibri" panose="020F0502020204030204" charset="0"/>
              <a:ea typeface="仿宋" panose="02010609060101010101" charset="-122"/>
            </a:endParaRPr>
          </a:p>
        </p:txBody>
      </p:sp>
      <p:pic>
        <p:nvPicPr>
          <p:cNvPr id="34" name="图片 6" descr="IMG_25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96310" y="1580515"/>
            <a:ext cx="4512945" cy="3090545"/>
          </a:xfrm>
          <a:prstGeom prst="rect">
            <a:avLst/>
          </a:prstGeom>
          <a:noFill/>
          <a:ln w="9525">
            <a:noFill/>
          </a:ln>
        </p:spPr>
      </p:pic>
      <p:cxnSp>
        <p:nvCxnSpPr>
          <p:cNvPr id="5" name="直接连接符 4"/>
          <p:cNvCxnSpPr/>
          <p:nvPr/>
        </p:nvCxnSpPr>
        <p:spPr>
          <a:xfrm flipV="1">
            <a:off x="2513330" y="2520315"/>
            <a:ext cx="1652270" cy="45148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文本框 11"/>
          <p:cNvSpPr txBox="1"/>
          <p:nvPr/>
        </p:nvSpPr>
        <p:spPr>
          <a:xfrm>
            <a:off x="158750" y="2681605"/>
            <a:ext cx="2210435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sz="1400">
                <a:solidFill>
                  <a:srgbClr val="FF0000"/>
                </a:solidFill>
                <a:sym typeface="+mn-ea"/>
              </a:rPr>
              <a:t>对相应的标签分组进行点击，，使其呈现高亮状态</a:t>
            </a:r>
          </a:p>
        </p:txBody>
      </p:sp>
      <p:cxnSp>
        <p:nvCxnSpPr>
          <p:cNvPr id="3" name="直接连接符 2"/>
          <p:cNvCxnSpPr/>
          <p:nvPr/>
        </p:nvCxnSpPr>
        <p:spPr>
          <a:xfrm>
            <a:off x="2536190" y="3039110"/>
            <a:ext cx="1325245" cy="2927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直接连接符 3"/>
          <p:cNvCxnSpPr/>
          <p:nvPr/>
        </p:nvCxnSpPr>
        <p:spPr>
          <a:xfrm>
            <a:off x="2491105" y="3106420"/>
            <a:ext cx="2256155" cy="107061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 advTm="3000"/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Slide Number Placeholder 37"/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/>
          <a:p>
            <a:fld id="{C136B7D2-B98C-44FD-8D04-7EC62A564975}" type="slidenum">
              <a:rPr lang="en-US" smtClean="0"/>
              <a:t>24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>
                <a:sym typeface="+mn-ea"/>
              </a:rPr>
              <a:t>画像分析</a:t>
            </a:r>
            <a:r>
              <a:rPr lang="en-US" altLang="zh-CN" dirty="0">
                <a:sym typeface="+mn-ea"/>
              </a:rPr>
              <a:t>——</a:t>
            </a:r>
            <a:r>
              <a:rPr lang="zh-CN" altLang="en-US" dirty="0">
                <a:sym typeface="+mn-ea"/>
              </a:rPr>
              <a:t>配置分析标签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-15240" y="921385"/>
            <a:ext cx="9110980" cy="368300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indent="127000"/>
            <a:r>
              <a:rPr lang="zh-CN" b="1">
                <a:latin typeface="Calibri" panose="020F0502020204030204" charset="0"/>
                <a:ea typeface="仿宋" panose="02010609060101010101" charset="-122"/>
              </a:rPr>
              <a:t>分析标签是用于探索客户数量分布的维度指标，点击</a:t>
            </a:r>
            <a:r>
              <a:rPr lang="en-US" altLang="zh-CN" b="1">
                <a:latin typeface="Calibri" panose="020F0502020204030204" charset="0"/>
                <a:ea typeface="仿宋" panose="02010609060101010101" charset="-122"/>
              </a:rPr>
              <a:t>“</a:t>
            </a:r>
            <a:r>
              <a:rPr lang="zh-CN" altLang="en-US" b="1">
                <a:latin typeface="Calibri" panose="020F0502020204030204" charset="0"/>
                <a:ea typeface="仿宋" panose="02010609060101010101" charset="-122"/>
              </a:rPr>
              <a:t>配置分析标签</a:t>
            </a:r>
            <a:r>
              <a:rPr lang="en-US" altLang="zh-CN" b="1">
                <a:latin typeface="Calibri" panose="020F0502020204030204" charset="0"/>
                <a:ea typeface="仿宋" panose="02010609060101010101" charset="-122"/>
              </a:rPr>
              <a:t>”</a:t>
            </a:r>
            <a:r>
              <a:rPr lang="zh-CN" altLang="en-US" b="1">
                <a:latin typeface="Calibri" panose="020F0502020204030204" charset="0"/>
                <a:ea typeface="仿宋" panose="02010609060101010101" charset="-122"/>
              </a:rPr>
              <a:t>按钮进入配置页面</a:t>
            </a:r>
          </a:p>
        </p:txBody>
      </p:sp>
      <p:pic>
        <p:nvPicPr>
          <p:cNvPr id="4" name="图片 4" descr="IMG_25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25370" y="1358265"/>
            <a:ext cx="5195570" cy="2945765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</p:pic>
      <p:cxnSp>
        <p:nvCxnSpPr>
          <p:cNvPr id="5" name="直接连接符 4"/>
          <p:cNvCxnSpPr/>
          <p:nvPr/>
        </p:nvCxnSpPr>
        <p:spPr>
          <a:xfrm flipV="1">
            <a:off x="1421130" y="2189480"/>
            <a:ext cx="1043305" cy="71755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文本框 11"/>
          <p:cNvSpPr txBox="1"/>
          <p:nvPr/>
        </p:nvSpPr>
        <p:spPr>
          <a:xfrm>
            <a:off x="172720" y="2681605"/>
            <a:ext cx="1261110" cy="7372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sz="1400">
                <a:solidFill>
                  <a:srgbClr val="FF0000"/>
                </a:solidFill>
                <a:sym typeface="+mn-ea"/>
              </a:rPr>
              <a:t>所有分析标签都可任意勾选或取消</a:t>
            </a:r>
          </a:p>
        </p:txBody>
      </p:sp>
      <p:cxnSp>
        <p:nvCxnSpPr>
          <p:cNvPr id="3" name="直接连接符 2"/>
          <p:cNvCxnSpPr>
            <a:stCxn id="12" idx="3"/>
          </p:cNvCxnSpPr>
          <p:nvPr/>
        </p:nvCxnSpPr>
        <p:spPr>
          <a:xfrm>
            <a:off x="1433830" y="3050540"/>
            <a:ext cx="1003300" cy="55181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文本框 5"/>
          <p:cNvSpPr txBox="1"/>
          <p:nvPr/>
        </p:nvSpPr>
        <p:spPr>
          <a:xfrm>
            <a:off x="996315" y="4674235"/>
            <a:ext cx="7211060" cy="30670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indent="127000" algn="ctr"/>
            <a:r>
              <a:rPr lang="zh-CN" altLang="en-US" sz="1400" b="1">
                <a:solidFill>
                  <a:srgbClr val="FF0000"/>
                </a:solidFill>
                <a:latin typeface="Calibri" panose="020F0502020204030204" charset="0"/>
                <a:ea typeface="仿宋" panose="02010609060101010101" charset="-122"/>
              </a:rPr>
              <a:t>备注：同筛选标签类似，针对所有数值型的分析标签，用户也可以自定义分箱方案</a:t>
            </a:r>
          </a:p>
        </p:txBody>
      </p:sp>
    </p:spTree>
  </p:cSld>
  <p:clrMapOvr>
    <a:masterClrMapping/>
  </p:clrMapOvr>
  <p:transition advTm="3000"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Slide Number Placeholder 37"/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/>
          <a:p>
            <a:fld id="{C136B7D2-B98C-44FD-8D04-7EC62A564975}" type="slidenum">
              <a:rPr lang="en-US" smtClean="0"/>
              <a:t>25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>
                <a:sym typeface="+mn-ea"/>
              </a:rPr>
              <a:t>画像分析</a:t>
            </a:r>
            <a:r>
              <a:rPr lang="en-US" altLang="zh-CN" dirty="0">
                <a:sym typeface="+mn-ea"/>
              </a:rPr>
              <a:t>——</a:t>
            </a:r>
            <a:r>
              <a:rPr lang="zh-CN" altLang="en-US" dirty="0">
                <a:sym typeface="+mn-ea"/>
              </a:rPr>
              <a:t>计算结果和下载数据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54610" y="921385"/>
            <a:ext cx="9110980" cy="368300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indent="127000"/>
            <a:r>
              <a:rPr lang="en-US" altLang="zh-CN" b="1">
                <a:latin typeface="Calibri" panose="020F0502020204030204" charset="0"/>
                <a:ea typeface="仿宋" panose="02010609060101010101" charset="-122"/>
              </a:rPr>
              <a:t>1.</a:t>
            </a:r>
            <a:r>
              <a:rPr lang="zh-CN" altLang="en-US" b="1">
                <a:latin typeface="Calibri" panose="020F0502020204030204" charset="0"/>
                <a:ea typeface="仿宋" panose="02010609060101010101" charset="-122"/>
              </a:rPr>
              <a:t>筛选标签和分析标签确定后，点击</a:t>
            </a:r>
            <a:r>
              <a:rPr lang="en-US" altLang="zh-CN" b="1">
                <a:latin typeface="Calibri" panose="020F0502020204030204" charset="0"/>
                <a:ea typeface="仿宋" panose="02010609060101010101" charset="-122"/>
              </a:rPr>
              <a:t>“</a:t>
            </a:r>
            <a:r>
              <a:rPr lang="zh-CN" altLang="en-US" b="1">
                <a:latin typeface="Calibri" panose="020F0502020204030204" charset="0"/>
                <a:ea typeface="仿宋" panose="02010609060101010101" charset="-122"/>
              </a:rPr>
              <a:t>计算并更新客户画像分析区</a:t>
            </a:r>
            <a:r>
              <a:rPr lang="en-US" altLang="zh-CN" b="1">
                <a:latin typeface="Calibri" panose="020F0502020204030204" charset="0"/>
                <a:ea typeface="仿宋" panose="02010609060101010101" charset="-122"/>
              </a:rPr>
              <a:t>”</a:t>
            </a:r>
            <a:r>
              <a:rPr lang="zh-CN" altLang="en-US" b="1">
                <a:latin typeface="Calibri" panose="020F0502020204030204" charset="0"/>
                <a:ea typeface="仿宋" panose="02010609060101010101" charset="-122"/>
              </a:rPr>
              <a:t>得到结果：</a:t>
            </a:r>
          </a:p>
        </p:txBody>
      </p:sp>
      <p:sp>
        <p:nvSpPr>
          <p:cNvPr id="12" name="文本框 11"/>
          <p:cNvSpPr txBox="1"/>
          <p:nvPr/>
        </p:nvSpPr>
        <p:spPr>
          <a:xfrm>
            <a:off x="131445" y="2613660"/>
            <a:ext cx="1261110" cy="9531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sz="1400">
                <a:solidFill>
                  <a:srgbClr val="FF0000"/>
                </a:solidFill>
                <a:sym typeface="+mn-ea"/>
              </a:rPr>
              <a:t>图形区：显示每个分析标签下的客户数量分布柱状图</a:t>
            </a:r>
          </a:p>
        </p:txBody>
      </p:sp>
      <p:pic>
        <p:nvPicPr>
          <p:cNvPr id="7" name="图片 5" descr="IMG_25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20278" y="1501140"/>
            <a:ext cx="4365625" cy="2695575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8" name="文本框 7"/>
          <p:cNvSpPr txBox="1"/>
          <p:nvPr/>
        </p:nvSpPr>
        <p:spPr>
          <a:xfrm>
            <a:off x="6485255" y="1530985"/>
            <a:ext cx="1612265" cy="3067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sz="1400">
                <a:solidFill>
                  <a:srgbClr val="FF0000"/>
                </a:solidFill>
                <a:sym typeface="+mn-ea"/>
              </a:rPr>
              <a:t>筛选后的客户数量</a:t>
            </a:r>
          </a:p>
        </p:txBody>
      </p:sp>
      <p:sp>
        <p:nvSpPr>
          <p:cNvPr id="9" name="矩形 7"/>
          <p:cNvSpPr/>
          <p:nvPr/>
        </p:nvSpPr>
        <p:spPr>
          <a:xfrm>
            <a:off x="4517390" y="1412240"/>
            <a:ext cx="1063625" cy="35941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0" name="矩形 7"/>
          <p:cNvSpPr/>
          <p:nvPr/>
        </p:nvSpPr>
        <p:spPr>
          <a:xfrm>
            <a:off x="2244090" y="2087245"/>
            <a:ext cx="4436745" cy="209677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cxnSp>
        <p:nvCxnSpPr>
          <p:cNvPr id="11" name="直接连接符 10"/>
          <p:cNvCxnSpPr>
            <a:stCxn id="9" idx="3"/>
            <a:endCxn id="8" idx="1"/>
          </p:cNvCxnSpPr>
          <p:nvPr/>
        </p:nvCxnSpPr>
        <p:spPr>
          <a:xfrm>
            <a:off x="5581015" y="1591945"/>
            <a:ext cx="904240" cy="9271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文本框 12"/>
          <p:cNvSpPr txBox="1"/>
          <p:nvPr/>
        </p:nvSpPr>
        <p:spPr>
          <a:xfrm>
            <a:off x="50165" y="4526280"/>
            <a:ext cx="9110980" cy="368300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indent="127000"/>
            <a:r>
              <a:rPr lang="en-US" altLang="zh-CN" b="1">
                <a:latin typeface="Calibri" panose="020F0502020204030204" charset="0"/>
                <a:ea typeface="仿宋" panose="02010609060101010101" charset="-122"/>
              </a:rPr>
              <a:t>2.</a:t>
            </a:r>
            <a:r>
              <a:rPr lang="zh-CN" altLang="en-US" b="1">
                <a:latin typeface="Calibri" panose="020F0502020204030204" charset="0"/>
                <a:ea typeface="仿宋" panose="02010609060101010101" charset="-122"/>
              </a:rPr>
              <a:t>如果需下载客户联系方式，则选择</a:t>
            </a:r>
            <a:r>
              <a:rPr lang="en-US" altLang="zh-CN" b="1">
                <a:latin typeface="Calibri" panose="020F0502020204030204" charset="0"/>
                <a:ea typeface="仿宋" panose="02010609060101010101" charset="-122"/>
              </a:rPr>
              <a:t>“</a:t>
            </a:r>
            <a:r>
              <a:rPr lang="zh-CN" altLang="en-US" b="1">
                <a:latin typeface="Calibri" panose="020F0502020204030204" charset="0"/>
                <a:ea typeface="仿宋" panose="02010609060101010101" charset="-122"/>
              </a:rPr>
              <a:t>下载当前选中客户清单数据</a:t>
            </a:r>
            <a:r>
              <a:rPr lang="en-US" altLang="zh-CN" b="1">
                <a:latin typeface="Calibri" panose="020F0502020204030204" charset="0"/>
                <a:ea typeface="仿宋" panose="02010609060101010101" charset="-122"/>
              </a:rPr>
              <a:t>”</a:t>
            </a:r>
          </a:p>
        </p:txBody>
      </p:sp>
      <p:cxnSp>
        <p:nvCxnSpPr>
          <p:cNvPr id="14" name="直接连接符 13"/>
          <p:cNvCxnSpPr/>
          <p:nvPr/>
        </p:nvCxnSpPr>
        <p:spPr>
          <a:xfrm flipV="1">
            <a:off x="1427480" y="2839085"/>
            <a:ext cx="878840" cy="20891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 advTm="3000"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1747520" y="2572385"/>
            <a:ext cx="2785745" cy="746125"/>
          </a:xfrm>
        </p:spPr>
        <p:txBody>
          <a:bodyPr>
            <a:normAutofit fontScale="90000"/>
          </a:bodyPr>
          <a:lstStyle/>
          <a:p>
            <a:r>
              <a:rPr lang="zh-CN" altLang="en-US" sz="2800" dirty="0">
                <a:solidFill>
                  <a:schemeClr val="accent3">
                    <a:lumMod val="50000"/>
                  </a:schemeClr>
                </a:solidFill>
              </a:rPr>
              <a:t>后续迭代开发计划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3834765" y="1017905"/>
            <a:ext cx="756285" cy="640080"/>
          </a:xfrm>
          <a:prstGeom prst="rect">
            <a:avLst/>
          </a:prstGeom>
          <a:noFill/>
          <a:ln w="117475">
            <a:noFill/>
          </a:ln>
        </p:spPr>
        <p:txBody>
          <a:bodyPr wrap="square" rtlCol="0">
            <a:prstTxWarp prst="textPlain">
              <a:avLst/>
            </a:prstTxWarp>
            <a:spAutoFit/>
          </a:bodyPr>
          <a:lstStyle/>
          <a:p>
            <a:r>
              <a:rPr lang="en-US" altLang="zh-CN" sz="1200" spc="75" dirty="0">
                <a:solidFill>
                  <a:schemeClr val="accent3">
                    <a:lumMod val="50000"/>
                  </a:schemeClr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4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后续迭代开发计划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873125" y="1183005"/>
            <a:ext cx="6162675" cy="347662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 sz="2000"/>
              <a:t>1. 视图管理与分享功能</a:t>
            </a:r>
          </a:p>
          <a:p>
            <a:endParaRPr lang="zh-CN" altLang="en-US" sz="2000"/>
          </a:p>
          <a:p>
            <a:r>
              <a:rPr lang="zh-CN" altLang="en-US" sz="2000"/>
              <a:t>2. 客群自动化比较分析</a:t>
            </a:r>
          </a:p>
          <a:p>
            <a:endParaRPr lang="zh-CN" altLang="en-US" sz="2000"/>
          </a:p>
          <a:p>
            <a:r>
              <a:rPr lang="zh-CN" altLang="en-US" sz="2000"/>
              <a:t>3. ui界面优化</a:t>
            </a:r>
          </a:p>
          <a:p>
            <a:endParaRPr lang="zh-CN" altLang="en-US" sz="2000"/>
          </a:p>
          <a:p>
            <a:r>
              <a:rPr lang="zh-CN" altLang="en-US" sz="2000"/>
              <a:t>4. 下载客群分析数据</a:t>
            </a:r>
          </a:p>
          <a:p>
            <a:endParaRPr lang="zh-CN" altLang="en-US" sz="2000"/>
          </a:p>
          <a:p>
            <a:r>
              <a:rPr lang="zh-CN" altLang="en-US" sz="2000"/>
              <a:t>5. 版本更新历史</a:t>
            </a:r>
          </a:p>
          <a:p>
            <a:endParaRPr lang="zh-CN" altLang="en-US" sz="2000"/>
          </a:p>
          <a:p>
            <a:r>
              <a:rPr lang="zh-CN" altLang="en-US" sz="2000"/>
              <a:t>6. 多数据宽表管理功能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1313180" y="2572385"/>
            <a:ext cx="3321685" cy="746125"/>
          </a:xfrm>
        </p:spPr>
        <p:txBody>
          <a:bodyPr>
            <a:normAutofit/>
          </a:bodyPr>
          <a:lstStyle/>
          <a:p>
            <a:r>
              <a:rPr lang="zh-CN" altLang="en-US" sz="2800" dirty="0">
                <a:solidFill>
                  <a:schemeClr val="accent3">
                    <a:lumMod val="50000"/>
                  </a:schemeClr>
                </a:solidFill>
              </a:rPr>
              <a:t>访问权限申请流程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3834765" y="1017905"/>
            <a:ext cx="756285" cy="640080"/>
          </a:xfrm>
          <a:prstGeom prst="rect">
            <a:avLst/>
          </a:prstGeom>
          <a:noFill/>
          <a:ln w="117475">
            <a:noFill/>
          </a:ln>
        </p:spPr>
        <p:txBody>
          <a:bodyPr wrap="square" rtlCol="0">
            <a:prstTxWarp prst="textPlain">
              <a:avLst/>
            </a:prstTxWarp>
            <a:spAutoFit/>
          </a:bodyPr>
          <a:lstStyle/>
          <a:p>
            <a:r>
              <a:rPr lang="en-US" altLang="zh-CN" sz="1200" spc="75" dirty="0">
                <a:solidFill>
                  <a:schemeClr val="accent3">
                    <a:lumMod val="50000"/>
                  </a:schemeClr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5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Slide Number Placeholder 37"/>
          <p:cNvSpPr>
            <a:spLocks noGrp="1"/>
          </p:cNvSpPr>
          <p:nvPr>
            <p:ph type="sldNum" sz="quarter" idx="12"/>
          </p:nvPr>
        </p:nvSpPr>
        <p:spPr>
          <a:xfrm>
            <a:off x="6450964" y="4681167"/>
            <a:ext cx="2182416" cy="154813"/>
          </a:xfrm>
          <a:prstGeom prst="rect">
            <a:avLst/>
          </a:prstGeom>
        </p:spPr>
        <p:txBody>
          <a:bodyPr/>
          <a:lstStyle/>
          <a:p>
            <a:fld id="{C136B7D2-B98C-44FD-8D04-7EC62A564975}" type="slidenum">
              <a:rPr lang="en-US" smtClean="0"/>
              <a:t>29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1649" y="2"/>
            <a:ext cx="8137922" cy="771659"/>
          </a:xfrm>
        </p:spPr>
        <p:txBody>
          <a:bodyPr>
            <a:normAutofit/>
          </a:bodyPr>
          <a:lstStyle/>
          <a:p>
            <a:r>
              <a:rPr lang="zh-CN" altLang="en-US" dirty="0">
                <a:sym typeface="+mn-ea"/>
              </a:rPr>
              <a:t>访问权限申请流程</a:t>
            </a:r>
            <a:r>
              <a:rPr lang="en-US" altLang="zh-CN" dirty="0">
                <a:sym typeface="+mn-ea"/>
              </a:rPr>
              <a:t>——</a:t>
            </a:r>
            <a:r>
              <a:rPr lang="zh-CN" altLang="en-US" dirty="0">
                <a:sym typeface="+mn-ea"/>
              </a:rPr>
              <a:t>线上和线下结合</a:t>
            </a:r>
          </a:p>
        </p:txBody>
      </p:sp>
      <p:pic>
        <p:nvPicPr>
          <p:cNvPr id="12" name="图片 11" descr="大数据分析平台首页截图"/>
          <p:cNvPicPr>
            <a:picLocks noChangeAspect="1"/>
          </p:cNvPicPr>
          <p:nvPr/>
        </p:nvPicPr>
        <p:blipFill>
          <a:blip r:embed="rId4"/>
          <a:srcRect t="26698"/>
          <a:stretch>
            <a:fillRect/>
          </a:stretch>
        </p:blipFill>
        <p:spPr>
          <a:xfrm>
            <a:off x="4670425" y="2254250"/>
            <a:ext cx="3420745" cy="1426210"/>
          </a:xfrm>
          <a:prstGeom prst="rect">
            <a:avLst/>
          </a:prstGeom>
          <a:ln w="15875">
            <a:solidFill>
              <a:srgbClr val="FF0000"/>
            </a:solidFill>
            <a:prstDash val="dash"/>
          </a:ln>
        </p:spPr>
      </p:pic>
      <p:sp>
        <p:nvSpPr>
          <p:cNvPr id="7" name="矩形 7"/>
          <p:cNvSpPr/>
          <p:nvPr/>
        </p:nvSpPr>
        <p:spPr>
          <a:xfrm>
            <a:off x="5777865" y="3334385"/>
            <a:ext cx="1193800" cy="277495"/>
          </a:xfrm>
          <a:prstGeom prst="rect">
            <a:avLst/>
          </a:prstGeom>
          <a:noFill/>
          <a:ln w="28575" cmpd="sng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" name="文本框 2"/>
          <p:cNvSpPr txBox="1"/>
          <p:nvPr/>
        </p:nvSpPr>
        <p:spPr>
          <a:xfrm>
            <a:off x="850265" y="1085215"/>
            <a:ext cx="2609850" cy="398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b="1">
                <a:latin typeface="仿宋" panose="02010609060101010101" charset="-122"/>
                <a:ea typeface="仿宋" panose="02010609060101010101" charset="-122"/>
                <a:cs typeface="仿宋" panose="02010609060101010101" charset="-122"/>
              </a:rPr>
              <a:t>申请</a:t>
            </a:r>
            <a:r>
              <a:rPr lang="en-US" altLang="zh-CN" sz="2000" b="1">
                <a:latin typeface="仿宋" panose="02010609060101010101" charset="-122"/>
                <a:ea typeface="仿宋" panose="02010609060101010101" charset="-122"/>
                <a:cs typeface="仿宋" panose="02010609060101010101" charset="-122"/>
              </a:rPr>
              <a:t>SAS</a:t>
            </a:r>
            <a:r>
              <a:rPr lang="zh-CN" altLang="en-US" sz="2000" b="1">
                <a:latin typeface="仿宋" panose="02010609060101010101" charset="-122"/>
                <a:ea typeface="仿宋" panose="02010609060101010101" charset="-122"/>
                <a:cs typeface="仿宋" panose="02010609060101010101" charset="-122"/>
              </a:rPr>
              <a:t>用户线下流程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553720" y="2807970"/>
            <a:ext cx="3246120" cy="398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b="1">
                <a:latin typeface="仿宋" panose="02010609060101010101" charset="-122"/>
                <a:ea typeface="仿宋" panose="02010609060101010101" charset="-122"/>
                <a:cs typeface="仿宋" panose="02010609060101010101" charset="-122"/>
              </a:rPr>
              <a:t>申请系统访问权限线上流程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575310" y="4617085"/>
            <a:ext cx="3246120" cy="398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b="1">
                <a:latin typeface="仿宋" panose="02010609060101010101" charset="-122"/>
                <a:ea typeface="仿宋" panose="02010609060101010101" charset="-122"/>
                <a:cs typeface="仿宋" panose="02010609060101010101" charset="-122"/>
              </a:rPr>
              <a:t>申请系统访问权限线下流程</a:t>
            </a:r>
          </a:p>
        </p:txBody>
      </p:sp>
      <p:sp>
        <p:nvSpPr>
          <p:cNvPr id="8" name="下箭头 7"/>
          <p:cNvSpPr/>
          <p:nvPr/>
        </p:nvSpPr>
        <p:spPr>
          <a:xfrm>
            <a:off x="2003425" y="1788795"/>
            <a:ext cx="386080" cy="718185"/>
          </a:xfrm>
          <a:prstGeom prst="down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下箭头 8"/>
          <p:cNvSpPr/>
          <p:nvPr/>
        </p:nvSpPr>
        <p:spPr>
          <a:xfrm>
            <a:off x="2014220" y="3604895"/>
            <a:ext cx="386080" cy="718185"/>
          </a:xfrm>
          <a:prstGeom prst="down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0" name="图片 9" descr="DFAB1468-9BA7-4CB9-AF8F-C41B63F7179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69790" y="877570"/>
            <a:ext cx="3414395" cy="1195070"/>
          </a:xfrm>
          <a:prstGeom prst="rect">
            <a:avLst/>
          </a:prstGeom>
          <a:ln w="15875">
            <a:solidFill>
              <a:srgbClr val="FF0000"/>
            </a:solidFill>
            <a:prstDash val="dash"/>
          </a:ln>
        </p:spPr>
      </p:pic>
      <p:pic>
        <p:nvPicPr>
          <p:cNvPr id="11" name="图片 10" descr="57DAE02F-0329-4BEF-90A7-BC69E20C275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663440" y="3848735"/>
            <a:ext cx="3405505" cy="1270635"/>
          </a:xfrm>
          <a:prstGeom prst="rect">
            <a:avLst/>
          </a:prstGeom>
          <a:ln w="15875">
            <a:solidFill>
              <a:srgbClr val="FF0000"/>
            </a:solidFill>
            <a:prstDash val="dash"/>
          </a:ln>
        </p:spPr>
      </p:pic>
      <p:sp>
        <p:nvSpPr>
          <p:cNvPr id="13" name="右箭头 12"/>
          <p:cNvSpPr/>
          <p:nvPr/>
        </p:nvSpPr>
        <p:spPr>
          <a:xfrm>
            <a:off x="4083050" y="1167130"/>
            <a:ext cx="418465" cy="278765"/>
          </a:xfrm>
          <a:prstGeom prst="righ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右箭头 13"/>
          <p:cNvSpPr/>
          <p:nvPr/>
        </p:nvSpPr>
        <p:spPr>
          <a:xfrm>
            <a:off x="4081145" y="2837815"/>
            <a:ext cx="418465" cy="278765"/>
          </a:xfrm>
          <a:prstGeom prst="righ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右箭头 14"/>
          <p:cNvSpPr/>
          <p:nvPr/>
        </p:nvSpPr>
        <p:spPr>
          <a:xfrm>
            <a:off x="4070350" y="4638675"/>
            <a:ext cx="418465" cy="278765"/>
          </a:xfrm>
          <a:prstGeom prst="righ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aphicFrame>
        <p:nvGraphicFramePr>
          <p:cNvPr id="16" name="对象 15">
            <a:hlinkClick r:id="" action="ppaction://ole?verb=0"/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511217344"/>
              </p:ext>
            </p:extLst>
          </p:nvPr>
        </p:nvGraphicFramePr>
        <p:xfrm>
          <a:off x="8077200" y="3845560"/>
          <a:ext cx="971550" cy="8001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7" name="文档" showAsIcon="1" r:id="rId7" imgW="971640" imgH="800280" progId="Word.Document.12">
                  <p:embed/>
                </p:oleObj>
              </mc:Choice>
              <mc:Fallback>
                <p:oleObj name="文档" showAsIcon="1" r:id="rId7" imgW="971640" imgH="800280" progId="Word.Document.12">
                  <p:embed/>
                  <p:pic>
                    <p:nvPicPr>
                      <p:cNvPr id="0" name="图片 1024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8077200" y="3845560"/>
                        <a:ext cx="971550" cy="8001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7" name="对象 16">
            <a:hlinkClick r:id="" action="ppaction://ole?verb=0"/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435888619"/>
              </p:ext>
            </p:extLst>
          </p:nvPr>
        </p:nvGraphicFramePr>
        <p:xfrm>
          <a:off x="8138160" y="1014095"/>
          <a:ext cx="971550" cy="8001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" name="Document" showAsIcon="1" r:id="rId9" imgW="971550" imgH="800100" progId="Word.Document.8">
                  <p:embed/>
                </p:oleObj>
              </mc:Choice>
              <mc:Fallback>
                <p:oleObj name="Document" showAsIcon="1" r:id="rId9" imgW="971550" imgH="800100" progId="Word.Document.8">
                  <p:embed/>
                  <p:pic>
                    <p:nvPicPr>
                      <p:cNvPr id="0" name="图片 1025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8138160" y="1014095"/>
                        <a:ext cx="971550" cy="8001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ransition advTm="3000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292735" y="2563495"/>
            <a:ext cx="4920615" cy="746125"/>
          </a:xfrm>
        </p:spPr>
        <p:txBody>
          <a:bodyPr>
            <a:normAutofit/>
          </a:bodyPr>
          <a:lstStyle/>
          <a:p>
            <a:pPr algn="l">
              <a:buClrTx/>
              <a:buSzTx/>
              <a:buFontTx/>
            </a:pPr>
            <a:r>
              <a:rPr lang="zh-CN" altLang="en-US" sz="2800" dirty="0">
                <a:solidFill>
                  <a:schemeClr val="accent3">
                    <a:lumMod val="50000"/>
                  </a:schemeClr>
                </a:solidFill>
              </a:rPr>
              <a:t>重庆农商大数据分析平台介绍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3807460" y="1007110"/>
            <a:ext cx="756285" cy="629285"/>
          </a:xfrm>
          <a:prstGeom prst="rect">
            <a:avLst/>
          </a:prstGeom>
          <a:noFill/>
          <a:ln w="117475">
            <a:noFill/>
          </a:ln>
        </p:spPr>
        <p:txBody>
          <a:bodyPr wrap="square" rtlCol="0">
            <a:prstTxWarp prst="textPlain">
              <a:avLst/>
            </a:prstTxWarp>
            <a:spAutoFit/>
          </a:bodyPr>
          <a:lstStyle/>
          <a:p>
            <a:r>
              <a:rPr lang="en-US" altLang="zh-CN" sz="1200" spc="75" dirty="0">
                <a:solidFill>
                  <a:schemeClr val="accent3">
                    <a:lumMod val="50000"/>
                  </a:schemeClr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1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900430" y="2572385"/>
            <a:ext cx="3836035" cy="746125"/>
          </a:xfrm>
        </p:spPr>
        <p:txBody>
          <a:bodyPr>
            <a:normAutofit fontScale="90000"/>
          </a:bodyPr>
          <a:lstStyle/>
          <a:p>
            <a:r>
              <a:rPr lang="zh-CN" altLang="en-US" sz="2800" dirty="0">
                <a:solidFill>
                  <a:schemeClr val="accent3">
                    <a:lumMod val="50000"/>
                  </a:schemeClr>
                </a:solidFill>
              </a:rPr>
              <a:t>开发需求受理与技术支持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3834765" y="1017905"/>
            <a:ext cx="756285" cy="640080"/>
          </a:xfrm>
          <a:prstGeom prst="rect">
            <a:avLst/>
          </a:prstGeom>
          <a:noFill/>
          <a:ln w="117475">
            <a:noFill/>
          </a:ln>
        </p:spPr>
        <p:txBody>
          <a:bodyPr wrap="square" rtlCol="0">
            <a:prstTxWarp prst="textPlain">
              <a:avLst/>
            </a:prstTxWarp>
            <a:spAutoFit/>
          </a:bodyPr>
          <a:lstStyle/>
          <a:p>
            <a:r>
              <a:rPr lang="en-US" altLang="zh-CN" sz="1200" spc="75" dirty="0">
                <a:solidFill>
                  <a:schemeClr val="accent3">
                    <a:lumMod val="50000"/>
                  </a:schemeClr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6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 smtClean="0"/>
              <a:t>大数据中心开发需求</a:t>
            </a:r>
            <a:r>
              <a:rPr lang="zh-CN" altLang="en-US" dirty="0"/>
              <a:t>受理</a:t>
            </a:r>
            <a:r>
              <a:rPr lang="zh-CN" altLang="en-US" dirty="0" smtClean="0"/>
              <a:t>流程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DD3DB80-B894-403A-B48E-6FDC1A72010E}" type="slidenum">
              <a:rPr lang="zh-CN" altLang="en-US" sz="425" smtClean="0">
                <a:solidFill>
                  <a:srgbClr val="000000"/>
                </a:solidFill>
              </a:rPr>
              <a:t>31</a:t>
            </a:fld>
            <a:endParaRPr lang="zh-CN" altLang="en-US" sz="425">
              <a:solidFill>
                <a:srgbClr val="000000"/>
              </a:solidFill>
            </a:endParaRPr>
          </a:p>
        </p:txBody>
      </p:sp>
      <p:grpSp>
        <p:nvGrpSpPr>
          <p:cNvPr id="5" name="247996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181440" y="1069990"/>
            <a:ext cx="8793049" cy="4059390"/>
            <a:chOff x="241920" y="1474355"/>
            <a:chExt cx="11724066" cy="5412520"/>
          </a:xfrm>
        </p:grpSpPr>
        <p:grpSp>
          <p:nvGrpSpPr>
            <p:cNvPr id="6" name="í$1îḋé"/>
            <p:cNvGrpSpPr/>
            <p:nvPr/>
          </p:nvGrpSpPr>
          <p:grpSpPr>
            <a:xfrm>
              <a:off x="2568048" y="2203654"/>
              <a:ext cx="7061206" cy="2826514"/>
              <a:chOff x="2565397" y="2306343"/>
              <a:chExt cx="7061206" cy="2826514"/>
            </a:xfrm>
          </p:grpSpPr>
          <p:sp>
            <p:nvSpPr>
              <p:cNvPr id="37" name="ïśḷiḍé"/>
              <p:cNvSpPr/>
              <p:nvPr/>
            </p:nvSpPr>
            <p:spPr bwMode="auto">
              <a:xfrm>
                <a:off x="8215886" y="2306343"/>
                <a:ext cx="1410717" cy="2257144"/>
              </a:xfrm>
              <a:custGeom>
                <a:avLst/>
                <a:gdLst>
                  <a:gd name="T0" fmla="*/ 322 w 323"/>
                  <a:gd name="T1" fmla="*/ 313 h 516"/>
                  <a:gd name="T2" fmla="*/ 0 w 323"/>
                  <a:gd name="T3" fmla="*/ 0 h 516"/>
                  <a:gd name="T4" fmla="*/ 0 w 323"/>
                  <a:gd name="T5" fmla="*/ 161 h 516"/>
                  <a:gd name="T6" fmla="*/ 161 w 323"/>
                  <a:gd name="T7" fmla="*/ 313 h 516"/>
                  <a:gd name="T8" fmla="*/ 161 w 323"/>
                  <a:gd name="T9" fmla="*/ 320 h 516"/>
                  <a:gd name="T10" fmla="*/ 161 w 323"/>
                  <a:gd name="T11" fmla="*/ 428 h 516"/>
                  <a:gd name="T12" fmla="*/ 161 w 323"/>
                  <a:gd name="T13" fmla="*/ 441 h 516"/>
                  <a:gd name="T14" fmla="*/ 242 w 323"/>
                  <a:gd name="T15" fmla="*/ 516 h 516"/>
                  <a:gd name="T16" fmla="*/ 323 w 323"/>
                  <a:gd name="T17" fmla="*/ 441 h 516"/>
                  <a:gd name="T18" fmla="*/ 323 w 323"/>
                  <a:gd name="T19" fmla="*/ 428 h 516"/>
                  <a:gd name="T20" fmla="*/ 323 w 323"/>
                  <a:gd name="T21" fmla="*/ 320 h 516"/>
                  <a:gd name="T22" fmla="*/ 322 w 323"/>
                  <a:gd name="T23" fmla="*/ 313 h 5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23" h="516">
                    <a:moveTo>
                      <a:pt x="322" y="313"/>
                    </a:moveTo>
                    <a:cubicBezTo>
                      <a:pt x="317" y="139"/>
                      <a:pt x="174" y="0"/>
                      <a:pt x="0" y="0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86" y="161"/>
                      <a:pt x="156" y="228"/>
                      <a:pt x="161" y="313"/>
                    </a:cubicBezTo>
                    <a:cubicBezTo>
                      <a:pt x="161" y="315"/>
                      <a:pt x="161" y="318"/>
                      <a:pt x="161" y="320"/>
                    </a:cubicBezTo>
                    <a:cubicBezTo>
                      <a:pt x="161" y="428"/>
                      <a:pt x="161" y="428"/>
                      <a:pt x="161" y="428"/>
                    </a:cubicBezTo>
                    <a:cubicBezTo>
                      <a:pt x="161" y="441"/>
                      <a:pt x="161" y="441"/>
                      <a:pt x="161" y="441"/>
                    </a:cubicBezTo>
                    <a:cubicBezTo>
                      <a:pt x="242" y="516"/>
                      <a:pt x="242" y="516"/>
                      <a:pt x="242" y="516"/>
                    </a:cubicBezTo>
                    <a:cubicBezTo>
                      <a:pt x="323" y="441"/>
                      <a:pt x="323" y="441"/>
                      <a:pt x="323" y="441"/>
                    </a:cubicBezTo>
                    <a:cubicBezTo>
                      <a:pt x="323" y="428"/>
                      <a:pt x="323" y="428"/>
                      <a:pt x="323" y="428"/>
                    </a:cubicBezTo>
                    <a:cubicBezTo>
                      <a:pt x="323" y="320"/>
                      <a:pt x="323" y="320"/>
                      <a:pt x="323" y="320"/>
                    </a:cubicBezTo>
                    <a:cubicBezTo>
                      <a:pt x="323" y="317"/>
                      <a:pt x="322" y="315"/>
                      <a:pt x="322" y="3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normAutofit/>
              </a:bodyPr>
              <a:lstStyle/>
              <a:p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38" name="îš1îdê"/>
              <p:cNvSpPr/>
              <p:nvPr/>
            </p:nvSpPr>
            <p:spPr bwMode="auto">
              <a:xfrm>
                <a:off x="2565397" y="2306343"/>
                <a:ext cx="1410717" cy="2257144"/>
              </a:xfrm>
              <a:custGeom>
                <a:avLst/>
                <a:gdLst>
                  <a:gd name="T0" fmla="*/ 0 w 323"/>
                  <a:gd name="T1" fmla="*/ 323 h 516"/>
                  <a:gd name="T2" fmla="*/ 0 w 323"/>
                  <a:gd name="T3" fmla="*/ 323 h 516"/>
                  <a:gd name="T4" fmla="*/ 0 w 323"/>
                  <a:gd name="T5" fmla="*/ 428 h 516"/>
                  <a:gd name="T6" fmla="*/ 0 w 323"/>
                  <a:gd name="T7" fmla="*/ 441 h 516"/>
                  <a:gd name="T8" fmla="*/ 81 w 323"/>
                  <a:gd name="T9" fmla="*/ 516 h 516"/>
                  <a:gd name="T10" fmla="*/ 162 w 323"/>
                  <a:gd name="T11" fmla="*/ 441 h 516"/>
                  <a:gd name="T12" fmla="*/ 162 w 323"/>
                  <a:gd name="T13" fmla="*/ 428 h 516"/>
                  <a:gd name="T14" fmla="*/ 162 w 323"/>
                  <a:gd name="T15" fmla="*/ 320 h 516"/>
                  <a:gd name="T16" fmla="*/ 161 w 323"/>
                  <a:gd name="T17" fmla="*/ 310 h 516"/>
                  <a:gd name="T18" fmla="*/ 323 w 323"/>
                  <a:gd name="T19" fmla="*/ 161 h 516"/>
                  <a:gd name="T20" fmla="*/ 323 w 323"/>
                  <a:gd name="T21" fmla="*/ 0 h 516"/>
                  <a:gd name="T22" fmla="*/ 0 w 323"/>
                  <a:gd name="T23" fmla="*/ 323 h 5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23" h="516">
                    <a:moveTo>
                      <a:pt x="0" y="323"/>
                    </a:moveTo>
                    <a:cubicBezTo>
                      <a:pt x="0" y="323"/>
                      <a:pt x="0" y="323"/>
                      <a:pt x="0" y="323"/>
                    </a:cubicBezTo>
                    <a:cubicBezTo>
                      <a:pt x="0" y="428"/>
                      <a:pt x="0" y="428"/>
                      <a:pt x="0" y="428"/>
                    </a:cubicBezTo>
                    <a:cubicBezTo>
                      <a:pt x="0" y="441"/>
                      <a:pt x="0" y="441"/>
                      <a:pt x="0" y="441"/>
                    </a:cubicBezTo>
                    <a:cubicBezTo>
                      <a:pt x="81" y="516"/>
                      <a:pt x="81" y="516"/>
                      <a:pt x="81" y="516"/>
                    </a:cubicBezTo>
                    <a:cubicBezTo>
                      <a:pt x="162" y="441"/>
                      <a:pt x="162" y="441"/>
                      <a:pt x="162" y="441"/>
                    </a:cubicBezTo>
                    <a:cubicBezTo>
                      <a:pt x="162" y="428"/>
                      <a:pt x="162" y="428"/>
                      <a:pt x="162" y="428"/>
                    </a:cubicBezTo>
                    <a:cubicBezTo>
                      <a:pt x="162" y="320"/>
                      <a:pt x="162" y="320"/>
                      <a:pt x="162" y="320"/>
                    </a:cubicBezTo>
                    <a:cubicBezTo>
                      <a:pt x="162" y="316"/>
                      <a:pt x="162" y="313"/>
                      <a:pt x="161" y="310"/>
                    </a:cubicBezTo>
                    <a:cubicBezTo>
                      <a:pt x="168" y="227"/>
                      <a:pt x="238" y="161"/>
                      <a:pt x="323" y="161"/>
                    </a:cubicBezTo>
                    <a:cubicBezTo>
                      <a:pt x="323" y="0"/>
                      <a:pt x="323" y="0"/>
                      <a:pt x="323" y="0"/>
                    </a:cubicBezTo>
                    <a:cubicBezTo>
                      <a:pt x="145" y="0"/>
                      <a:pt x="0" y="145"/>
                      <a:pt x="0" y="32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normAutofit/>
              </a:bodyPr>
              <a:lstStyle/>
              <a:p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39" name="îŝ1ïḍè"/>
              <p:cNvSpPr/>
              <p:nvPr/>
            </p:nvSpPr>
            <p:spPr bwMode="auto">
              <a:xfrm>
                <a:off x="3976114" y="2306343"/>
                <a:ext cx="1413258" cy="1413257"/>
              </a:xfrm>
              <a:custGeom>
                <a:avLst/>
                <a:gdLst>
                  <a:gd name="T0" fmla="*/ 0 w 323"/>
                  <a:gd name="T1" fmla="*/ 0 h 323"/>
                  <a:gd name="T2" fmla="*/ 0 w 323"/>
                  <a:gd name="T3" fmla="*/ 161 h 323"/>
                  <a:gd name="T4" fmla="*/ 162 w 323"/>
                  <a:gd name="T5" fmla="*/ 323 h 323"/>
                  <a:gd name="T6" fmla="*/ 323 w 323"/>
                  <a:gd name="T7" fmla="*/ 323 h 323"/>
                  <a:gd name="T8" fmla="*/ 0 w 323"/>
                  <a:gd name="T9" fmla="*/ 0 h 3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3" h="323">
                    <a:moveTo>
                      <a:pt x="0" y="0"/>
                    </a:moveTo>
                    <a:cubicBezTo>
                      <a:pt x="0" y="161"/>
                      <a:pt x="0" y="161"/>
                      <a:pt x="0" y="161"/>
                    </a:cubicBezTo>
                    <a:cubicBezTo>
                      <a:pt x="89" y="161"/>
                      <a:pt x="162" y="233"/>
                      <a:pt x="162" y="323"/>
                    </a:cubicBezTo>
                    <a:cubicBezTo>
                      <a:pt x="323" y="323"/>
                      <a:pt x="323" y="323"/>
                      <a:pt x="323" y="323"/>
                    </a:cubicBezTo>
                    <a:cubicBezTo>
                      <a:pt x="323" y="145"/>
                      <a:pt x="178" y="0"/>
                      <a:pt x="0" y="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normAutofit/>
              </a:bodyPr>
              <a:lstStyle/>
              <a:p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40" name="iSľíďê"/>
              <p:cNvSpPr/>
              <p:nvPr/>
            </p:nvSpPr>
            <p:spPr bwMode="auto">
              <a:xfrm>
                <a:off x="4685283" y="3719600"/>
                <a:ext cx="1392923" cy="1413257"/>
              </a:xfrm>
              <a:custGeom>
                <a:avLst/>
                <a:gdLst>
                  <a:gd name="T0" fmla="*/ 161 w 319"/>
                  <a:gd name="T1" fmla="*/ 0 h 323"/>
                  <a:gd name="T2" fmla="*/ 0 w 319"/>
                  <a:gd name="T3" fmla="*/ 0 h 323"/>
                  <a:gd name="T4" fmla="*/ 319 w 319"/>
                  <a:gd name="T5" fmla="*/ 323 h 323"/>
                  <a:gd name="T6" fmla="*/ 319 w 319"/>
                  <a:gd name="T7" fmla="*/ 162 h 323"/>
                  <a:gd name="T8" fmla="*/ 161 w 319"/>
                  <a:gd name="T9" fmla="*/ 0 h 3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9" h="323">
                    <a:moveTo>
                      <a:pt x="16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77"/>
                      <a:pt x="143" y="321"/>
                      <a:pt x="319" y="323"/>
                    </a:cubicBezTo>
                    <a:cubicBezTo>
                      <a:pt x="319" y="162"/>
                      <a:pt x="319" y="162"/>
                      <a:pt x="319" y="162"/>
                    </a:cubicBezTo>
                    <a:cubicBezTo>
                      <a:pt x="231" y="160"/>
                      <a:pt x="161" y="88"/>
                      <a:pt x="161" y="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normAutofit/>
              </a:bodyPr>
              <a:lstStyle/>
              <a:p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41" name="îṩḻidè"/>
              <p:cNvSpPr/>
              <p:nvPr/>
            </p:nvSpPr>
            <p:spPr bwMode="auto">
              <a:xfrm>
                <a:off x="6078206" y="3719600"/>
                <a:ext cx="1423425" cy="1413257"/>
              </a:xfrm>
              <a:custGeom>
                <a:avLst/>
                <a:gdLst>
                  <a:gd name="T0" fmla="*/ 4 w 326"/>
                  <a:gd name="T1" fmla="*/ 162 h 323"/>
                  <a:gd name="T2" fmla="*/ 0 w 326"/>
                  <a:gd name="T3" fmla="*/ 162 h 323"/>
                  <a:gd name="T4" fmla="*/ 0 w 326"/>
                  <a:gd name="T5" fmla="*/ 323 h 323"/>
                  <a:gd name="T6" fmla="*/ 4 w 326"/>
                  <a:gd name="T7" fmla="*/ 323 h 323"/>
                  <a:gd name="T8" fmla="*/ 326 w 326"/>
                  <a:gd name="T9" fmla="*/ 0 h 323"/>
                  <a:gd name="T10" fmla="*/ 166 w 326"/>
                  <a:gd name="T11" fmla="*/ 0 h 323"/>
                  <a:gd name="T12" fmla="*/ 4 w 326"/>
                  <a:gd name="T13" fmla="*/ 162 h 3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6" h="323">
                    <a:moveTo>
                      <a:pt x="4" y="162"/>
                    </a:moveTo>
                    <a:cubicBezTo>
                      <a:pt x="2" y="162"/>
                      <a:pt x="1" y="162"/>
                      <a:pt x="0" y="162"/>
                    </a:cubicBezTo>
                    <a:cubicBezTo>
                      <a:pt x="0" y="323"/>
                      <a:pt x="0" y="323"/>
                      <a:pt x="0" y="323"/>
                    </a:cubicBezTo>
                    <a:cubicBezTo>
                      <a:pt x="1" y="323"/>
                      <a:pt x="2" y="323"/>
                      <a:pt x="4" y="323"/>
                    </a:cubicBezTo>
                    <a:cubicBezTo>
                      <a:pt x="182" y="323"/>
                      <a:pt x="326" y="178"/>
                      <a:pt x="326" y="0"/>
                    </a:cubicBezTo>
                    <a:cubicBezTo>
                      <a:pt x="166" y="0"/>
                      <a:pt x="166" y="0"/>
                      <a:pt x="166" y="0"/>
                    </a:cubicBezTo>
                    <a:cubicBezTo>
                      <a:pt x="166" y="89"/>
                      <a:pt x="93" y="162"/>
                      <a:pt x="4" y="162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normAutofit/>
              </a:bodyPr>
              <a:lstStyle/>
              <a:p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42" name="íṡļíḓé"/>
              <p:cNvSpPr/>
              <p:nvPr/>
            </p:nvSpPr>
            <p:spPr bwMode="auto">
              <a:xfrm>
                <a:off x="6802629" y="2306343"/>
                <a:ext cx="1413258" cy="1413257"/>
              </a:xfrm>
              <a:custGeom>
                <a:avLst/>
                <a:gdLst>
                  <a:gd name="T0" fmla="*/ 323 w 323"/>
                  <a:gd name="T1" fmla="*/ 0 h 323"/>
                  <a:gd name="T2" fmla="*/ 0 w 323"/>
                  <a:gd name="T3" fmla="*/ 323 h 323"/>
                  <a:gd name="T4" fmla="*/ 160 w 323"/>
                  <a:gd name="T5" fmla="*/ 323 h 323"/>
                  <a:gd name="T6" fmla="*/ 323 w 323"/>
                  <a:gd name="T7" fmla="*/ 161 h 323"/>
                  <a:gd name="T8" fmla="*/ 323 w 323"/>
                  <a:gd name="T9" fmla="*/ 161 h 323"/>
                  <a:gd name="T10" fmla="*/ 323 w 323"/>
                  <a:gd name="T11" fmla="*/ 0 h 3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23" h="323">
                    <a:moveTo>
                      <a:pt x="323" y="0"/>
                    </a:moveTo>
                    <a:cubicBezTo>
                      <a:pt x="144" y="0"/>
                      <a:pt x="0" y="145"/>
                      <a:pt x="0" y="323"/>
                    </a:cubicBezTo>
                    <a:cubicBezTo>
                      <a:pt x="160" y="323"/>
                      <a:pt x="160" y="323"/>
                      <a:pt x="160" y="323"/>
                    </a:cubicBezTo>
                    <a:cubicBezTo>
                      <a:pt x="160" y="233"/>
                      <a:pt x="233" y="161"/>
                      <a:pt x="323" y="161"/>
                    </a:cubicBezTo>
                    <a:cubicBezTo>
                      <a:pt x="323" y="161"/>
                      <a:pt x="323" y="161"/>
                      <a:pt x="323" y="161"/>
                    </a:cubicBezTo>
                    <a:cubicBezTo>
                      <a:pt x="323" y="0"/>
                      <a:pt x="323" y="0"/>
                      <a:pt x="323" y="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normAutofit/>
              </a:bodyPr>
              <a:lstStyle/>
              <a:p>
                <a:endParaRPr lang="en-US" sz="135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7" name="ïṧḷiḋè"/>
            <p:cNvGrpSpPr/>
            <p:nvPr/>
          </p:nvGrpSpPr>
          <p:grpSpPr>
            <a:xfrm>
              <a:off x="2432701" y="3616911"/>
              <a:ext cx="953230" cy="953228"/>
              <a:chOff x="7828426" y="1707625"/>
              <a:chExt cx="682538" cy="682537"/>
            </a:xfrm>
          </p:grpSpPr>
          <p:sp>
            <p:nvSpPr>
              <p:cNvPr id="35" name="íšļîḋè"/>
              <p:cNvSpPr/>
              <p:nvPr/>
            </p:nvSpPr>
            <p:spPr>
              <a:xfrm>
                <a:off x="7828426" y="1707625"/>
                <a:ext cx="682538" cy="682537"/>
              </a:xfrm>
              <a:prstGeom prst="ellipse">
                <a:avLst/>
              </a:prstGeom>
              <a:solidFill>
                <a:schemeClr val="accent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68580" tIns="34290" rIns="68580" bIns="34290" rtlCol="0" anchor="ctr">
                <a:normAutofit/>
              </a:bodyPr>
              <a:lstStyle/>
              <a:p>
                <a:pPr algn="ctr"/>
                <a:endParaRPr lang="zh-CN" altLang="en-US" sz="1200" b="1" i="1" dirty="0">
                  <a:solidFill>
                    <a:srgbClr val="354B5E"/>
                  </a:solidFill>
                </a:endParaRPr>
              </a:p>
            </p:txBody>
          </p:sp>
          <p:sp>
            <p:nvSpPr>
              <p:cNvPr id="36" name="íṥḷîḋê"/>
              <p:cNvSpPr/>
              <p:nvPr/>
            </p:nvSpPr>
            <p:spPr bwMode="auto">
              <a:xfrm>
                <a:off x="7963487" y="1868001"/>
                <a:ext cx="412418" cy="361786"/>
              </a:xfrm>
              <a:custGeom>
                <a:avLst/>
                <a:gdLst>
                  <a:gd name="connsiteX0" fmla="*/ 352921 w 607646"/>
                  <a:gd name="connsiteY0" fmla="*/ 457945 h 533051"/>
                  <a:gd name="connsiteX1" fmla="*/ 342979 w 607646"/>
                  <a:gd name="connsiteY1" fmla="*/ 462170 h 533051"/>
                  <a:gd name="connsiteX2" fmla="*/ 338854 w 607646"/>
                  <a:gd name="connsiteY2" fmla="*/ 472100 h 533051"/>
                  <a:gd name="connsiteX3" fmla="*/ 342979 w 607646"/>
                  <a:gd name="connsiteY3" fmla="*/ 482029 h 533051"/>
                  <a:gd name="connsiteX4" fmla="*/ 352921 w 607646"/>
                  <a:gd name="connsiteY4" fmla="*/ 486149 h 533051"/>
                  <a:gd name="connsiteX5" fmla="*/ 362863 w 607646"/>
                  <a:gd name="connsiteY5" fmla="*/ 482029 h 533051"/>
                  <a:gd name="connsiteX6" fmla="*/ 366987 w 607646"/>
                  <a:gd name="connsiteY6" fmla="*/ 472100 h 533051"/>
                  <a:gd name="connsiteX7" fmla="*/ 362863 w 607646"/>
                  <a:gd name="connsiteY7" fmla="*/ 462170 h 533051"/>
                  <a:gd name="connsiteX8" fmla="*/ 352921 w 607646"/>
                  <a:gd name="connsiteY8" fmla="*/ 457945 h 533051"/>
                  <a:gd name="connsiteX9" fmla="*/ 438485 w 607646"/>
                  <a:gd name="connsiteY9" fmla="*/ 375972 h 533051"/>
                  <a:gd name="connsiteX10" fmla="*/ 431081 w 607646"/>
                  <a:gd name="connsiteY10" fmla="*/ 379141 h 533051"/>
                  <a:gd name="connsiteX11" fmla="*/ 372699 w 607646"/>
                  <a:gd name="connsiteY11" fmla="*/ 437346 h 533051"/>
                  <a:gd name="connsiteX12" fmla="*/ 369632 w 607646"/>
                  <a:gd name="connsiteY12" fmla="*/ 444846 h 533051"/>
                  <a:gd name="connsiteX13" fmla="*/ 372699 w 607646"/>
                  <a:gd name="connsiteY13" fmla="*/ 452346 h 533051"/>
                  <a:gd name="connsiteX14" fmla="*/ 380208 w 607646"/>
                  <a:gd name="connsiteY14" fmla="*/ 455409 h 533051"/>
                  <a:gd name="connsiteX15" fmla="*/ 387612 w 607646"/>
                  <a:gd name="connsiteY15" fmla="*/ 452346 h 533051"/>
                  <a:gd name="connsiteX16" fmla="*/ 445994 w 607646"/>
                  <a:gd name="connsiteY16" fmla="*/ 394035 h 533051"/>
                  <a:gd name="connsiteX17" fmla="*/ 449062 w 607646"/>
                  <a:gd name="connsiteY17" fmla="*/ 386535 h 533051"/>
                  <a:gd name="connsiteX18" fmla="*/ 445994 w 607646"/>
                  <a:gd name="connsiteY18" fmla="*/ 379141 h 533051"/>
                  <a:gd name="connsiteX19" fmla="*/ 438485 w 607646"/>
                  <a:gd name="connsiteY19" fmla="*/ 375972 h 533051"/>
                  <a:gd name="connsiteX20" fmla="*/ 534943 w 607646"/>
                  <a:gd name="connsiteY20" fmla="*/ 217624 h 533051"/>
                  <a:gd name="connsiteX21" fmla="*/ 553981 w 607646"/>
                  <a:gd name="connsiteY21" fmla="*/ 225547 h 533051"/>
                  <a:gd name="connsiteX22" fmla="*/ 554404 w 607646"/>
                  <a:gd name="connsiteY22" fmla="*/ 225969 h 533051"/>
                  <a:gd name="connsiteX23" fmla="*/ 556520 w 607646"/>
                  <a:gd name="connsiteY23" fmla="*/ 230934 h 533051"/>
                  <a:gd name="connsiteX24" fmla="*/ 554510 w 607646"/>
                  <a:gd name="connsiteY24" fmla="*/ 235899 h 533051"/>
                  <a:gd name="connsiteX25" fmla="*/ 524050 w 607646"/>
                  <a:gd name="connsiteY25" fmla="*/ 266322 h 533051"/>
                  <a:gd name="connsiteX26" fmla="*/ 516752 w 607646"/>
                  <a:gd name="connsiteY26" fmla="*/ 283752 h 533051"/>
                  <a:gd name="connsiteX27" fmla="*/ 524050 w 607646"/>
                  <a:gd name="connsiteY27" fmla="*/ 301182 h 533051"/>
                  <a:gd name="connsiteX28" fmla="*/ 541501 w 607646"/>
                  <a:gd name="connsiteY28" fmla="*/ 308365 h 533051"/>
                  <a:gd name="connsiteX29" fmla="*/ 558952 w 607646"/>
                  <a:gd name="connsiteY29" fmla="*/ 301182 h 533051"/>
                  <a:gd name="connsiteX30" fmla="*/ 589413 w 607646"/>
                  <a:gd name="connsiteY30" fmla="*/ 270759 h 533051"/>
                  <a:gd name="connsiteX31" fmla="*/ 594384 w 607646"/>
                  <a:gd name="connsiteY31" fmla="*/ 268752 h 533051"/>
                  <a:gd name="connsiteX32" fmla="*/ 599355 w 607646"/>
                  <a:gd name="connsiteY32" fmla="*/ 270759 h 533051"/>
                  <a:gd name="connsiteX33" fmla="*/ 599778 w 607646"/>
                  <a:gd name="connsiteY33" fmla="*/ 271181 h 533051"/>
                  <a:gd name="connsiteX34" fmla="*/ 606758 w 607646"/>
                  <a:gd name="connsiteY34" fmla="*/ 297168 h 533051"/>
                  <a:gd name="connsiteX35" fmla="*/ 590047 w 607646"/>
                  <a:gd name="connsiteY35" fmla="*/ 359704 h 533051"/>
                  <a:gd name="connsiteX36" fmla="*/ 571010 w 607646"/>
                  <a:gd name="connsiteY36" fmla="*/ 378612 h 533051"/>
                  <a:gd name="connsiteX37" fmla="*/ 570798 w 607646"/>
                  <a:gd name="connsiteY37" fmla="*/ 378718 h 533051"/>
                  <a:gd name="connsiteX38" fmla="*/ 501627 w 607646"/>
                  <a:gd name="connsiteY38" fmla="*/ 395303 h 533051"/>
                  <a:gd name="connsiteX39" fmla="*/ 377987 w 607646"/>
                  <a:gd name="connsiteY39" fmla="*/ 518790 h 533051"/>
                  <a:gd name="connsiteX40" fmla="*/ 343507 w 607646"/>
                  <a:gd name="connsiteY40" fmla="*/ 533051 h 533051"/>
                  <a:gd name="connsiteX41" fmla="*/ 309028 w 607646"/>
                  <a:gd name="connsiteY41" fmla="*/ 518790 h 533051"/>
                  <a:gd name="connsiteX42" fmla="*/ 306066 w 607646"/>
                  <a:gd name="connsiteY42" fmla="*/ 515833 h 533051"/>
                  <a:gd name="connsiteX43" fmla="*/ 291788 w 607646"/>
                  <a:gd name="connsiteY43" fmla="*/ 481501 h 533051"/>
                  <a:gd name="connsiteX44" fmla="*/ 306066 w 607646"/>
                  <a:gd name="connsiteY44" fmla="*/ 447064 h 533051"/>
                  <a:gd name="connsiteX45" fmla="*/ 429707 w 607646"/>
                  <a:gd name="connsiteY45" fmla="*/ 323576 h 533051"/>
                  <a:gd name="connsiteX46" fmla="*/ 446418 w 607646"/>
                  <a:gd name="connsiteY46" fmla="*/ 254491 h 533051"/>
                  <a:gd name="connsiteX47" fmla="*/ 446418 w 607646"/>
                  <a:gd name="connsiteY47" fmla="*/ 254280 h 533051"/>
                  <a:gd name="connsiteX48" fmla="*/ 465455 w 607646"/>
                  <a:gd name="connsiteY48" fmla="*/ 235265 h 533051"/>
                  <a:gd name="connsiteX49" fmla="*/ 527963 w 607646"/>
                  <a:gd name="connsiteY49" fmla="*/ 218575 h 533051"/>
                  <a:gd name="connsiteX50" fmla="*/ 534943 w 607646"/>
                  <a:gd name="connsiteY50" fmla="*/ 217624 h 533051"/>
                  <a:gd name="connsiteX51" fmla="*/ 253873 w 607646"/>
                  <a:gd name="connsiteY51" fmla="*/ 140927 h 533051"/>
                  <a:gd name="connsiteX52" fmla="*/ 141005 w 607646"/>
                  <a:gd name="connsiteY52" fmla="*/ 253542 h 533051"/>
                  <a:gd name="connsiteX53" fmla="*/ 253873 w 607646"/>
                  <a:gd name="connsiteY53" fmla="*/ 366262 h 533051"/>
                  <a:gd name="connsiteX54" fmla="*/ 366741 w 607646"/>
                  <a:gd name="connsiteY54" fmla="*/ 253542 h 533051"/>
                  <a:gd name="connsiteX55" fmla="*/ 253873 w 607646"/>
                  <a:gd name="connsiteY55" fmla="*/ 140927 h 533051"/>
                  <a:gd name="connsiteX56" fmla="*/ 232929 w 607646"/>
                  <a:gd name="connsiteY56" fmla="*/ 0 h 533051"/>
                  <a:gd name="connsiteX57" fmla="*/ 274818 w 607646"/>
                  <a:gd name="connsiteY57" fmla="*/ 0 h 533051"/>
                  <a:gd name="connsiteX58" fmla="*/ 316918 w 607646"/>
                  <a:gd name="connsiteY58" fmla="*/ 42045 h 533051"/>
                  <a:gd name="connsiteX59" fmla="*/ 316918 w 607646"/>
                  <a:gd name="connsiteY59" fmla="*/ 55885 h 533051"/>
                  <a:gd name="connsiteX60" fmla="*/ 349287 w 607646"/>
                  <a:gd name="connsiteY60" fmla="*/ 69301 h 533051"/>
                  <a:gd name="connsiteX61" fmla="*/ 359125 w 607646"/>
                  <a:gd name="connsiteY61" fmla="*/ 59476 h 533051"/>
                  <a:gd name="connsiteX62" fmla="*/ 388849 w 607646"/>
                  <a:gd name="connsiteY62" fmla="*/ 47222 h 533051"/>
                  <a:gd name="connsiteX63" fmla="*/ 418574 w 607646"/>
                  <a:gd name="connsiteY63" fmla="*/ 59476 h 533051"/>
                  <a:gd name="connsiteX64" fmla="*/ 448192 w 607646"/>
                  <a:gd name="connsiteY64" fmla="*/ 89162 h 533051"/>
                  <a:gd name="connsiteX65" fmla="*/ 448192 w 607646"/>
                  <a:gd name="connsiteY65" fmla="*/ 148533 h 533051"/>
                  <a:gd name="connsiteX66" fmla="*/ 438460 w 607646"/>
                  <a:gd name="connsiteY66" fmla="*/ 158252 h 533051"/>
                  <a:gd name="connsiteX67" fmla="*/ 451789 w 607646"/>
                  <a:gd name="connsiteY67" fmla="*/ 190684 h 533051"/>
                  <a:gd name="connsiteX68" fmla="*/ 465752 w 607646"/>
                  <a:gd name="connsiteY68" fmla="*/ 190684 h 533051"/>
                  <a:gd name="connsiteX69" fmla="*/ 497909 w 607646"/>
                  <a:gd name="connsiteY69" fmla="*/ 205685 h 533051"/>
                  <a:gd name="connsiteX70" fmla="*/ 450837 w 607646"/>
                  <a:gd name="connsiteY70" fmla="*/ 218257 h 533051"/>
                  <a:gd name="connsiteX71" fmla="*/ 419420 w 607646"/>
                  <a:gd name="connsiteY71" fmla="*/ 249739 h 533051"/>
                  <a:gd name="connsiteX72" fmla="*/ 419208 w 607646"/>
                  <a:gd name="connsiteY72" fmla="*/ 250372 h 533051"/>
                  <a:gd name="connsiteX73" fmla="*/ 403764 w 607646"/>
                  <a:gd name="connsiteY73" fmla="*/ 314603 h 533051"/>
                  <a:gd name="connsiteX74" fmla="*/ 283598 w 607646"/>
                  <a:gd name="connsiteY74" fmla="*/ 434613 h 533051"/>
                  <a:gd name="connsiteX75" fmla="*/ 264134 w 607646"/>
                  <a:gd name="connsiteY75" fmla="*/ 481518 h 533051"/>
                  <a:gd name="connsiteX76" fmla="*/ 269317 w 607646"/>
                  <a:gd name="connsiteY76" fmla="*/ 507083 h 533051"/>
                  <a:gd name="connsiteX77" fmla="*/ 232929 w 607646"/>
                  <a:gd name="connsiteY77" fmla="*/ 507083 h 533051"/>
                  <a:gd name="connsiteX78" fmla="*/ 190828 w 607646"/>
                  <a:gd name="connsiteY78" fmla="*/ 465143 h 533051"/>
                  <a:gd name="connsiteX79" fmla="*/ 190828 w 607646"/>
                  <a:gd name="connsiteY79" fmla="*/ 451304 h 533051"/>
                  <a:gd name="connsiteX80" fmla="*/ 158459 w 607646"/>
                  <a:gd name="connsiteY80" fmla="*/ 437888 h 533051"/>
                  <a:gd name="connsiteX81" fmla="*/ 148622 w 607646"/>
                  <a:gd name="connsiteY81" fmla="*/ 447712 h 533051"/>
                  <a:gd name="connsiteX82" fmla="*/ 118897 w 607646"/>
                  <a:gd name="connsiteY82" fmla="*/ 459967 h 533051"/>
                  <a:gd name="connsiteX83" fmla="*/ 89173 w 607646"/>
                  <a:gd name="connsiteY83" fmla="*/ 447712 h 533051"/>
                  <a:gd name="connsiteX84" fmla="*/ 59554 w 607646"/>
                  <a:gd name="connsiteY84" fmla="*/ 418027 h 533051"/>
                  <a:gd name="connsiteX85" fmla="*/ 59554 w 607646"/>
                  <a:gd name="connsiteY85" fmla="*/ 358656 h 533051"/>
                  <a:gd name="connsiteX86" fmla="*/ 69286 w 607646"/>
                  <a:gd name="connsiteY86" fmla="*/ 348831 h 533051"/>
                  <a:gd name="connsiteX87" fmla="*/ 55958 w 607646"/>
                  <a:gd name="connsiteY87" fmla="*/ 316505 h 533051"/>
                  <a:gd name="connsiteX88" fmla="*/ 41995 w 607646"/>
                  <a:gd name="connsiteY88" fmla="*/ 316505 h 533051"/>
                  <a:gd name="connsiteX89" fmla="*/ 0 w 607646"/>
                  <a:gd name="connsiteY89" fmla="*/ 274565 h 533051"/>
                  <a:gd name="connsiteX90" fmla="*/ 0 w 607646"/>
                  <a:gd name="connsiteY90" fmla="*/ 232625 h 533051"/>
                  <a:gd name="connsiteX91" fmla="*/ 41995 w 607646"/>
                  <a:gd name="connsiteY91" fmla="*/ 190684 h 533051"/>
                  <a:gd name="connsiteX92" fmla="*/ 55958 w 607646"/>
                  <a:gd name="connsiteY92" fmla="*/ 190684 h 533051"/>
                  <a:gd name="connsiteX93" fmla="*/ 69286 w 607646"/>
                  <a:gd name="connsiteY93" fmla="*/ 158252 h 533051"/>
                  <a:gd name="connsiteX94" fmla="*/ 59554 w 607646"/>
                  <a:gd name="connsiteY94" fmla="*/ 148533 h 533051"/>
                  <a:gd name="connsiteX95" fmla="*/ 59554 w 607646"/>
                  <a:gd name="connsiteY95" fmla="*/ 89162 h 533051"/>
                  <a:gd name="connsiteX96" fmla="*/ 89173 w 607646"/>
                  <a:gd name="connsiteY96" fmla="*/ 59476 h 533051"/>
                  <a:gd name="connsiteX97" fmla="*/ 118897 w 607646"/>
                  <a:gd name="connsiteY97" fmla="*/ 47222 h 533051"/>
                  <a:gd name="connsiteX98" fmla="*/ 148622 w 607646"/>
                  <a:gd name="connsiteY98" fmla="*/ 59476 h 533051"/>
                  <a:gd name="connsiteX99" fmla="*/ 158459 w 607646"/>
                  <a:gd name="connsiteY99" fmla="*/ 69301 h 533051"/>
                  <a:gd name="connsiteX100" fmla="*/ 190828 w 607646"/>
                  <a:gd name="connsiteY100" fmla="*/ 55885 h 533051"/>
                  <a:gd name="connsiteX101" fmla="*/ 190828 w 607646"/>
                  <a:gd name="connsiteY101" fmla="*/ 42045 h 533051"/>
                  <a:gd name="connsiteX102" fmla="*/ 232929 w 607646"/>
                  <a:gd name="connsiteY102" fmla="*/ 0 h 5330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</a:cxnLst>
                <a:rect l="l" t="t" r="r" b="b"/>
                <a:pathLst>
                  <a:path w="607646" h="533051">
                    <a:moveTo>
                      <a:pt x="352921" y="457945"/>
                    </a:moveTo>
                    <a:cubicBezTo>
                      <a:pt x="349113" y="457945"/>
                      <a:pt x="345623" y="459423"/>
                      <a:pt x="342979" y="462170"/>
                    </a:cubicBezTo>
                    <a:cubicBezTo>
                      <a:pt x="340229" y="464811"/>
                      <a:pt x="338854" y="468297"/>
                      <a:pt x="338854" y="472100"/>
                    </a:cubicBezTo>
                    <a:cubicBezTo>
                      <a:pt x="338854" y="475797"/>
                      <a:pt x="340229" y="479389"/>
                      <a:pt x="342979" y="482029"/>
                    </a:cubicBezTo>
                    <a:cubicBezTo>
                      <a:pt x="345623" y="484670"/>
                      <a:pt x="349113" y="486149"/>
                      <a:pt x="352921" y="486149"/>
                    </a:cubicBezTo>
                    <a:cubicBezTo>
                      <a:pt x="356622" y="486149"/>
                      <a:pt x="360218" y="484670"/>
                      <a:pt x="362863" y="482029"/>
                    </a:cubicBezTo>
                    <a:cubicBezTo>
                      <a:pt x="365507" y="479389"/>
                      <a:pt x="366987" y="475797"/>
                      <a:pt x="366987" y="472100"/>
                    </a:cubicBezTo>
                    <a:cubicBezTo>
                      <a:pt x="366987" y="468297"/>
                      <a:pt x="365507" y="464811"/>
                      <a:pt x="362863" y="462170"/>
                    </a:cubicBezTo>
                    <a:cubicBezTo>
                      <a:pt x="360218" y="459423"/>
                      <a:pt x="356622" y="457945"/>
                      <a:pt x="352921" y="457945"/>
                    </a:cubicBezTo>
                    <a:close/>
                    <a:moveTo>
                      <a:pt x="438485" y="375972"/>
                    </a:moveTo>
                    <a:cubicBezTo>
                      <a:pt x="435735" y="375972"/>
                      <a:pt x="432985" y="377134"/>
                      <a:pt x="431081" y="379141"/>
                    </a:cubicBezTo>
                    <a:lnTo>
                      <a:pt x="372699" y="437346"/>
                    </a:lnTo>
                    <a:cubicBezTo>
                      <a:pt x="370689" y="439353"/>
                      <a:pt x="369632" y="441994"/>
                      <a:pt x="369632" y="444846"/>
                    </a:cubicBezTo>
                    <a:cubicBezTo>
                      <a:pt x="369632" y="447698"/>
                      <a:pt x="370689" y="450339"/>
                      <a:pt x="372699" y="452346"/>
                    </a:cubicBezTo>
                    <a:cubicBezTo>
                      <a:pt x="374708" y="454353"/>
                      <a:pt x="377352" y="455409"/>
                      <a:pt x="380208" y="455409"/>
                    </a:cubicBezTo>
                    <a:cubicBezTo>
                      <a:pt x="382958" y="455409"/>
                      <a:pt x="385602" y="454353"/>
                      <a:pt x="387612" y="452346"/>
                    </a:cubicBezTo>
                    <a:lnTo>
                      <a:pt x="445994" y="394035"/>
                    </a:lnTo>
                    <a:cubicBezTo>
                      <a:pt x="448004" y="392028"/>
                      <a:pt x="449062" y="389387"/>
                      <a:pt x="449062" y="386535"/>
                    </a:cubicBezTo>
                    <a:cubicBezTo>
                      <a:pt x="449062" y="383789"/>
                      <a:pt x="448004" y="381148"/>
                      <a:pt x="445994" y="379141"/>
                    </a:cubicBezTo>
                    <a:cubicBezTo>
                      <a:pt x="443985" y="377134"/>
                      <a:pt x="441341" y="375972"/>
                      <a:pt x="438485" y="375972"/>
                    </a:cubicBezTo>
                    <a:close/>
                    <a:moveTo>
                      <a:pt x="534943" y="217624"/>
                    </a:moveTo>
                    <a:cubicBezTo>
                      <a:pt x="542136" y="217624"/>
                      <a:pt x="548905" y="220371"/>
                      <a:pt x="553981" y="225547"/>
                    </a:cubicBezTo>
                    <a:lnTo>
                      <a:pt x="554404" y="225969"/>
                    </a:lnTo>
                    <a:cubicBezTo>
                      <a:pt x="555779" y="227237"/>
                      <a:pt x="556520" y="229033"/>
                      <a:pt x="556520" y="230934"/>
                    </a:cubicBezTo>
                    <a:cubicBezTo>
                      <a:pt x="556520" y="232836"/>
                      <a:pt x="555779" y="234632"/>
                      <a:pt x="554510" y="235899"/>
                    </a:cubicBezTo>
                    <a:lnTo>
                      <a:pt x="524050" y="266322"/>
                    </a:lnTo>
                    <a:cubicBezTo>
                      <a:pt x="519396" y="270970"/>
                      <a:pt x="516752" y="277203"/>
                      <a:pt x="516752" y="283752"/>
                    </a:cubicBezTo>
                    <a:cubicBezTo>
                      <a:pt x="516752" y="290301"/>
                      <a:pt x="519396" y="296534"/>
                      <a:pt x="524050" y="301182"/>
                    </a:cubicBezTo>
                    <a:cubicBezTo>
                      <a:pt x="528703" y="305830"/>
                      <a:pt x="534838" y="308365"/>
                      <a:pt x="541501" y="308365"/>
                    </a:cubicBezTo>
                    <a:cubicBezTo>
                      <a:pt x="548058" y="308365"/>
                      <a:pt x="554299" y="305830"/>
                      <a:pt x="558952" y="301182"/>
                    </a:cubicBezTo>
                    <a:lnTo>
                      <a:pt x="589413" y="270759"/>
                    </a:lnTo>
                    <a:cubicBezTo>
                      <a:pt x="590682" y="269491"/>
                      <a:pt x="592480" y="268752"/>
                      <a:pt x="594384" y="268752"/>
                    </a:cubicBezTo>
                    <a:cubicBezTo>
                      <a:pt x="596288" y="268752"/>
                      <a:pt x="597980" y="269491"/>
                      <a:pt x="599355" y="270759"/>
                    </a:cubicBezTo>
                    <a:lnTo>
                      <a:pt x="599778" y="271181"/>
                    </a:lnTo>
                    <a:cubicBezTo>
                      <a:pt x="606547" y="277942"/>
                      <a:pt x="609191" y="287977"/>
                      <a:pt x="606758" y="297168"/>
                    </a:cubicBezTo>
                    <a:lnTo>
                      <a:pt x="590047" y="359704"/>
                    </a:lnTo>
                    <a:cubicBezTo>
                      <a:pt x="587509" y="368894"/>
                      <a:pt x="580211" y="376183"/>
                      <a:pt x="571010" y="378612"/>
                    </a:cubicBezTo>
                    <a:cubicBezTo>
                      <a:pt x="570904" y="378718"/>
                      <a:pt x="570904" y="378718"/>
                      <a:pt x="570798" y="378718"/>
                    </a:cubicBezTo>
                    <a:lnTo>
                      <a:pt x="501627" y="395303"/>
                    </a:lnTo>
                    <a:lnTo>
                      <a:pt x="377987" y="518790"/>
                    </a:lnTo>
                    <a:cubicBezTo>
                      <a:pt x="368785" y="527981"/>
                      <a:pt x="356517" y="533051"/>
                      <a:pt x="343507" y="533051"/>
                    </a:cubicBezTo>
                    <a:cubicBezTo>
                      <a:pt x="330498" y="533051"/>
                      <a:pt x="318229" y="527981"/>
                      <a:pt x="309028" y="518790"/>
                    </a:cubicBezTo>
                    <a:lnTo>
                      <a:pt x="306066" y="515833"/>
                    </a:lnTo>
                    <a:cubicBezTo>
                      <a:pt x="296865" y="506642"/>
                      <a:pt x="291788" y="494494"/>
                      <a:pt x="291788" y="481501"/>
                    </a:cubicBezTo>
                    <a:cubicBezTo>
                      <a:pt x="291788" y="468402"/>
                      <a:pt x="296865" y="456254"/>
                      <a:pt x="306066" y="447064"/>
                    </a:cubicBezTo>
                    <a:lnTo>
                      <a:pt x="429707" y="323576"/>
                    </a:lnTo>
                    <a:lnTo>
                      <a:pt x="446418" y="254491"/>
                    </a:lnTo>
                    <a:cubicBezTo>
                      <a:pt x="446418" y="254385"/>
                      <a:pt x="446418" y="254385"/>
                      <a:pt x="446418" y="254280"/>
                    </a:cubicBezTo>
                    <a:cubicBezTo>
                      <a:pt x="448956" y="245089"/>
                      <a:pt x="456254" y="237801"/>
                      <a:pt x="465455" y="235265"/>
                    </a:cubicBezTo>
                    <a:lnTo>
                      <a:pt x="527963" y="218575"/>
                    </a:lnTo>
                    <a:cubicBezTo>
                      <a:pt x="530290" y="217941"/>
                      <a:pt x="532617" y="217624"/>
                      <a:pt x="534943" y="217624"/>
                    </a:cubicBezTo>
                    <a:close/>
                    <a:moveTo>
                      <a:pt x="253873" y="140927"/>
                    </a:moveTo>
                    <a:cubicBezTo>
                      <a:pt x="191674" y="140927"/>
                      <a:pt x="141005" y="191424"/>
                      <a:pt x="141005" y="253542"/>
                    </a:cubicBezTo>
                    <a:cubicBezTo>
                      <a:pt x="141005" y="315765"/>
                      <a:pt x="191674" y="366262"/>
                      <a:pt x="253873" y="366262"/>
                    </a:cubicBezTo>
                    <a:cubicBezTo>
                      <a:pt x="316072" y="366262"/>
                      <a:pt x="366741" y="315765"/>
                      <a:pt x="366741" y="253542"/>
                    </a:cubicBezTo>
                    <a:cubicBezTo>
                      <a:pt x="366741" y="191424"/>
                      <a:pt x="316072" y="140927"/>
                      <a:pt x="253873" y="140927"/>
                    </a:cubicBezTo>
                    <a:close/>
                    <a:moveTo>
                      <a:pt x="232929" y="0"/>
                    </a:moveTo>
                    <a:lnTo>
                      <a:pt x="274818" y="0"/>
                    </a:lnTo>
                    <a:cubicBezTo>
                      <a:pt x="298090" y="0"/>
                      <a:pt x="316918" y="18910"/>
                      <a:pt x="316918" y="42045"/>
                    </a:cubicBezTo>
                    <a:lnTo>
                      <a:pt x="316918" y="55885"/>
                    </a:lnTo>
                    <a:cubicBezTo>
                      <a:pt x="328025" y="59371"/>
                      <a:pt x="338921" y="63913"/>
                      <a:pt x="349287" y="69301"/>
                    </a:cubicBezTo>
                    <a:lnTo>
                      <a:pt x="359125" y="59476"/>
                    </a:lnTo>
                    <a:cubicBezTo>
                      <a:pt x="367058" y="51553"/>
                      <a:pt x="377637" y="47222"/>
                      <a:pt x="388849" y="47222"/>
                    </a:cubicBezTo>
                    <a:cubicBezTo>
                      <a:pt x="400062" y="47222"/>
                      <a:pt x="410640" y="51553"/>
                      <a:pt x="418574" y="59476"/>
                    </a:cubicBezTo>
                    <a:lnTo>
                      <a:pt x="448192" y="89162"/>
                    </a:lnTo>
                    <a:cubicBezTo>
                      <a:pt x="464588" y="105536"/>
                      <a:pt x="464588" y="132158"/>
                      <a:pt x="448192" y="148533"/>
                    </a:cubicBezTo>
                    <a:lnTo>
                      <a:pt x="438460" y="158252"/>
                    </a:lnTo>
                    <a:cubicBezTo>
                      <a:pt x="443749" y="168710"/>
                      <a:pt x="448298" y="179486"/>
                      <a:pt x="451789" y="190684"/>
                    </a:cubicBezTo>
                    <a:lnTo>
                      <a:pt x="465752" y="190684"/>
                    </a:lnTo>
                    <a:cubicBezTo>
                      <a:pt x="478657" y="190684"/>
                      <a:pt x="490187" y="196494"/>
                      <a:pt x="497909" y="205685"/>
                    </a:cubicBezTo>
                    <a:lnTo>
                      <a:pt x="450837" y="218257"/>
                    </a:lnTo>
                    <a:cubicBezTo>
                      <a:pt x="435604" y="222377"/>
                      <a:pt x="423440" y="234420"/>
                      <a:pt x="419420" y="249739"/>
                    </a:cubicBezTo>
                    <a:cubicBezTo>
                      <a:pt x="419314" y="249950"/>
                      <a:pt x="419314" y="250161"/>
                      <a:pt x="419208" y="250372"/>
                    </a:cubicBezTo>
                    <a:lnTo>
                      <a:pt x="403764" y="314603"/>
                    </a:lnTo>
                    <a:lnTo>
                      <a:pt x="283598" y="434613"/>
                    </a:lnTo>
                    <a:cubicBezTo>
                      <a:pt x="271010" y="447078"/>
                      <a:pt x="264134" y="463770"/>
                      <a:pt x="264134" y="481518"/>
                    </a:cubicBezTo>
                    <a:cubicBezTo>
                      <a:pt x="264134" y="490392"/>
                      <a:pt x="265932" y="499160"/>
                      <a:pt x="269317" y="507083"/>
                    </a:cubicBezTo>
                    <a:lnTo>
                      <a:pt x="232929" y="507083"/>
                    </a:lnTo>
                    <a:cubicBezTo>
                      <a:pt x="209657" y="507083"/>
                      <a:pt x="190828" y="488279"/>
                      <a:pt x="190828" y="465143"/>
                    </a:cubicBezTo>
                    <a:lnTo>
                      <a:pt x="190828" y="451304"/>
                    </a:lnTo>
                    <a:cubicBezTo>
                      <a:pt x="179721" y="447712"/>
                      <a:pt x="168826" y="443275"/>
                      <a:pt x="158459" y="437888"/>
                    </a:cubicBezTo>
                    <a:lnTo>
                      <a:pt x="148622" y="447712"/>
                    </a:lnTo>
                    <a:cubicBezTo>
                      <a:pt x="140688" y="455635"/>
                      <a:pt x="130110" y="459967"/>
                      <a:pt x="118897" y="459967"/>
                    </a:cubicBezTo>
                    <a:cubicBezTo>
                      <a:pt x="107685" y="459967"/>
                      <a:pt x="97107" y="455635"/>
                      <a:pt x="89173" y="447712"/>
                    </a:cubicBezTo>
                    <a:lnTo>
                      <a:pt x="59554" y="418027"/>
                    </a:lnTo>
                    <a:cubicBezTo>
                      <a:pt x="43158" y="401652"/>
                      <a:pt x="43158" y="375030"/>
                      <a:pt x="59554" y="358656"/>
                    </a:cubicBezTo>
                    <a:lnTo>
                      <a:pt x="69286" y="348831"/>
                    </a:lnTo>
                    <a:cubicBezTo>
                      <a:pt x="63997" y="338478"/>
                      <a:pt x="59449" y="327597"/>
                      <a:pt x="55958" y="316505"/>
                    </a:cubicBezTo>
                    <a:lnTo>
                      <a:pt x="41995" y="316505"/>
                    </a:lnTo>
                    <a:cubicBezTo>
                      <a:pt x="18829" y="316505"/>
                      <a:pt x="0" y="297700"/>
                      <a:pt x="0" y="274565"/>
                    </a:cubicBezTo>
                    <a:lnTo>
                      <a:pt x="0" y="232625"/>
                    </a:lnTo>
                    <a:cubicBezTo>
                      <a:pt x="0" y="209488"/>
                      <a:pt x="18829" y="190684"/>
                      <a:pt x="41995" y="190684"/>
                    </a:cubicBezTo>
                    <a:lnTo>
                      <a:pt x="55958" y="190684"/>
                    </a:lnTo>
                    <a:cubicBezTo>
                      <a:pt x="59449" y="179486"/>
                      <a:pt x="63997" y="168710"/>
                      <a:pt x="69286" y="158252"/>
                    </a:cubicBezTo>
                    <a:lnTo>
                      <a:pt x="59554" y="148533"/>
                    </a:lnTo>
                    <a:cubicBezTo>
                      <a:pt x="43158" y="132158"/>
                      <a:pt x="43158" y="105536"/>
                      <a:pt x="59554" y="89162"/>
                    </a:cubicBezTo>
                    <a:lnTo>
                      <a:pt x="89173" y="59476"/>
                    </a:lnTo>
                    <a:cubicBezTo>
                      <a:pt x="97107" y="51553"/>
                      <a:pt x="107685" y="47222"/>
                      <a:pt x="118897" y="47222"/>
                    </a:cubicBezTo>
                    <a:cubicBezTo>
                      <a:pt x="130110" y="47222"/>
                      <a:pt x="140688" y="51553"/>
                      <a:pt x="148622" y="59476"/>
                    </a:cubicBezTo>
                    <a:lnTo>
                      <a:pt x="158459" y="69301"/>
                    </a:lnTo>
                    <a:cubicBezTo>
                      <a:pt x="168826" y="63913"/>
                      <a:pt x="179721" y="59371"/>
                      <a:pt x="190828" y="55885"/>
                    </a:cubicBezTo>
                    <a:lnTo>
                      <a:pt x="190828" y="42045"/>
                    </a:lnTo>
                    <a:cubicBezTo>
                      <a:pt x="190828" y="18910"/>
                      <a:pt x="209657" y="0"/>
                      <a:pt x="23292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/>
              <a:lstStyle/>
              <a:p>
                <a:endParaRPr lang="zh-CN" altLang="en-US" sz="135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" name="íšļîḑê"/>
            <p:cNvGrpSpPr/>
            <p:nvPr/>
          </p:nvGrpSpPr>
          <p:grpSpPr>
            <a:xfrm>
              <a:off x="5622036" y="4229559"/>
              <a:ext cx="953230" cy="953228"/>
              <a:chOff x="7828426" y="1707625"/>
              <a:chExt cx="682538" cy="682537"/>
            </a:xfrm>
          </p:grpSpPr>
          <p:sp>
            <p:nvSpPr>
              <p:cNvPr id="33" name="ïṧ1idê"/>
              <p:cNvSpPr/>
              <p:nvPr/>
            </p:nvSpPr>
            <p:spPr>
              <a:xfrm>
                <a:off x="7828426" y="1707625"/>
                <a:ext cx="682538" cy="682537"/>
              </a:xfrm>
              <a:prstGeom prst="ellipse">
                <a:avLst/>
              </a:prstGeom>
              <a:solidFill>
                <a:schemeClr val="accent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68580" tIns="34290" rIns="68580" bIns="34290" rtlCol="0" anchor="ctr">
                <a:normAutofit/>
              </a:bodyPr>
              <a:lstStyle/>
              <a:p>
                <a:pPr algn="ctr"/>
                <a:endParaRPr lang="zh-CN" altLang="en-US" sz="1200" b="1" i="1" dirty="0">
                  <a:solidFill>
                    <a:srgbClr val="354B5E"/>
                  </a:solidFill>
                </a:endParaRPr>
              </a:p>
            </p:txBody>
          </p:sp>
          <p:sp>
            <p:nvSpPr>
              <p:cNvPr id="34" name="íṥľïḍê"/>
              <p:cNvSpPr/>
              <p:nvPr/>
            </p:nvSpPr>
            <p:spPr bwMode="auto">
              <a:xfrm>
                <a:off x="7963487" y="1868001"/>
                <a:ext cx="412418" cy="361786"/>
              </a:xfrm>
              <a:custGeom>
                <a:avLst/>
                <a:gdLst>
                  <a:gd name="connsiteX0" fmla="*/ 352921 w 607646"/>
                  <a:gd name="connsiteY0" fmla="*/ 457945 h 533051"/>
                  <a:gd name="connsiteX1" fmla="*/ 342979 w 607646"/>
                  <a:gd name="connsiteY1" fmla="*/ 462170 h 533051"/>
                  <a:gd name="connsiteX2" fmla="*/ 338854 w 607646"/>
                  <a:gd name="connsiteY2" fmla="*/ 472100 h 533051"/>
                  <a:gd name="connsiteX3" fmla="*/ 342979 w 607646"/>
                  <a:gd name="connsiteY3" fmla="*/ 482029 h 533051"/>
                  <a:gd name="connsiteX4" fmla="*/ 352921 w 607646"/>
                  <a:gd name="connsiteY4" fmla="*/ 486149 h 533051"/>
                  <a:gd name="connsiteX5" fmla="*/ 362863 w 607646"/>
                  <a:gd name="connsiteY5" fmla="*/ 482029 h 533051"/>
                  <a:gd name="connsiteX6" fmla="*/ 366987 w 607646"/>
                  <a:gd name="connsiteY6" fmla="*/ 472100 h 533051"/>
                  <a:gd name="connsiteX7" fmla="*/ 362863 w 607646"/>
                  <a:gd name="connsiteY7" fmla="*/ 462170 h 533051"/>
                  <a:gd name="connsiteX8" fmla="*/ 352921 w 607646"/>
                  <a:gd name="connsiteY8" fmla="*/ 457945 h 533051"/>
                  <a:gd name="connsiteX9" fmla="*/ 438485 w 607646"/>
                  <a:gd name="connsiteY9" fmla="*/ 375972 h 533051"/>
                  <a:gd name="connsiteX10" fmla="*/ 431081 w 607646"/>
                  <a:gd name="connsiteY10" fmla="*/ 379141 h 533051"/>
                  <a:gd name="connsiteX11" fmla="*/ 372699 w 607646"/>
                  <a:gd name="connsiteY11" fmla="*/ 437346 h 533051"/>
                  <a:gd name="connsiteX12" fmla="*/ 369632 w 607646"/>
                  <a:gd name="connsiteY12" fmla="*/ 444846 h 533051"/>
                  <a:gd name="connsiteX13" fmla="*/ 372699 w 607646"/>
                  <a:gd name="connsiteY13" fmla="*/ 452346 h 533051"/>
                  <a:gd name="connsiteX14" fmla="*/ 380208 w 607646"/>
                  <a:gd name="connsiteY14" fmla="*/ 455409 h 533051"/>
                  <a:gd name="connsiteX15" fmla="*/ 387612 w 607646"/>
                  <a:gd name="connsiteY15" fmla="*/ 452346 h 533051"/>
                  <a:gd name="connsiteX16" fmla="*/ 445994 w 607646"/>
                  <a:gd name="connsiteY16" fmla="*/ 394035 h 533051"/>
                  <a:gd name="connsiteX17" fmla="*/ 449062 w 607646"/>
                  <a:gd name="connsiteY17" fmla="*/ 386535 h 533051"/>
                  <a:gd name="connsiteX18" fmla="*/ 445994 w 607646"/>
                  <a:gd name="connsiteY18" fmla="*/ 379141 h 533051"/>
                  <a:gd name="connsiteX19" fmla="*/ 438485 w 607646"/>
                  <a:gd name="connsiteY19" fmla="*/ 375972 h 533051"/>
                  <a:gd name="connsiteX20" fmla="*/ 534943 w 607646"/>
                  <a:gd name="connsiteY20" fmla="*/ 217624 h 533051"/>
                  <a:gd name="connsiteX21" fmla="*/ 553981 w 607646"/>
                  <a:gd name="connsiteY21" fmla="*/ 225547 h 533051"/>
                  <a:gd name="connsiteX22" fmla="*/ 554404 w 607646"/>
                  <a:gd name="connsiteY22" fmla="*/ 225969 h 533051"/>
                  <a:gd name="connsiteX23" fmla="*/ 556520 w 607646"/>
                  <a:gd name="connsiteY23" fmla="*/ 230934 h 533051"/>
                  <a:gd name="connsiteX24" fmla="*/ 554510 w 607646"/>
                  <a:gd name="connsiteY24" fmla="*/ 235899 h 533051"/>
                  <a:gd name="connsiteX25" fmla="*/ 524050 w 607646"/>
                  <a:gd name="connsiteY25" fmla="*/ 266322 h 533051"/>
                  <a:gd name="connsiteX26" fmla="*/ 516752 w 607646"/>
                  <a:gd name="connsiteY26" fmla="*/ 283752 h 533051"/>
                  <a:gd name="connsiteX27" fmla="*/ 524050 w 607646"/>
                  <a:gd name="connsiteY27" fmla="*/ 301182 h 533051"/>
                  <a:gd name="connsiteX28" fmla="*/ 541501 w 607646"/>
                  <a:gd name="connsiteY28" fmla="*/ 308365 h 533051"/>
                  <a:gd name="connsiteX29" fmla="*/ 558952 w 607646"/>
                  <a:gd name="connsiteY29" fmla="*/ 301182 h 533051"/>
                  <a:gd name="connsiteX30" fmla="*/ 589413 w 607646"/>
                  <a:gd name="connsiteY30" fmla="*/ 270759 h 533051"/>
                  <a:gd name="connsiteX31" fmla="*/ 594384 w 607646"/>
                  <a:gd name="connsiteY31" fmla="*/ 268752 h 533051"/>
                  <a:gd name="connsiteX32" fmla="*/ 599355 w 607646"/>
                  <a:gd name="connsiteY32" fmla="*/ 270759 h 533051"/>
                  <a:gd name="connsiteX33" fmla="*/ 599778 w 607646"/>
                  <a:gd name="connsiteY33" fmla="*/ 271181 h 533051"/>
                  <a:gd name="connsiteX34" fmla="*/ 606758 w 607646"/>
                  <a:gd name="connsiteY34" fmla="*/ 297168 h 533051"/>
                  <a:gd name="connsiteX35" fmla="*/ 590047 w 607646"/>
                  <a:gd name="connsiteY35" fmla="*/ 359704 h 533051"/>
                  <a:gd name="connsiteX36" fmla="*/ 571010 w 607646"/>
                  <a:gd name="connsiteY36" fmla="*/ 378612 h 533051"/>
                  <a:gd name="connsiteX37" fmla="*/ 570798 w 607646"/>
                  <a:gd name="connsiteY37" fmla="*/ 378718 h 533051"/>
                  <a:gd name="connsiteX38" fmla="*/ 501627 w 607646"/>
                  <a:gd name="connsiteY38" fmla="*/ 395303 h 533051"/>
                  <a:gd name="connsiteX39" fmla="*/ 377987 w 607646"/>
                  <a:gd name="connsiteY39" fmla="*/ 518790 h 533051"/>
                  <a:gd name="connsiteX40" fmla="*/ 343507 w 607646"/>
                  <a:gd name="connsiteY40" fmla="*/ 533051 h 533051"/>
                  <a:gd name="connsiteX41" fmla="*/ 309028 w 607646"/>
                  <a:gd name="connsiteY41" fmla="*/ 518790 h 533051"/>
                  <a:gd name="connsiteX42" fmla="*/ 306066 w 607646"/>
                  <a:gd name="connsiteY42" fmla="*/ 515833 h 533051"/>
                  <a:gd name="connsiteX43" fmla="*/ 291788 w 607646"/>
                  <a:gd name="connsiteY43" fmla="*/ 481501 h 533051"/>
                  <a:gd name="connsiteX44" fmla="*/ 306066 w 607646"/>
                  <a:gd name="connsiteY44" fmla="*/ 447064 h 533051"/>
                  <a:gd name="connsiteX45" fmla="*/ 429707 w 607646"/>
                  <a:gd name="connsiteY45" fmla="*/ 323576 h 533051"/>
                  <a:gd name="connsiteX46" fmla="*/ 446418 w 607646"/>
                  <a:gd name="connsiteY46" fmla="*/ 254491 h 533051"/>
                  <a:gd name="connsiteX47" fmla="*/ 446418 w 607646"/>
                  <a:gd name="connsiteY47" fmla="*/ 254280 h 533051"/>
                  <a:gd name="connsiteX48" fmla="*/ 465455 w 607646"/>
                  <a:gd name="connsiteY48" fmla="*/ 235265 h 533051"/>
                  <a:gd name="connsiteX49" fmla="*/ 527963 w 607646"/>
                  <a:gd name="connsiteY49" fmla="*/ 218575 h 533051"/>
                  <a:gd name="connsiteX50" fmla="*/ 534943 w 607646"/>
                  <a:gd name="connsiteY50" fmla="*/ 217624 h 533051"/>
                  <a:gd name="connsiteX51" fmla="*/ 253873 w 607646"/>
                  <a:gd name="connsiteY51" fmla="*/ 140927 h 533051"/>
                  <a:gd name="connsiteX52" fmla="*/ 141005 w 607646"/>
                  <a:gd name="connsiteY52" fmla="*/ 253542 h 533051"/>
                  <a:gd name="connsiteX53" fmla="*/ 253873 w 607646"/>
                  <a:gd name="connsiteY53" fmla="*/ 366262 h 533051"/>
                  <a:gd name="connsiteX54" fmla="*/ 366741 w 607646"/>
                  <a:gd name="connsiteY54" fmla="*/ 253542 h 533051"/>
                  <a:gd name="connsiteX55" fmla="*/ 253873 w 607646"/>
                  <a:gd name="connsiteY55" fmla="*/ 140927 h 533051"/>
                  <a:gd name="connsiteX56" fmla="*/ 232929 w 607646"/>
                  <a:gd name="connsiteY56" fmla="*/ 0 h 533051"/>
                  <a:gd name="connsiteX57" fmla="*/ 274818 w 607646"/>
                  <a:gd name="connsiteY57" fmla="*/ 0 h 533051"/>
                  <a:gd name="connsiteX58" fmla="*/ 316918 w 607646"/>
                  <a:gd name="connsiteY58" fmla="*/ 42045 h 533051"/>
                  <a:gd name="connsiteX59" fmla="*/ 316918 w 607646"/>
                  <a:gd name="connsiteY59" fmla="*/ 55885 h 533051"/>
                  <a:gd name="connsiteX60" fmla="*/ 349287 w 607646"/>
                  <a:gd name="connsiteY60" fmla="*/ 69301 h 533051"/>
                  <a:gd name="connsiteX61" fmla="*/ 359125 w 607646"/>
                  <a:gd name="connsiteY61" fmla="*/ 59476 h 533051"/>
                  <a:gd name="connsiteX62" fmla="*/ 388849 w 607646"/>
                  <a:gd name="connsiteY62" fmla="*/ 47222 h 533051"/>
                  <a:gd name="connsiteX63" fmla="*/ 418574 w 607646"/>
                  <a:gd name="connsiteY63" fmla="*/ 59476 h 533051"/>
                  <a:gd name="connsiteX64" fmla="*/ 448192 w 607646"/>
                  <a:gd name="connsiteY64" fmla="*/ 89162 h 533051"/>
                  <a:gd name="connsiteX65" fmla="*/ 448192 w 607646"/>
                  <a:gd name="connsiteY65" fmla="*/ 148533 h 533051"/>
                  <a:gd name="connsiteX66" fmla="*/ 438460 w 607646"/>
                  <a:gd name="connsiteY66" fmla="*/ 158252 h 533051"/>
                  <a:gd name="connsiteX67" fmla="*/ 451789 w 607646"/>
                  <a:gd name="connsiteY67" fmla="*/ 190684 h 533051"/>
                  <a:gd name="connsiteX68" fmla="*/ 465752 w 607646"/>
                  <a:gd name="connsiteY68" fmla="*/ 190684 h 533051"/>
                  <a:gd name="connsiteX69" fmla="*/ 497909 w 607646"/>
                  <a:gd name="connsiteY69" fmla="*/ 205685 h 533051"/>
                  <a:gd name="connsiteX70" fmla="*/ 450837 w 607646"/>
                  <a:gd name="connsiteY70" fmla="*/ 218257 h 533051"/>
                  <a:gd name="connsiteX71" fmla="*/ 419420 w 607646"/>
                  <a:gd name="connsiteY71" fmla="*/ 249739 h 533051"/>
                  <a:gd name="connsiteX72" fmla="*/ 419208 w 607646"/>
                  <a:gd name="connsiteY72" fmla="*/ 250372 h 533051"/>
                  <a:gd name="connsiteX73" fmla="*/ 403764 w 607646"/>
                  <a:gd name="connsiteY73" fmla="*/ 314603 h 533051"/>
                  <a:gd name="connsiteX74" fmla="*/ 283598 w 607646"/>
                  <a:gd name="connsiteY74" fmla="*/ 434613 h 533051"/>
                  <a:gd name="connsiteX75" fmla="*/ 264134 w 607646"/>
                  <a:gd name="connsiteY75" fmla="*/ 481518 h 533051"/>
                  <a:gd name="connsiteX76" fmla="*/ 269317 w 607646"/>
                  <a:gd name="connsiteY76" fmla="*/ 507083 h 533051"/>
                  <a:gd name="connsiteX77" fmla="*/ 232929 w 607646"/>
                  <a:gd name="connsiteY77" fmla="*/ 507083 h 533051"/>
                  <a:gd name="connsiteX78" fmla="*/ 190828 w 607646"/>
                  <a:gd name="connsiteY78" fmla="*/ 465143 h 533051"/>
                  <a:gd name="connsiteX79" fmla="*/ 190828 w 607646"/>
                  <a:gd name="connsiteY79" fmla="*/ 451304 h 533051"/>
                  <a:gd name="connsiteX80" fmla="*/ 158459 w 607646"/>
                  <a:gd name="connsiteY80" fmla="*/ 437888 h 533051"/>
                  <a:gd name="connsiteX81" fmla="*/ 148622 w 607646"/>
                  <a:gd name="connsiteY81" fmla="*/ 447712 h 533051"/>
                  <a:gd name="connsiteX82" fmla="*/ 118897 w 607646"/>
                  <a:gd name="connsiteY82" fmla="*/ 459967 h 533051"/>
                  <a:gd name="connsiteX83" fmla="*/ 89173 w 607646"/>
                  <a:gd name="connsiteY83" fmla="*/ 447712 h 533051"/>
                  <a:gd name="connsiteX84" fmla="*/ 59554 w 607646"/>
                  <a:gd name="connsiteY84" fmla="*/ 418027 h 533051"/>
                  <a:gd name="connsiteX85" fmla="*/ 59554 w 607646"/>
                  <a:gd name="connsiteY85" fmla="*/ 358656 h 533051"/>
                  <a:gd name="connsiteX86" fmla="*/ 69286 w 607646"/>
                  <a:gd name="connsiteY86" fmla="*/ 348831 h 533051"/>
                  <a:gd name="connsiteX87" fmla="*/ 55958 w 607646"/>
                  <a:gd name="connsiteY87" fmla="*/ 316505 h 533051"/>
                  <a:gd name="connsiteX88" fmla="*/ 41995 w 607646"/>
                  <a:gd name="connsiteY88" fmla="*/ 316505 h 533051"/>
                  <a:gd name="connsiteX89" fmla="*/ 0 w 607646"/>
                  <a:gd name="connsiteY89" fmla="*/ 274565 h 533051"/>
                  <a:gd name="connsiteX90" fmla="*/ 0 w 607646"/>
                  <a:gd name="connsiteY90" fmla="*/ 232625 h 533051"/>
                  <a:gd name="connsiteX91" fmla="*/ 41995 w 607646"/>
                  <a:gd name="connsiteY91" fmla="*/ 190684 h 533051"/>
                  <a:gd name="connsiteX92" fmla="*/ 55958 w 607646"/>
                  <a:gd name="connsiteY92" fmla="*/ 190684 h 533051"/>
                  <a:gd name="connsiteX93" fmla="*/ 69286 w 607646"/>
                  <a:gd name="connsiteY93" fmla="*/ 158252 h 533051"/>
                  <a:gd name="connsiteX94" fmla="*/ 59554 w 607646"/>
                  <a:gd name="connsiteY94" fmla="*/ 148533 h 533051"/>
                  <a:gd name="connsiteX95" fmla="*/ 59554 w 607646"/>
                  <a:gd name="connsiteY95" fmla="*/ 89162 h 533051"/>
                  <a:gd name="connsiteX96" fmla="*/ 89173 w 607646"/>
                  <a:gd name="connsiteY96" fmla="*/ 59476 h 533051"/>
                  <a:gd name="connsiteX97" fmla="*/ 118897 w 607646"/>
                  <a:gd name="connsiteY97" fmla="*/ 47222 h 533051"/>
                  <a:gd name="connsiteX98" fmla="*/ 148622 w 607646"/>
                  <a:gd name="connsiteY98" fmla="*/ 59476 h 533051"/>
                  <a:gd name="connsiteX99" fmla="*/ 158459 w 607646"/>
                  <a:gd name="connsiteY99" fmla="*/ 69301 h 533051"/>
                  <a:gd name="connsiteX100" fmla="*/ 190828 w 607646"/>
                  <a:gd name="connsiteY100" fmla="*/ 55885 h 533051"/>
                  <a:gd name="connsiteX101" fmla="*/ 190828 w 607646"/>
                  <a:gd name="connsiteY101" fmla="*/ 42045 h 533051"/>
                  <a:gd name="connsiteX102" fmla="*/ 232929 w 607646"/>
                  <a:gd name="connsiteY102" fmla="*/ 0 h 5330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</a:cxnLst>
                <a:rect l="l" t="t" r="r" b="b"/>
                <a:pathLst>
                  <a:path w="607646" h="533051">
                    <a:moveTo>
                      <a:pt x="352921" y="457945"/>
                    </a:moveTo>
                    <a:cubicBezTo>
                      <a:pt x="349113" y="457945"/>
                      <a:pt x="345623" y="459423"/>
                      <a:pt x="342979" y="462170"/>
                    </a:cubicBezTo>
                    <a:cubicBezTo>
                      <a:pt x="340229" y="464811"/>
                      <a:pt x="338854" y="468297"/>
                      <a:pt x="338854" y="472100"/>
                    </a:cubicBezTo>
                    <a:cubicBezTo>
                      <a:pt x="338854" y="475797"/>
                      <a:pt x="340229" y="479389"/>
                      <a:pt x="342979" y="482029"/>
                    </a:cubicBezTo>
                    <a:cubicBezTo>
                      <a:pt x="345623" y="484670"/>
                      <a:pt x="349113" y="486149"/>
                      <a:pt x="352921" y="486149"/>
                    </a:cubicBezTo>
                    <a:cubicBezTo>
                      <a:pt x="356622" y="486149"/>
                      <a:pt x="360218" y="484670"/>
                      <a:pt x="362863" y="482029"/>
                    </a:cubicBezTo>
                    <a:cubicBezTo>
                      <a:pt x="365507" y="479389"/>
                      <a:pt x="366987" y="475797"/>
                      <a:pt x="366987" y="472100"/>
                    </a:cubicBezTo>
                    <a:cubicBezTo>
                      <a:pt x="366987" y="468297"/>
                      <a:pt x="365507" y="464811"/>
                      <a:pt x="362863" y="462170"/>
                    </a:cubicBezTo>
                    <a:cubicBezTo>
                      <a:pt x="360218" y="459423"/>
                      <a:pt x="356622" y="457945"/>
                      <a:pt x="352921" y="457945"/>
                    </a:cubicBezTo>
                    <a:close/>
                    <a:moveTo>
                      <a:pt x="438485" y="375972"/>
                    </a:moveTo>
                    <a:cubicBezTo>
                      <a:pt x="435735" y="375972"/>
                      <a:pt x="432985" y="377134"/>
                      <a:pt x="431081" y="379141"/>
                    </a:cubicBezTo>
                    <a:lnTo>
                      <a:pt x="372699" y="437346"/>
                    </a:lnTo>
                    <a:cubicBezTo>
                      <a:pt x="370689" y="439353"/>
                      <a:pt x="369632" y="441994"/>
                      <a:pt x="369632" y="444846"/>
                    </a:cubicBezTo>
                    <a:cubicBezTo>
                      <a:pt x="369632" y="447698"/>
                      <a:pt x="370689" y="450339"/>
                      <a:pt x="372699" y="452346"/>
                    </a:cubicBezTo>
                    <a:cubicBezTo>
                      <a:pt x="374708" y="454353"/>
                      <a:pt x="377352" y="455409"/>
                      <a:pt x="380208" y="455409"/>
                    </a:cubicBezTo>
                    <a:cubicBezTo>
                      <a:pt x="382958" y="455409"/>
                      <a:pt x="385602" y="454353"/>
                      <a:pt x="387612" y="452346"/>
                    </a:cubicBezTo>
                    <a:lnTo>
                      <a:pt x="445994" y="394035"/>
                    </a:lnTo>
                    <a:cubicBezTo>
                      <a:pt x="448004" y="392028"/>
                      <a:pt x="449062" y="389387"/>
                      <a:pt x="449062" y="386535"/>
                    </a:cubicBezTo>
                    <a:cubicBezTo>
                      <a:pt x="449062" y="383789"/>
                      <a:pt x="448004" y="381148"/>
                      <a:pt x="445994" y="379141"/>
                    </a:cubicBezTo>
                    <a:cubicBezTo>
                      <a:pt x="443985" y="377134"/>
                      <a:pt x="441341" y="375972"/>
                      <a:pt x="438485" y="375972"/>
                    </a:cubicBezTo>
                    <a:close/>
                    <a:moveTo>
                      <a:pt x="534943" y="217624"/>
                    </a:moveTo>
                    <a:cubicBezTo>
                      <a:pt x="542136" y="217624"/>
                      <a:pt x="548905" y="220371"/>
                      <a:pt x="553981" y="225547"/>
                    </a:cubicBezTo>
                    <a:lnTo>
                      <a:pt x="554404" y="225969"/>
                    </a:lnTo>
                    <a:cubicBezTo>
                      <a:pt x="555779" y="227237"/>
                      <a:pt x="556520" y="229033"/>
                      <a:pt x="556520" y="230934"/>
                    </a:cubicBezTo>
                    <a:cubicBezTo>
                      <a:pt x="556520" y="232836"/>
                      <a:pt x="555779" y="234632"/>
                      <a:pt x="554510" y="235899"/>
                    </a:cubicBezTo>
                    <a:lnTo>
                      <a:pt x="524050" y="266322"/>
                    </a:lnTo>
                    <a:cubicBezTo>
                      <a:pt x="519396" y="270970"/>
                      <a:pt x="516752" y="277203"/>
                      <a:pt x="516752" y="283752"/>
                    </a:cubicBezTo>
                    <a:cubicBezTo>
                      <a:pt x="516752" y="290301"/>
                      <a:pt x="519396" y="296534"/>
                      <a:pt x="524050" y="301182"/>
                    </a:cubicBezTo>
                    <a:cubicBezTo>
                      <a:pt x="528703" y="305830"/>
                      <a:pt x="534838" y="308365"/>
                      <a:pt x="541501" y="308365"/>
                    </a:cubicBezTo>
                    <a:cubicBezTo>
                      <a:pt x="548058" y="308365"/>
                      <a:pt x="554299" y="305830"/>
                      <a:pt x="558952" y="301182"/>
                    </a:cubicBezTo>
                    <a:lnTo>
                      <a:pt x="589413" y="270759"/>
                    </a:lnTo>
                    <a:cubicBezTo>
                      <a:pt x="590682" y="269491"/>
                      <a:pt x="592480" y="268752"/>
                      <a:pt x="594384" y="268752"/>
                    </a:cubicBezTo>
                    <a:cubicBezTo>
                      <a:pt x="596288" y="268752"/>
                      <a:pt x="597980" y="269491"/>
                      <a:pt x="599355" y="270759"/>
                    </a:cubicBezTo>
                    <a:lnTo>
                      <a:pt x="599778" y="271181"/>
                    </a:lnTo>
                    <a:cubicBezTo>
                      <a:pt x="606547" y="277942"/>
                      <a:pt x="609191" y="287977"/>
                      <a:pt x="606758" y="297168"/>
                    </a:cubicBezTo>
                    <a:lnTo>
                      <a:pt x="590047" y="359704"/>
                    </a:lnTo>
                    <a:cubicBezTo>
                      <a:pt x="587509" y="368894"/>
                      <a:pt x="580211" y="376183"/>
                      <a:pt x="571010" y="378612"/>
                    </a:cubicBezTo>
                    <a:cubicBezTo>
                      <a:pt x="570904" y="378718"/>
                      <a:pt x="570904" y="378718"/>
                      <a:pt x="570798" y="378718"/>
                    </a:cubicBezTo>
                    <a:lnTo>
                      <a:pt x="501627" y="395303"/>
                    </a:lnTo>
                    <a:lnTo>
                      <a:pt x="377987" y="518790"/>
                    </a:lnTo>
                    <a:cubicBezTo>
                      <a:pt x="368785" y="527981"/>
                      <a:pt x="356517" y="533051"/>
                      <a:pt x="343507" y="533051"/>
                    </a:cubicBezTo>
                    <a:cubicBezTo>
                      <a:pt x="330498" y="533051"/>
                      <a:pt x="318229" y="527981"/>
                      <a:pt x="309028" y="518790"/>
                    </a:cubicBezTo>
                    <a:lnTo>
                      <a:pt x="306066" y="515833"/>
                    </a:lnTo>
                    <a:cubicBezTo>
                      <a:pt x="296865" y="506642"/>
                      <a:pt x="291788" y="494494"/>
                      <a:pt x="291788" y="481501"/>
                    </a:cubicBezTo>
                    <a:cubicBezTo>
                      <a:pt x="291788" y="468402"/>
                      <a:pt x="296865" y="456254"/>
                      <a:pt x="306066" y="447064"/>
                    </a:cubicBezTo>
                    <a:lnTo>
                      <a:pt x="429707" y="323576"/>
                    </a:lnTo>
                    <a:lnTo>
                      <a:pt x="446418" y="254491"/>
                    </a:lnTo>
                    <a:cubicBezTo>
                      <a:pt x="446418" y="254385"/>
                      <a:pt x="446418" y="254385"/>
                      <a:pt x="446418" y="254280"/>
                    </a:cubicBezTo>
                    <a:cubicBezTo>
                      <a:pt x="448956" y="245089"/>
                      <a:pt x="456254" y="237801"/>
                      <a:pt x="465455" y="235265"/>
                    </a:cubicBezTo>
                    <a:lnTo>
                      <a:pt x="527963" y="218575"/>
                    </a:lnTo>
                    <a:cubicBezTo>
                      <a:pt x="530290" y="217941"/>
                      <a:pt x="532617" y="217624"/>
                      <a:pt x="534943" y="217624"/>
                    </a:cubicBezTo>
                    <a:close/>
                    <a:moveTo>
                      <a:pt x="253873" y="140927"/>
                    </a:moveTo>
                    <a:cubicBezTo>
                      <a:pt x="191674" y="140927"/>
                      <a:pt x="141005" y="191424"/>
                      <a:pt x="141005" y="253542"/>
                    </a:cubicBezTo>
                    <a:cubicBezTo>
                      <a:pt x="141005" y="315765"/>
                      <a:pt x="191674" y="366262"/>
                      <a:pt x="253873" y="366262"/>
                    </a:cubicBezTo>
                    <a:cubicBezTo>
                      <a:pt x="316072" y="366262"/>
                      <a:pt x="366741" y="315765"/>
                      <a:pt x="366741" y="253542"/>
                    </a:cubicBezTo>
                    <a:cubicBezTo>
                      <a:pt x="366741" y="191424"/>
                      <a:pt x="316072" y="140927"/>
                      <a:pt x="253873" y="140927"/>
                    </a:cubicBezTo>
                    <a:close/>
                    <a:moveTo>
                      <a:pt x="232929" y="0"/>
                    </a:moveTo>
                    <a:lnTo>
                      <a:pt x="274818" y="0"/>
                    </a:lnTo>
                    <a:cubicBezTo>
                      <a:pt x="298090" y="0"/>
                      <a:pt x="316918" y="18910"/>
                      <a:pt x="316918" y="42045"/>
                    </a:cubicBezTo>
                    <a:lnTo>
                      <a:pt x="316918" y="55885"/>
                    </a:lnTo>
                    <a:cubicBezTo>
                      <a:pt x="328025" y="59371"/>
                      <a:pt x="338921" y="63913"/>
                      <a:pt x="349287" y="69301"/>
                    </a:cubicBezTo>
                    <a:lnTo>
                      <a:pt x="359125" y="59476"/>
                    </a:lnTo>
                    <a:cubicBezTo>
                      <a:pt x="367058" y="51553"/>
                      <a:pt x="377637" y="47222"/>
                      <a:pt x="388849" y="47222"/>
                    </a:cubicBezTo>
                    <a:cubicBezTo>
                      <a:pt x="400062" y="47222"/>
                      <a:pt x="410640" y="51553"/>
                      <a:pt x="418574" y="59476"/>
                    </a:cubicBezTo>
                    <a:lnTo>
                      <a:pt x="448192" y="89162"/>
                    </a:lnTo>
                    <a:cubicBezTo>
                      <a:pt x="464588" y="105536"/>
                      <a:pt x="464588" y="132158"/>
                      <a:pt x="448192" y="148533"/>
                    </a:cubicBezTo>
                    <a:lnTo>
                      <a:pt x="438460" y="158252"/>
                    </a:lnTo>
                    <a:cubicBezTo>
                      <a:pt x="443749" y="168710"/>
                      <a:pt x="448298" y="179486"/>
                      <a:pt x="451789" y="190684"/>
                    </a:cubicBezTo>
                    <a:lnTo>
                      <a:pt x="465752" y="190684"/>
                    </a:lnTo>
                    <a:cubicBezTo>
                      <a:pt x="478657" y="190684"/>
                      <a:pt x="490187" y="196494"/>
                      <a:pt x="497909" y="205685"/>
                    </a:cubicBezTo>
                    <a:lnTo>
                      <a:pt x="450837" y="218257"/>
                    </a:lnTo>
                    <a:cubicBezTo>
                      <a:pt x="435604" y="222377"/>
                      <a:pt x="423440" y="234420"/>
                      <a:pt x="419420" y="249739"/>
                    </a:cubicBezTo>
                    <a:cubicBezTo>
                      <a:pt x="419314" y="249950"/>
                      <a:pt x="419314" y="250161"/>
                      <a:pt x="419208" y="250372"/>
                    </a:cubicBezTo>
                    <a:lnTo>
                      <a:pt x="403764" y="314603"/>
                    </a:lnTo>
                    <a:lnTo>
                      <a:pt x="283598" y="434613"/>
                    </a:lnTo>
                    <a:cubicBezTo>
                      <a:pt x="271010" y="447078"/>
                      <a:pt x="264134" y="463770"/>
                      <a:pt x="264134" y="481518"/>
                    </a:cubicBezTo>
                    <a:cubicBezTo>
                      <a:pt x="264134" y="490392"/>
                      <a:pt x="265932" y="499160"/>
                      <a:pt x="269317" y="507083"/>
                    </a:cubicBezTo>
                    <a:lnTo>
                      <a:pt x="232929" y="507083"/>
                    </a:lnTo>
                    <a:cubicBezTo>
                      <a:pt x="209657" y="507083"/>
                      <a:pt x="190828" y="488279"/>
                      <a:pt x="190828" y="465143"/>
                    </a:cubicBezTo>
                    <a:lnTo>
                      <a:pt x="190828" y="451304"/>
                    </a:lnTo>
                    <a:cubicBezTo>
                      <a:pt x="179721" y="447712"/>
                      <a:pt x="168826" y="443275"/>
                      <a:pt x="158459" y="437888"/>
                    </a:cubicBezTo>
                    <a:lnTo>
                      <a:pt x="148622" y="447712"/>
                    </a:lnTo>
                    <a:cubicBezTo>
                      <a:pt x="140688" y="455635"/>
                      <a:pt x="130110" y="459967"/>
                      <a:pt x="118897" y="459967"/>
                    </a:cubicBezTo>
                    <a:cubicBezTo>
                      <a:pt x="107685" y="459967"/>
                      <a:pt x="97107" y="455635"/>
                      <a:pt x="89173" y="447712"/>
                    </a:cubicBezTo>
                    <a:lnTo>
                      <a:pt x="59554" y="418027"/>
                    </a:lnTo>
                    <a:cubicBezTo>
                      <a:pt x="43158" y="401652"/>
                      <a:pt x="43158" y="375030"/>
                      <a:pt x="59554" y="358656"/>
                    </a:cubicBezTo>
                    <a:lnTo>
                      <a:pt x="69286" y="348831"/>
                    </a:lnTo>
                    <a:cubicBezTo>
                      <a:pt x="63997" y="338478"/>
                      <a:pt x="59449" y="327597"/>
                      <a:pt x="55958" y="316505"/>
                    </a:cubicBezTo>
                    <a:lnTo>
                      <a:pt x="41995" y="316505"/>
                    </a:lnTo>
                    <a:cubicBezTo>
                      <a:pt x="18829" y="316505"/>
                      <a:pt x="0" y="297700"/>
                      <a:pt x="0" y="274565"/>
                    </a:cubicBezTo>
                    <a:lnTo>
                      <a:pt x="0" y="232625"/>
                    </a:lnTo>
                    <a:cubicBezTo>
                      <a:pt x="0" y="209488"/>
                      <a:pt x="18829" y="190684"/>
                      <a:pt x="41995" y="190684"/>
                    </a:cubicBezTo>
                    <a:lnTo>
                      <a:pt x="55958" y="190684"/>
                    </a:lnTo>
                    <a:cubicBezTo>
                      <a:pt x="59449" y="179486"/>
                      <a:pt x="63997" y="168710"/>
                      <a:pt x="69286" y="158252"/>
                    </a:cubicBezTo>
                    <a:lnTo>
                      <a:pt x="59554" y="148533"/>
                    </a:lnTo>
                    <a:cubicBezTo>
                      <a:pt x="43158" y="132158"/>
                      <a:pt x="43158" y="105536"/>
                      <a:pt x="59554" y="89162"/>
                    </a:cubicBezTo>
                    <a:lnTo>
                      <a:pt x="89173" y="59476"/>
                    </a:lnTo>
                    <a:cubicBezTo>
                      <a:pt x="97107" y="51553"/>
                      <a:pt x="107685" y="47222"/>
                      <a:pt x="118897" y="47222"/>
                    </a:cubicBezTo>
                    <a:cubicBezTo>
                      <a:pt x="130110" y="47222"/>
                      <a:pt x="140688" y="51553"/>
                      <a:pt x="148622" y="59476"/>
                    </a:cubicBezTo>
                    <a:lnTo>
                      <a:pt x="158459" y="69301"/>
                    </a:lnTo>
                    <a:cubicBezTo>
                      <a:pt x="168826" y="63913"/>
                      <a:pt x="179721" y="59371"/>
                      <a:pt x="190828" y="55885"/>
                    </a:cubicBezTo>
                    <a:lnTo>
                      <a:pt x="190828" y="42045"/>
                    </a:lnTo>
                    <a:cubicBezTo>
                      <a:pt x="190828" y="18910"/>
                      <a:pt x="209657" y="0"/>
                      <a:pt x="23292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/>
              <a:lstStyle/>
              <a:p>
                <a:endParaRPr lang="zh-CN" altLang="en-US" sz="135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9" name="íŝḷidè"/>
            <p:cNvGrpSpPr/>
            <p:nvPr/>
          </p:nvGrpSpPr>
          <p:grpSpPr>
            <a:xfrm>
              <a:off x="8806069" y="3616911"/>
              <a:ext cx="953230" cy="953228"/>
              <a:chOff x="7828426" y="1707625"/>
              <a:chExt cx="682538" cy="682537"/>
            </a:xfrm>
          </p:grpSpPr>
          <p:sp>
            <p:nvSpPr>
              <p:cNvPr id="31" name="ïṥḷïḋé"/>
              <p:cNvSpPr/>
              <p:nvPr/>
            </p:nvSpPr>
            <p:spPr>
              <a:xfrm>
                <a:off x="7828426" y="1707625"/>
                <a:ext cx="682538" cy="682537"/>
              </a:xfrm>
              <a:prstGeom prst="ellipse">
                <a:avLst/>
              </a:prstGeom>
              <a:solidFill>
                <a:schemeClr val="accent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68580" tIns="34290" rIns="68580" bIns="34290" rtlCol="0" anchor="ctr">
                <a:normAutofit/>
              </a:bodyPr>
              <a:lstStyle/>
              <a:p>
                <a:pPr algn="ctr"/>
                <a:endParaRPr lang="zh-CN" altLang="en-US" sz="1200" b="1" i="1" dirty="0">
                  <a:solidFill>
                    <a:srgbClr val="354B5E"/>
                  </a:solidFill>
                </a:endParaRPr>
              </a:p>
            </p:txBody>
          </p:sp>
          <p:sp>
            <p:nvSpPr>
              <p:cNvPr id="32" name="ísḻíḍé"/>
              <p:cNvSpPr/>
              <p:nvPr/>
            </p:nvSpPr>
            <p:spPr bwMode="auto">
              <a:xfrm>
                <a:off x="7963487" y="1868001"/>
                <a:ext cx="412418" cy="361786"/>
              </a:xfrm>
              <a:custGeom>
                <a:avLst/>
                <a:gdLst>
                  <a:gd name="connsiteX0" fmla="*/ 352921 w 607646"/>
                  <a:gd name="connsiteY0" fmla="*/ 457945 h 533051"/>
                  <a:gd name="connsiteX1" fmla="*/ 342979 w 607646"/>
                  <a:gd name="connsiteY1" fmla="*/ 462170 h 533051"/>
                  <a:gd name="connsiteX2" fmla="*/ 338854 w 607646"/>
                  <a:gd name="connsiteY2" fmla="*/ 472100 h 533051"/>
                  <a:gd name="connsiteX3" fmla="*/ 342979 w 607646"/>
                  <a:gd name="connsiteY3" fmla="*/ 482029 h 533051"/>
                  <a:gd name="connsiteX4" fmla="*/ 352921 w 607646"/>
                  <a:gd name="connsiteY4" fmla="*/ 486149 h 533051"/>
                  <a:gd name="connsiteX5" fmla="*/ 362863 w 607646"/>
                  <a:gd name="connsiteY5" fmla="*/ 482029 h 533051"/>
                  <a:gd name="connsiteX6" fmla="*/ 366987 w 607646"/>
                  <a:gd name="connsiteY6" fmla="*/ 472100 h 533051"/>
                  <a:gd name="connsiteX7" fmla="*/ 362863 w 607646"/>
                  <a:gd name="connsiteY7" fmla="*/ 462170 h 533051"/>
                  <a:gd name="connsiteX8" fmla="*/ 352921 w 607646"/>
                  <a:gd name="connsiteY8" fmla="*/ 457945 h 533051"/>
                  <a:gd name="connsiteX9" fmla="*/ 438485 w 607646"/>
                  <a:gd name="connsiteY9" fmla="*/ 375972 h 533051"/>
                  <a:gd name="connsiteX10" fmla="*/ 431081 w 607646"/>
                  <a:gd name="connsiteY10" fmla="*/ 379141 h 533051"/>
                  <a:gd name="connsiteX11" fmla="*/ 372699 w 607646"/>
                  <a:gd name="connsiteY11" fmla="*/ 437346 h 533051"/>
                  <a:gd name="connsiteX12" fmla="*/ 369632 w 607646"/>
                  <a:gd name="connsiteY12" fmla="*/ 444846 h 533051"/>
                  <a:gd name="connsiteX13" fmla="*/ 372699 w 607646"/>
                  <a:gd name="connsiteY13" fmla="*/ 452346 h 533051"/>
                  <a:gd name="connsiteX14" fmla="*/ 380208 w 607646"/>
                  <a:gd name="connsiteY14" fmla="*/ 455409 h 533051"/>
                  <a:gd name="connsiteX15" fmla="*/ 387612 w 607646"/>
                  <a:gd name="connsiteY15" fmla="*/ 452346 h 533051"/>
                  <a:gd name="connsiteX16" fmla="*/ 445994 w 607646"/>
                  <a:gd name="connsiteY16" fmla="*/ 394035 h 533051"/>
                  <a:gd name="connsiteX17" fmla="*/ 449062 w 607646"/>
                  <a:gd name="connsiteY17" fmla="*/ 386535 h 533051"/>
                  <a:gd name="connsiteX18" fmla="*/ 445994 w 607646"/>
                  <a:gd name="connsiteY18" fmla="*/ 379141 h 533051"/>
                  <a:gd name="connsiteX19" fmla="*/ 438485 w 607646"/>
                  <a:gd name="connsiteY19" fmla="*/ 375972 h 533051"/>
                  <a:gd name="connsiteX20" fmla="*/ 534943 w 607646"/>
                  <a:gd name="connsiteY20" fmla="*/ 217624 h 533051"/>
                  <a:gd name="connsiteX21" fmla="*/ 553981 w 607646"/>
                  <a:gd name="connsiteY21" fmla="*/ 225547 h 533051"/>
                  <a:gd name="connsiteX22" fmla="*/ 554404 w 607646"/>
                  <a:gd name="connsiteY22" fmla="*/ 225969 h 533051"/>
                  <a:gd name="connsiteX23" fmla="*/ 556520 w 607646"/>
                  <a:gd name="connsiteY23" fmla="*/ 230934 h 533051"/>
                  <a:gd name="connsiteX24" fmla="*/ 554510 w 607646"/>
                  <a:gd name="connsiteY24" fmla="*/ 235899 h 533051"/>
                  <a:gd name="connsiteX25" fmla="*/ 524050 w 607646"/>
                  <a:gd name="connsiteY25" fmla="*/ 266322 h 533051"/>
                  <a:gd name="connsiteX26" fmla="*/ 516752 w 607646"/>
                  <a:gd name="connsiteY26" fmla="*/ 283752 h 533051"/>
                  <a:gd name="connsiteX27" fmla="*/ 524050 w 607646"/>
                  <a:gd name="connsiteY27" fmla="*/ 301182 h 533051"/>
                  <a:gd name="connsiteX28" fmla="*/ 541501 w 607646"/>
                  <a:gd name="connsiteY28" fmla="*/ 308365 h 533051"/>
                  <a:gd name="connsiteX29" fmla="*/ 558952 w 607646"/>
                  <a:gd name="connsiteY29" fmla="*/ 301182 h 533051"/>
                  <a:gd name="connsiteX30" fmla="*/ 589413 w 607646"/>
                  <a:gd name="connsiteY30" fmla="*/ 270759 h 533051"/>
                  <a:gd name="connsiteX31" fmla="*/ 594384 w 607646"/>
                  <a:gd name="connsiteY31" fmla="*/ 268752 h 533051"/>
                  <a:gd name="connsiteX32" fmla="*/ 599355 w 607646"/>
                  <a:gd name="connsiteY32" fmla="*/ 270759 h 533051"/>
                  <a:gd name="connsiteX33" fmla="*/ 599778 w 607646"/>
                  <a:gd name="connsiteY33" fmla="*/ 271181 h 533051"/>
                  <a:gd name="connsiteX34" fmla="*/ 606758 w 607646"/>
                  <a:gd name="connsiteY34" fmla="*/ 297168 h 533051"/>
                  <a:gd name="connsiteX35" fmla="*/ 590047 w 607646"/>
                  <a:gd name="connsiteY35" fmla="*/ 359704 h 533051"/>
                  <a:gd name="connsiteX36" fmla="*/ 571010 w 607646"/>
                  <a:gd name="connsiteY36" fmla="*/ 378612 h 533051"/>
                  <a:gd name="connsiteX37" fmla="*/ 570798 w 607646"/>
                  <a:gd name="connsiteY37" fmla="*/ 378718 h 533051"/>
                  <a:gd name="connsiteX38" fmla="*/ 501627 w 607646"/>
                  <a:gd name="connsiteY38" fmla="*/ 395303 h 533051"/>
                  <a:gd name="connsiteX39" fmla="*/ 377987 w 607646"/>
                  <a:gd name="connsiteY39" fmla="*/ 518790 h 533051"/>
                  <a:gd name="connsiteX40" fmla="*/ 343507 w 607646"/>
                  <a:gd name="connsiteY40" fmla="*/ 533051 h 533051"/>
                  <a:gd name="connsiteX41" fmla="*/ 309028 w 607646"/>
                  <a:gd name="connsiteY41" fmla="*/ 518790 h 533051"/>
                  <a:gd name="connsiteX42" fmla="*/ 306066 w 607646"/>
                  <a:gd name="connsiteY42" fmla="*/ 515833 h 533051"/>
                  <a:gd name="connsiteX43" fmla="*/ 291788 w 607646"/>
                  <a:gd name="connsiteY43" fmla="*/ 481501 h 533051"/>
                  <a:gd name="connsiteX44" fmla="*/ 306066 w 607646"/>
                  <a:gd name="connsiteY44" fmla="*/ 447064 h 533051"/>
                  <a:gd name="connsiteX45" fmla="*/ 429707 w 607646"/>
                  <a:gd name="connsiteY45" fmla="*/ 323576 h 533051"/>
                  <a:gd name="connsiteX46" fmla="*/ 446418 w 607646"/>
                  <a:gd name="connsiteY46" fmla="*/ 254491 h 533051"/>
                  <a:gd name="connsiteX47" fmla="*/ 446418 w 607646"/>
                  <a:gd name="connsiteY47" fmla="*/ 254280 h 533051"/>
                  <a:gd name="connsiteX48" fmla="*/ 465455 w 607646"/>
                  <a:gd name="connsiteY48" fmla="*/ 235265 h 533051"/>
                  <a:gd name="connsiteX49" fmla="*/ 527963 w 607646"/>
                  <a:gd name="connsiteY49" fmla="*/ 218575 h 533051"/>
                  <a:gd name="connsiteX50" fmla="*/ 534943 w 607646"/>
                  <a:gd name="connsiteY50" fmla="*/ 217624 h 533051"/>
                  <a:gd name="connsiteX51" fmla="*/ 253873 w 607646"/>
                  <a:gd name="connsiteY51" fmla="*/ 140927 h 533051"/>
                  <a:gd name="connsiteX52" fmla="*/ 141005 w 607646"/>
                  <a:gd name="connsiteY52" fmla="*/ 253542 h 533051"/>
                  <a:gd name="connsiteX53" fmla="*/ 253873 w 607646"/>
                  <a:gd name="connsiteY53" fmla="*/ 366262 h 533051"/>
                  <a:gd name="connsiteX54" fmla="*/ 366741 w 607646"/>
                  <a:gd name="connsiteY54" fmla="*/ 253542 h 533051"/>
                  <a:gd name="connsiteX55" fmla="*/ 253873 w 607646"/>
                  <a:gd name="connsiteY55" fmla="*/ 140927 h 533051"/>
                  <a:gd name="connsiteX56" fmla="*/ 232929 w 607646"/>
                  <a:gd name="connsiteY56" fmla="*/ 0 h 533051"/>
                  <a:gd name="connsiteX57" fmla="*/ 274818 w 607646"/>
                  <a:gd name="connsiteY57" fmla="*/ 0 h 533051"/>
                  <a:gd name="connsiteX58" fmla="*/ 316918 w 607646"/>
                  <a:gd name="connsiteY58" fmla="*/ 42045 h 533051"/>
                  <a:gd name="connsiteX59" fmla="*/ 316918 w 607646"/>
                  <a:gd name="connsiteY59" fmla="*/ 55885 h 533051"/>
                  <a:gd name="connsiteX60" fmla="*/ 349287 w 607646"/>
                  <a:gd name="connsiteY60" fmla="*/ 69301 h 533051"/>
                  <a:gd name="connsiteX61" fmla="*/ 359125 w 607646"/>
                  <a:gd name="connsiteY61" fmla="*/ 59476 h 533051"/>
                  <a:gd name="connsiteX62" fmla="*/ 388849 w 607646"/>
                  <a:gd name="connsiteY62" fmla="*/ 47222 h 533051"/>
                  <a:gd name="connsiteX63" fmla="*/ 418574 w 607646"/>
                  <a:gd name="connsiteY63" fmla="*/ 59476 h 533051"/>
                  <a:gd name="connsiteX64" fmla="*/ 448192 w 607646"/>
                  <a:gd name="connsiteY64" fmla="*/ 89162 h 533051"/>
                  <a:gd name="connsiteX65" fmla="*/ 448192 w 607646"/>
                  <a:gd name="connsiteY65" fmla="*/ 148533 h 533051"/>
                  <a:gd name="connsiteX66" fmla="*/ 438460 w 607646"/>
                  <a:gd name="connsiteY66" fmla="*/ 158252 h 533051"/>
                  <a:gd name="connsiteX67" fmla="*/ 451789 w 607646"/>
                  <a:gd name="connsiteY67" fmla="*/ 190684 h 533051"/>
                  <a:gd name="connsiteX68" fmla="*/ 465752 w 607646"/>
                  <a:gd name="connsiteY68" fmla="*/ 190684 h 533051"/>
                  <a:gd name="connsiteX69" fmla="*/ 497909 w 607646"/>
                  <a:gd name="connsiteY69" fmla="*/ 205685 h 533051"/>
                  <a:gd name="connsiteX70" fmla="*/ 450837 w 607646"/>
                  <a:gd name="connsiteY70" fmla="*/ 218257 h 533051"/>
                  <a:gd name="connsiteX71" fmla="*/ 419420 w 607646"/>
                  <a:gd name="connsiteY71" fmla="*/ 249739 h 533051"/>
                  <a:gd name="connsiteX72" fmla="*/ 419208 w 607646"/>
                  <a:gd name="connsiteY72" fmla="*/ 250372 h 533051"/>
                  <a:gd name="connsiteX73" fmla="*/ 403764 w 607646"/>
                  <a:gd name="connsiteY73" fmla="*/ 314603 h 533051"/>
                  <a:gd name="connsiteX74" fmla="*/ 283598 w 607646"/>
                  <a:gd name="connsiteY74" fmla="*/ 434613 h 533051"/>
                  <a:gd name="connsiteX75" fmla="*/ 264134 w 607646"/>
                  <a:gd name="connsiteY75" fmla="*/ 481518 h 533051"/>
                  <a:gd name="connsiteX76" fmla="*/ 269317 w 607646"/>
                  <a:gd name="connsiteY76" fmla="*/ 507083 h 533051"/>
                  <a:gd name="connsiteX77" fmla="*/ 232929 w 607646"/>
                  <a:gd name="connsiteY77" fmla="*/ 507083 h 533051"/>
                  <a:gd name="connsiteX78" fmla="*/ 190828 w 607646"/>
                  <a:gd name="connsiteY78" fmla="*/ 465143 h 533051"/>
                  <a:gd name="connsiteX79" fmla="*/ 190828 w 607646"/>
                  <a:gd name="connsiteY79" fmla="*/ 451304 h 533051"/>
                  <a:gd name="connsiteX80" fmla="*/ 158459 w 607646"/>
                  <a:gd name="connsiteY80" fmla="*/ 437888 h 533051"/>
                  <a:gd name="connsiteX81" fmla="*/ 148622 w 607646"/>
                  <a:gd name="connsiteY81" fmla="*/ 447712 h 533051"/>
                  <a:gd name="connsiteX82" fmla="*/ 118897 w 607646"/>
                  <a:gd name="connsiteY82" fmla="*/ 459967 h 533051"/>
                  <a:gd name="connsiteX83" fmla="*/ 89173 w 607646"/>
                  <a:gd name="connsiteY83" fmla="*/ 447712 h 533051"/>
                  <a:gd name="connsiteX84" fmla="*/ 59554 w 607646"/>
                  <a:gd name="connsiteY84" fmla="*/ 418027 h 533051"/>
                  <a:gd name="connsiteX85" fmla="*/ 59554 w 607646"/>
                  <a:gd name="connsiteY85" fmla="*/ 358656 h 533051"/>
                  <a:gd name="connsiteX86" fmla="*/ 69286 w 607646"/>
                  <a:gd name="connsiteY86" fmla="*/ 348831 h 533051"/>
                  <a:gd name="connsiteX87" fmla="*/ 55958 w 607646"/>
                  <a:gd name="connsiteY87" fmla="*/ 316505 h 533051"/>
                  <a:gd name="connsiteX88" fmla="*/ 41995 w 607646"/>
                  <a:gd name="connsiteY88" fmla="*/ 316505 h 533051"/>
                  <a:gd name="connsiteX89" fmla="*/ 0 w 607646"/>
                  <a:gd name="connsiteY89" fmla="*/ 274565 h 533051"/>
                  <a:gd name="connsiteX90" fmla="*/ 0 w 607646"/>
                  <a:gd name="connsiteY90" fmla="*/ 232625 h 533051"/>
                  <a:gd name="connsiteX91" fmla="*/ 41995 w 607646"/>
                  <a:gd name="connsiteY91" fmla="*/ 190684 h 533051"/>
                  <a:gd name="connsiteX92" fmla="*/ 55958 w 607646"/>
                  <a:gd name="connsiteY92" fmla="*/ 190684 h 533051"/>
                  <a:gd name="connsiteX93" fmla="*/ 69286 w 607646"/>
                  <a:gd name="connsiteY93" fmla="*/ 158252 h 533051"/>
                  <a:gd name="connsiteX94" fmla="*/ 59554 w 607646"/>
                  <a:gd name="connsiteY94" fmla="*/ 148533 h 533051"/>
                  <a:gd name="connsiteX95" fmla="*/ 59554 w 607646"/>
                  <a:gd name="connsiteY95" fmla="*/ 89162 h 533051"/>
                  <a:gd name="connsiteX96" fmla="*/ 89173 w 607646"/>
                  <a:gd name="connsiteY96" fmla="*/ 59476 h 533051"/>
                  <a:gd name="connsiteX97" fmla="*/ 118897 w 607646"/>
                  <a:gd name="connsiteY97" fmla="*/ 47222 h 533051"/>
                  <a:gd name="connsiteX98" fmla="*/ 148622 w 607646"/>
                  <a:gd name="connsiteY98" fmla="*/ 59476 h 533051"/>
                  <a:gd name="connsiteX99" fmla="*/ 158459 w 607646"/>
                  <a:gd name="connsiteY99" fmla="*/ 69301 h 533051"/>
                  <a:gd name="connsiteX100" fmla="*/ 190828 w 607646"/>
                  <a:gd name="connsiteY100" fmla="*/ 55885 h 533051"/>
                  <a:gd name="connsiteX101" fmla="*/ 190828 w 607646"/>
                  <a:gd name="connsiteY101" fmla="*/ 42045 h 533051"/>
                  <a:gd name="connsiteX102" fmla="*/ 232929 w 607646"/>
                  <a:gd name="connsiteY102" fmla="*/ 0 h 5330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</a:cxnLst>
                <a:rect l="l" t="t" r="r" b="b"/>
                <a:pathLst>
                  <a:path w="607646" h="533051">
                    <a:moveTo>
                      <a:pt x="352921" y="457945"/>
                    </a:moveTo>
                    <a:cubicBezTo>
                      <a:pt x="349113" y="457945"/>
                      <a:pt x="345623" y="459423"/>
                      <a:pt x="342979" y="462170"/>
                    </a:cubicBezTo>
                    <a:cubicBezTo>
                      <a:pt x="340229" y="464811"/>
                      <a:pt x="338854" y="468297"/>
                      <a:pt x="338854" y="472100"/>
                    </a:cubicBezTo>
                    <a:cubicBezTo>
                      <a:pt x="338854" y="475797"/>
                      <a:pt x="340229" y="479389"/>
                      <a:pt x="342979" y="482029"/>
                    </a:cubicBezTo>
                    <a:cubicBezTo>
                      <a:pt x="345623" y="484670"/>
                      <a:pt x="349113" y="486149"/>
                      <a:pt x="352921" y="486149"/>
                    </a:cubicBezTo>
                    <a:cubicBezTo>
                      <a:pt x="356622" y="486149"/>
                      <a:pt x="360218" y="484670"/>
                      <a:pt x="362863" y="482029"/>
                    </a:cubicBezTo>
                    <a:cubicBezTo>
                      <a:pt x="365507" y="479389"/>
                      <a:pt x="366987" y="475797"/>
                      <a:pt x="366987" y="472100"/>
                    </a:cubicBezTo>
                    <a:cubicBezTo>
                      <a:pt x="366987" y="468297"/>
                      <a:pt x="365507" y="464811"/>
                      <a:pt x="362863" y="462170"/>
                    </a:cubicBezTo>
                    <a:cubicBezTo>
                      <a:pt x="360218" y="459423"/>
                      <a:pt x="356622" y="457945"/>
                      <a:pt x="352921" y="457945"/>
                    </a:cubicBezTo>
                    <a:close/>
                    <a:moveTo>
                      <a:pt x="438485" y="375972"/>
                    </a:moveTo>
                    <a:cubicBezTo>
                      <a:pt x="435735" y="375972"/>
                      <a:pt x="432985" y="377134"/>
                      <a:pt x="431081" y="379141"/>
                    </a:cubicBezTo>
                    <a:lnTo>
                      <a:pt x="372699" y="437346"/>
                    </a:lnTo>
                    <a:cubicBezTo>
                      <a:pt x="370689" y="439353"/>
                      <a:pt x="369632" y="441994"/>
                      <a:pt x="369632" y="444846"/>
                    </a:cubicBezTo>
                    <a:cubicBezTo>
                      <a:pt x="369632" y="447698"/>
                      <a:pt x="370689" y="450339"/>
                      <a:pt x="372699" y="452346"/>
                    </a:cubicBezTo>
                    <a:cubicBezTo>
                      <a:pt x="374708" y="454353"/>
                      <a:pt x="377352" y="455409"/>
                      <a:pt x="380208" y="455409"/>
                    </a:cubicBezTo>
                    <a:cubicBezTo>
                      <a:pt x="382958" y="455409"/>
                      <a:pt x="385602" y="454353"/>
                      <a:pt x="387612" y="452346"/>
                    </a:cubicBezTo>
                    <a:lnTo>
                      <a:pt x="445994" y="394035"/>
                    </a:lnTo>
                    <a:cubicBezTo>
                      <a:pt x="448004" y="392028"/>
                      <a:pt x="449062" y="389387"/>
                      <a:pt x="449062" y="386535"/>
                    </a:cubicBezTo>
                    <a:cubicBezTo>
                      <a:pt x="449062" y="383789"/>
                      <a:pt x="448004" y="381148"/>
                      <a:pt x="445994" y="379141"/>
                    </a:cubicBezTo>
                    <a:cubicBezTo>
                      <a:pt x="443985" y="377134"/>
                      <a:pt x="441341" y="375972"/>
                      <a:pt x="438485" y="375972"/>
                    </a:cubicBezTo>
                    <a:close/>
                    <a:moveTo>
                      <a:pt x="534943" y="217624"/>
                    </a:moveTo>
                    <a:cubicBezTo>
                      <a:pt x="542136" y="217624"/>
                      <a:pt x="548905" y="220371"/>
                      <a:pt x="553981" y="225547"/>
                    </a:cubicBezTo>
                    <a:lnTo>
                      <a:pt x="554404" y="225969"/>
                    </a:lnTo>
                    <a:cubicBezTo>
                      <a:pt x="555779" y="227237"/>
                      <a:pt x="556520" y="229033"/>
                      <a:pt x="556520" y="230934"/>
                    </a:cubicBezTo>
                    <a:cubicBezTo>
                      <a:pt x="556520" y="232836"/>
                      <a:pt x="555779" y="234632"/>
                      <a:pt x="554510" y="235899"/>
                    </a:cubicBezTo>
                    <a:lnTo>
                      <a:pt x="524050" y="266322"/>
                    </a:lnTo>
                    <a:cubicBezTo>
                      <a:pt x="519396" y="270970"/>
                      <a:pt x="516752" y="277203"/>
                      <a:pt x="516752" y="283752"/>
                    </a:cubicBezTo>
                    <a:cubicBezTo>
                      <a:pt x="516752" y="290301"/>
                      <a:pt x="519396" y="296534"/>
                      <a:pt x="524050" y="301182"/>
                    </a:cubicBezTo>
                    <a:cubicBezTo>
                      <a:pt x="528703" y="305830"/>
                      <a:pt x="534838" y="308365"/>
                      <a:pt x="541501" y="308365"/>
                    </a:cubicBezTo>
                    <a:cubicBezTo>
                      <a:pt x="548058" y="308365"/>
                      <a:pt x="554299" y="305830"/>
                      <a:pt x="558952" y="301182"/>
                    </a:cubicBezTo>
                    <a:lnTo>
                      <a:pt x="589413" y="270759"/>
                    </a:lnTo>
                    <a:cubicBezTo>
                      <a:pt x="590682" y="269491"/>
                      <a:pt x="592480" y="268752"/>
                      <a:pt x="594384" y="268752"/>
                    </a:cubicBezTo>
                    <a:cubicBezTo>
                      <a:pt x="596288" y="268752"/>
                      <a:pt x="597980" y="269491"/>
                      <a:pt x="599355" y="270759"/>
                    </a:cubicBezTo>
                    <a:lnTo>
                      <a:pt x="599778" y="271181"/>
                    </a:lnTo>
                    <a:cubicBezTo>
                      <a:pt x="606547" y="277942"/>
                      <a:pt x="609191" y="287977"/>
                      <a:pt x="606758" y="297168"/>
                    </a:cubicBezTo>
                    <a:lnTo>
                      <a:pt x="590047" y="359704"/>
                    </a:lnTo>
                    <a:cubicBezTo>
                      <a:pt x="587509" y="368894"/>
                      <a:pt x="580211" y="376183"/>
                      <a:pt x="571010" y="378612"/>
                    </a:cubicBezTo>
                    <a:cubicBezTo>
                      <a:pt x="570904" y="378718"/>
                      <a:pt x="570904" y="378718"/>
                      <a:pt x="570798" y="378718"/>
                    </a:cubicBezTo>
                    <a:lnTo>
                      <a:pt x="501627" y="395303"/>
                    </a:lnTo>
                    <a:lnTo>
                      <a:pt x="377987" y="518790"/>
                    </a:lnTo>
                    <a:cubicBezTo>
                      <a:pt x="368785" y="527981"/>
                      <a:pt x="356517" y="533051"/>
                      <a:pt x="343507" y="533051"/>
                    </a:cubicBezTo>
                    <a:cubicBezTo>
                      <a:pt x="330498" y="533051"/>
                      <a:pt x="318229" y="527981"/>
                      <a:pt x="309028" y="518790"/>
                    </a:cubicBezTo>
                    <a:lnTo>
                      <a:pt x="306066" y="515833"/>
                    </a:lnTo>
                    <a:cubicBezTo>
                      <a:pt x="296865" y="506642"/>
                      <a:pt x="291788" y="494494"/>
                      <a:pt x="291788" y="481501"/>
                    </a:cubicBezTo>
                    <a:cubicBezTo>
                      <a:pt x="291788" y="468402"/>
                      <a:pt x="296865" y="456254"/>
                      <a:pt x="306066" y="447064"/>
                    </a:cubicBezTo>
                    <a:lnTo>
                      <a:pt x="429707" y="323576"/>
                    </a:lnTo>
                    <a:lnTo>
                      <a:pt x="446418" y="254491"/>
                    </a:lnTo>
                    <a:cubicBezTo>
                      <a:pt x="446418" y="254385"/>
                      <a:pt x="446418" y="254385"/>
                      <a:pt x="446418" y="254280"/>
                    </a:cubicBezTo>
                    <a:cubicBezTo>
                      <a:pt x="448956" y="245089"/>
                      <a:pt x="456254" y="237801"/>
                      <a:pt x="465455" y="235265"/>
                    </a:cubicBezTo>
                    <a:lnTo>
                      <a:pt x="527963" y="218575"/>
                    </a:lnTo>
                    <a:cubicBezTo>
                      <a:pt x="530290" y="217941"/>
                      <a:pt x="532617" y="217624"/>
                      <a:pt x="534943" y="217624"/>
                    </a:cubicBezTo>
                    <a:close/>
                    <a:moveTo>
                      <a:pt x="253873" y="140927"/>
                    </a:moveTo>
                    <a:cubicBezTo>
                      <a:pt x="191674" y="140927"/>
                      <a:pt x="141005" y="191424"/>
                      <a:pt x="141005" y="253542"/>
                    </a:cubicBezTo>
                    <a:cubicBezTo>
                      <a:pt x="141005" y="315765"/>
                      <a:pt x="191674" y="366262"/>
                      <a:pt x="253873" y="366262"/>
                    </a:cubicBezTo>
                    <a:cubicBezTo>
                      <a:pt x="316072" y="366262"/>
                      <a:pt x="366741" y="315765"/>
                      <a:pt x="366741" y="253542"/>
                    </a:cubicBezTo>
                    <a:cubicBezTo>
                      <a:pt x="366741" y="191424"/>
                      <a:pt x="316072" y="140927"/>
                      <a:pt x="253873" y="140927"/>
                    </a:cubicBezTo>
                    <a:close/>
                    <a:moveTo>
                      <a:pt x="232929" y="0"/>
                    </a:moveTo>
                    <a:lnTo>
                      <a:pt x="274818" y="0"/>
                    </a:lnTo>
                    <a:cubicBezTo>
                      <a:pt x="298090" y="0"/>
                      <a:pt x="316918" y="18910"/>
                      <a:pt x="316918" y="42045"/>
                    </a:cubicBezTo>
                    <a:lnTo>
                      <a:pt x="316918" y="55885"/>
                    </a:lnTo>
                    <a:cubicBezTo>
                      <a:pt x="328025" y="59371"/>
                      <a:pt x="338921" y="63913"/>
                      <a:pt x="349287" y="69301"/>
                    </a:cubicBezTo>
                    <a:lnTo>
                      <a:pt x="359125" y="59476"/>
                    </a:lnTo>
                    <a:cubicBezTo>
                      <a:pt x="367058" y="51553"/>
                      <a:pt x="377637" y="47222"/>
                      <a:pt x="388849" y="47222"/>
                    </a:cubicBezTo>
                    <a:cubicBezTo>
                      <a:pt x="400062" y="47222"/>
                      <a:pt x="410640" y="51553"/>
                      <a:pt x="418574" y="59476"/>
                    </a:cubicBezTo>
                    <a:lnTo>
                      <a:pt x="448192" y="89162"/>
                    </a:lnTo>
                    <a:cubicBezTo>
                      <a:pt x="464588" y="105536"/>
                      <a:pt x="464588" y="132158"/>
                      <a:pt x="448192" y="148533"/>
                    </a:cubicBezTo>
                    <a:lnTo>
                      <a:pt x="438460" y="158252"/>
                    </a:lnTo>
                    <a:cubicBezTo>
                      <a:pt x="443749" y="168710"/>
                      <a:pt x="448298" y="179486"/>
                      <a:pt x="451789" y="190684"/>
                    </a:cubicBezTo>
                    <a:lnTo>
                      <a:pt x="465752" y="190684"/>
                    </a:lnTo>
                    <a:cubicBezTo>
                      <a:pt x="478657" y="190684"/>
                      <a:pt x="490187" y="196494"/>
                      <a:pt x="497909" y="205685"/>
                    </a:cubicBezTo>
                    <a:lnTo>
                      <a:pt x="450837" y="218257"/>
                    </a:lnTo>
                    <a:cubicBezTo>
                      <a:pt x="435604" y="222377"/>
                      <a:pt x="423440" y="234420"/>
                      <a:pt x="419420" y="249739"/>
                    </a:cubicBezTo>
                    <a:cubicBezTo>
                      <a:pt x="419314" y="249950"/>
                      <a:pt x="419314" y="250161"/>
                      <a:pt x="419208" y="250372"/>
                    </a:cubicBezTo>
                    <a:lnTo>
                      <a:pt x="403764" y="314603"/>
                    </a:lnTo>
                    <a:lnTo>
                      <a:pt x="283598" y="434613"/>
                    </a:lnTo>
                    <a:cubicBezTo>
                      <a:pt x="271010" y="447078"/>
                      <a:pt x="264134" y="463770"/>
                      <a:pt x="264134" y="481518"/>
                    </a:cubicBezTo>
                    <a:cubicBezTo>
                      <a:pt x="264134" y="490392"/>
                      <a:pt x="265932" y="499160"/>
                      <a:pt x="269317" y="507083"/>
                    </a:cubicBezTo>
                    <a:lnTo>
                      <a:pt x="232929" y="507083"/>
                    </a:lnTo>
                    <a:cubicBezTo>
                      <a:pt x="209657" y="507083"/>
                      <a:pt x="190828" y="488279"/>
                      <a:pt x="190828" y="465143"/>
                    </a:cubicBezTo>
                    <a:lnTo>
                      <a:pt x="190828" y="451304"/>
                    </a:lnTo>
                    <a:cubicBezTo>
                      <a:pt x="179721" y="447712"/>
                      <a:pt x="168826" y="443275"/>
                      <a:pt x="158459" y="437888"/>
                    </a:cubicBezTo>
                    <a:lnTo>
                      <a:pt x="148622" y="447712"/>
                    </a:lnTo>
                    <a:cubicBezTo>
                      <a:pt x="140688" y="455635"/>
                      <a:pt x="130110" y="459967"/>
                      <a:pt x="118897" y="459967"/>
                    </a:cubicBezTo>
                    <a:cubicBezTo>
                      <a:pt x="107685" y="459967"/>
                      <a:pt x="97107" y="455635"/>
                      <a:pt x="89173" y="447712"/>
                    </a:cubicBezTo>
                    <a:lnTo>
                      <a:pt x="59554" y="418027"/>
                    </a:lnTo>
                    <a:cubicBezTo>
                      <a:pt x="43158" y="401652"/>
                      <a:pt x="43158" y="375030"/>
                      <a:pt x="59554" y="358656"/>
                    </a:cubicBezTo>
                    <a:lnTo>
                      <a:pt x="69286" y="348831"/>
                    </a:lnTo>
                    <a:cubicBezTo>
                      <a:pt x="63997" y="338478"/>
                      <a:pt x="59449" y="327597"/>
                      <a:pt x="55958" y="316505"/>
                    </a:cubicBezTo>
                    <a:lnTo>
                      <a:pt x="41995" y="316505"/>
                    </a:lnTo>
                    <a:cubicBezTo>
                      <a:pt x="18829" y="316505"/>
                      <a:pt x="0" y="297700"/>
                      <a:pt x="0" y="274565"/>
                    </a:cubicBezTo>
                    <a:lnTo>
                      <a:pt x="0" y="232625"/>
                    </a:lnTo>
                    <a:cubicBezTo>
                      <a:pt x="0" y="209488"/>
                      <a:pt x="18829" y="190684"/>
                      <a:pt x="41995" y="190684"/>
                    </a:cubicBezTo>
                    <a:lnTo>
                      <a:pt x="55958" y="190684"/>
                    </a:lnTo>
                    <a:cubicBezTo>
                      <a:pt x="59449" y="179486"/>
                      <a:pt x="63997" y="168710"/>
                      <a:pt x="69286" y="158252"/>
                    </a:cubicBezTo>
                    <a:lnTo>
                      <a:pt x="59554" y="148533"/>
                    </a:lnTo>
                    <a:cubicBezTo>
                      <a:pt x="43158" y="132158"/>
                      <a:pt x="43158" y="105536"/>
                      <a:pt x="59554" y="89162"/>
                    </a:cubicBezTo>
                    <a:lnTo>
                      <a:pt x="89173" y="59476"/>
                    </a:lnTo>
                    <a:cubicBezTo>
                      <a:pt x="97107" y="51553"/>
                      <a:pt x="107685" y="47222"/>
                      <a:pt x="118897" y="47222"/>
                    </a:cubicBezTo>
                    <a:cubicBezTo>
                      <a:pt x="130110" y="47222"/>
                      <a:pt x="140688" y="51553"/>
                      <a:pt x="148622" y="59476"/>
                    </a:cubicBezTo>
                    <a:lnTo>
                      <a:pt x="158459" y="69301"/>
                    </a:lnTo>
                    <a:cubicBezTo>
                      <a:pt x="168826" y="63913"/>
                      <a:pt x="179721" y="59371"/>
                      <a:pt x="190828" y="55885"/>
                    </a:cubicBezTo>
                    <a:lnTo>
                      <a:pt x="190828" y="42045"/>
                    </a:lnTo>
                    <a:cubicBezTo>
                      <a:pt x="190828" y="18910"/>
                      <a:pt x="209657" y="0"/>
                      <a:pt x="23292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/>
              <a:lstStyle/>
              <a:p>
                <a:endParaRPr lang="zh-CN" altLang="en-US" sz="135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0" name="î$1îďè"/>
            <p:cNvGrpSpPr/>
            <p:nvPr/>
          </p:nvGrpSpPr>
          <p:grpSpPr>
            <a:xfrm>
              <a:off x="7741924" y="2094313"/>
              <a:ext cx="953230" cy="953228"/>
              <a:chOff x="7828426" y="1707625"/>
              <a:chExt cx="682538" cy="682537"/>
            </a:xfrm>
          </p:grpSpPr>
          <p:sp>
            <p:nvSpPr>
              <p:cNvPr id="29" name="îṣḻidè"/>
              <p:cNvSpPr/>
              <p:nvPr/>
            </p:nvSpPr>
            <p:spPr>
              <a:xfrm>
                <a:off x="7828426" y="1707625"/>
                <a:ext cx="682538" cy="682537"/>
              </a:xfrm>
              <a:prstGeom prst="ellipse">
                <a:avLst/>
              </a:prstGeom>
              <a:solidFill>
                <a:schemeClr val="accent2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68580" tIns="34290" rIns="68580" bIns="34290" rtlCol="0" anchor="ctr">
                <a:normAutofit/>
              </a:bodyPr>
              <a:lstStyle/>
              <a:p>
                <a:pPr algn="ctr"/>
                <a:endParaRPr lang="zh-CN" altLang="en-US" sz="1200" b="1" i="1" dirty="0">
                  <a:solidFill>
                    <a:srgbClr val="354B5E"/>
                  </a:solidFill>
                </a:endParaRPr>
              </a:p>
            </p:txBody>
          </p:sp>
          <p:sp>
            <p:nvSpPr>
              <p:cNvPr id="30" name="is1iḋè"/>
              <p:cNvSpPr/>
              <p:nvPr/>
            </p:nvSpPr>
            <p:spPr bwMode="auto">
              <a:xfrm>
                <a:off x="7963487" y="1868001"/>
                <a:ext cx="412418" cy="361786"/>
              </a:xfrm>
              <a:custGeom>
                <a:avLst/>
                <a:gdLst>
                  <a:gd name="connsiteX0" fmla="*/ 352921 w 607646"/>
                  <a:gd name="connsiteY0" fmla="*/ 457945 h 533051"/>
                  <a:gd name="connsiteX1" fmla="*/ 342979 w 607646"/>
                  <a:gd name="connsiteY1" fmla="*/ 462170 h 533051"/>
                  <a:gd name="connsiteX2" fmla="*/ 338854 w 607646"/>
                  <a:gd name="connsiteY2" fmla="*/ 472100 h 533051"/>
                  <a:gd name="connsiteX3" fmla="*/ 342979 w 607646"/>
                  <a:gd name="connsiteY3" fmla="*/ 482029 h 533051"/>
                  <a:gd name="connsiteX4" fmla="*/ 352921 w 607646"/>
                  <a:gd name="connsiteY4" fmla="*/ 486149 h 533051"/>
                  <a:gd name="connsiteX5" fmla="*/ 362863 w 607646"/>
                  <a:gd name="connsiteY5" fmla="*/ 482029 h 533051"/>
                  <a:gd name="connsiteX6" fmla="*/ 366987 w 607646"/>
                  <a:gd name="connsiteY6" fmla="*/ 472100 h 533051"/>
                  <a:gd name="connsiteX7" fmla="*/ 362863 w 607646"/>
                  <a:gd name="connsiteY7" fmla="*/ 462170 h 533051"/>
                  <a:gd name="connsiteX8" fmla="*/ 352921 w 607646"/>
                  <a:gd name="connsiteY8" fmla="*/ 457945 h 533051"/>
                  <a:gd name="connsiteX9" fmla="*/ 438485 w 607646"/>
                  <a:gd name="connsiteY9" fmla="*/ 375972 h 533051"/>
                  <a:gd name="connsiteX10" fmla="*/ 431081 w 607646"/>
                  <a:gd name="connsiteY10" fmla="*/ 379141 h 533051"/>
                  <a:gd name="connsiteX11" fmla="*/ 372699 w 607646"/>
                  <a:gd name="connsiteY11" fmla="*/ 437346 h 533051"/>
                  <a:gd name="connsiteX12" fmla="*/ 369632 w 607646"/>
                  <a:gd name="connsiteY12" fmla="*/ 444846 h 533051"/>
                  <a:gd name="connsiteX13" fmla="*/ 372699 w 607646"/>
                  <a:gd name="connsiteY13" fmla="*/ 452346 h 533051"/>
                  <a:gd name="connsiteX14" fmla="*/ 380208 w 607646"/>
                  <a:gd name="connsiteY14" fmla="*/ 455409 h 533051"/>
                  <a:gd name="connsiteX15" fmla="*/ 387612 w 607646"/>
                  <a:gd name="connsiteY15" fmla="*/ 452346 h 533051"/>
                  <a:gd name="connsiteX16" fmla="*/ 445994 w 607646"/>
                  <a:gd name="connsiteY16" fmla="*/ 394035 h 533051"/>
                  <a:gd name="connsiteX17" fmla="*/ 449062 w 607646"/>
                  <a:gd name="connsiteY17" fmla="*/ 386535 h 533051"/>
                  <a:gd name="connsiteX18" fmla="*/ 445994 w 607646"/>
                  <a:gd name="connsiteY18" fmla="*/ 379141 h 533051"/>
                  <a:gd name="connsiteX19" fmla="*/ 438485 w 607646"/>
                  <a:gd name="connsiteY19" fmla="*/ 375972 h 533051"/>
                  <a:gd name="connsiteX20" fmla="*/ 534943 w 607646"/>
                  <a:gd name="connsiteY20" fmla="*/ 217624 h 533051"/>
                  <a:gd name="connsiteX21" fmla="*/ 553981 w 607646"/>
                  <a:gd name="connsiteY21" fmla="*/ 225547 h 533051"/>
                  <a:gd name="connsiteX22" fmla="*/ 554404 w 607646"/>
                  <a:gd name="connsiteY22" fmla="*/ 225969 h 533051"/>
                  <a:gd name="connsiteX23" fmla="*/ 556520 w 607646"/>
                  <a:gd name="connsiteY23" fmla="*/ 230934 h 533051"/>
                  <a:gd name="connsiteX24" fmla="*/ 554510 w 607646"/>
                  <a:gd name="connsiteY24" fmla="*/ 235899 h 533051"/>
                  <a:gd name="connsiteX25" fmla="*/ 524050 w 607646"/>
                  <a:gd name="connsiteY25" fmla="*/ 266322 h 533051"/>
                  <a:gd name="connsiteX26" fmla="*/ 516752 w 607646"/>
                  <a:gd name="connsiteY26" fmla="*/ 283752 h 533051"/>
                  <a:gd name="connsiteX27" fmla="*/ 524050 w 607646"/>
                  <a:gd name="connsiteY27" fmla="*/ 301182 h 533051"/>
                  <a:gd name="connsiteX28" fmla="*/ 541501 w 607646"/>
                  <a:gd name="connsiteY28" fmla="*/ 308365 h 533051"/>
                  <a:gd name="connsiteX29" fmla="*/ 558952 w 607646"/>
                  <a:gd name="connsiteY29" fmla="*/ 301182 h 533051"/>
                  <a:gd name="connsiteX30" fmla="*/ 589413 w 607646"/>
                  <a:gd name="connsiteY30" fmla="*/ 270759 h 533051"/>
                  <a:gd name="connsiteX31" fmla="*/ 594384 w 607646"/>
                  <a:gd name="connsiteY31" fmla="*/ 268752 h 533051"/>
                  <a:gd name="connsiteX32" fmla="*/ 599355 w 607646"/>
                  <a:gd name="connsiteY32" fmla="*/ 270759 h 533051"/>
                  <a:gd name="connsiteX33" fmla="*/ 599778 w 607646"/>
                  <a:gd name="connsiteY33" fmla="*/ 271181 h 533051"/>
                  <a:gd name="connsiteX34" fmla="*/ 606758 w 607646"/>
                  <a:gd name="connsiteY34" fmla="*/ 297168 h 533051"/>
                  <a:gd name="connsiteX35" fmla="*/ 590047 w 607646"/>
                  <a:gd name="connsiteY35" fmla="*/ 359704 h 533051"/>
                  <a:gd name="connsiteX36" fmla="*/ 571010 w 607646"/>
                  <a:gd name="connsiteY36" fmla="*/ 378612 h 533051"/>
                  <a:gd name="connsiteX37" fmla="*/ 570798 w 607646"/>
                  <a:gd name="connsiteY37" fmla="*/ 378718 h 533051"/>
                  <a:gd name="connsiteX38" fmla="*/ 501627 w 607646"/>
                  <a:gd name="connsiteY38" fmla="*/ 395303 h 533051"/>
                  <a:gd name="connsiteX39" fmla="*/ 377987 w 607646"/>
                  <a:gd name="connsiteY39" fmla="*/ 518790 h 533051"/>
                  <a:gd name="connsiteX40" fmla="*/ 343507 w 607646"/>
                  <a:gd name="connsiteY40" fmla="*/ 533051 h 533051"/>
                  <a:gd name="connsiteX41" fmla="*/ 309028 w 607646"/>
                  <a:gd name="connsiteY41" fmla="*/ 518790 h 533051"/>
                  <a:gd name="connsiteX42" fmla="*/ 306066 w 607646"/>
                  <a:gd name="connsiteY42" fmla="*/ 515833 h 533051"/>
                  <a:gd name="connsiteX43" fmla="*/ 291788 w 607646"/>
                  <a:gd name="connsiteY43" fmla="*/ 481501 h 533051"/>
                  <a:gd name="connsiteX44" fmla="*/ 306066 w 607646"/>
                  <a:gd name="connsiteY44" fmla="*/ 447064 h 533051"/>
                  <a:gd name="connsiteX45" fmla="*/ 429707 w 607646"/>
                  <a:gd name="connsiteY45" fmla="*/ 323576 h 533051"/>
                  <a:gd name="connsiteX46" fmla="*/ 446418 w 607646"/>
                  <a:gd name="connsiteY46" fmla="*/ 254491 h 533051"/>
                  <a:gd name="connsiteX47" fmla="*/ 446418 w 607646"/>
                  <a:gd name="connsiteY47" fmla="*/ 254280 h 533051"/>
                  <a:gd name="connsiteX48" fmla="*/ 465455 w 607646"/>
                  <a:gd name="connsiteY48" fmla="*/ 235265 h 533051"/>
                  <a:gd name="connsiteX49" fmla="*/ 527963 w 607646"/>
                  <a:gd name="connsiteY49" fmla="*/ 218575 h 533051"/>
                  <a:gd name="connsiteX50" fmla="*/ 534943 w 607646"/>
                  <a:gd name="connsiteY50" fmla="*/ 217624 h 533051"/>
                  <a:gd name="connsiteX51" fmla="*/ 253873 w 607646"/>
                  <a:gd name="connsiteY51" fmla="*/ 140927 h 533051"/>
                  <a:gd name="connsiteX52" fmla="*/ 141005 w 607646"/>
                  <a:gd name="connsiteY52" fmla="*/ 253542 h 533051"/>
                  <a:gd name="connsiteX53" fmla="*/ 253873 w 607646"/>
                  <a:gd name="connsiteY53" fmla="*/ 366262 h 533051"/>
                  <a:gd name="connsiteX54" fmla="*/ 366741 w 607646"/>
                  <a:gd name="connsiteY54" fmla="*/ 253542 h 533051"/>
                  <a:gd name="connsiteX55" fmla="*/ 253873 w 607646"/>
                  <a:gd name="connsiteY55" fmla="*/ 140927 h 533051"/>
                  <a:gd name="connsiteX56" fmla="*/ 232929 w 607646"/>
                  <a:gd name="connsiteY56" fmla="*/ 0 h 533051"/>
                  <a:gd name="connsiteX57" fmla="*/ 274818 w 607646"/>
                  <a:gd name="connsiteY57" fmla="*/ 0 h 533051"/>
                  <a:gd name="connsiteX58" fmla="*/ 316918 w 607646"/>
                  <a:gd name="connsiteY58" fmla="*/ 42045 h 533051"/>
                  <a:gd name="connsiteX59" fmla="*/ 316918 w 607646"/>
                  <a:gd name="connsiteY59" fmla="*/ 55885 h 533051"/>
                  <a:gd name="connsiteX60" fmla="*/ 349287 w 607646"/>
                  <a:gd name="connsiteY60" fmla="*/ 69301 h 533051"/>
                  <a:gd name="connsiteX61" fmla="*/ 359125 w 607646"/>
                  <a:gd name="connsiteY61" fmla="*/ 59476 h 533051"/>
                  <a:gd name="connsiteX62" fmla="*/ 388849 w 607646"/>
                  <a:gd name="connsiteY62" fmla="*/ 47222 h 533051"/>
                  <a:gd name="connsiteX63" fmla="*/ 418574 w 607646"/>
                  <a:gd name="connsiteY63" fmla="*/ 59476 h 533051"/>
                  <a:gd name="connsiteX64" fmla="*/ 448192 w 607646"/>
                  <a:gd name="connsiteY64" fmla="*/ 89162 h 533051"/>
                  <a:gd name="connsiteX65" fmla="*/ 448192 w 607646"/>
                  <a:gd name="connsiteY65" fmla="*/ 148533 h 533051"/>
                  <a:gd name="connsiteX66" fmla="*/ 438460 w 607646"/>
                  <a:gd name="connsiteY66" fmla="*/ 158252 h 533051"/>
                  <a:gd name="connsiteX67" fmla="*/ 451789 w 607646"/>
                  <a:gd name="connsiteY67" fmla="*/ 190684 h 533051"/>
                  <a:gd name="connsiteX68" fmla="*/ 465752 w 607646"/>
                  <a:gd name="connsiteY68" fmla="*/ 190684 h 533051"/>
                  <a:gd name="connsiteX69" fmla="*/ 497909 w 607646"/>
                  <a:gd name="connsiteY69" fmla="*/ 205685 h 533051"/>
                  <a:gd name="connsiteX70" fmla="*/ 450837 w 607646"/>
                  <a:gd name="connsiteY70" fmla="*/ 218257 h 533051"/>
                  <a:gd name="connsiteX71" fmla="*/ 419420 w 607646"/>
                  <a:gd name="connsiteY71" fmla="*/ 249739 h 533051"/>
                  <a:gd name="connsiteX72" fmla="*/ 419208 w 607646"/>
                  <a:gd name="connsiteY72" fmla="*/ 250372 h 533051"/>
                  <a:gd name="connsiteX73" fmla="*/ 403764 w 607646"/>
                  <a:gd name="connsiteY73" fmla="*/ 314603 h 533051"/>
                  <a:gd name="connsiteX74" fmla="*/ 283598 w 607646"/>
                  <a:gd name="connsiteY74" fmla="*/ 434613 h 533051"/>
                  <a:gd name="connsiteX75" fmla="*/ 264134 w 607646"/>
                  <a:gd name="connsiteY75" fmla="*/ 481518 h 533051"/>
                  <a:gd name="connsiteX76" fmla="*/ 269317 w 607646"/>
                  <a:gd name="connsiteY76" fmla="*/ 507083 h 533051"/>
                  <a:gd name="connsiteX77" fmla="*/ 232929 w 607646"/>
                  <a:gd name="connsiteY77" fmla="*/ 507083 h 533051"/>
                  <a:gd name="connsiteX78" fmla="*/ 190828 w 607646"/>
                  <a:gd name="connsiteY78" fmla="*/ 465143 h 533051"/>
                  <a:gd name="connsiteX79" fmla="*/ 190828 w 607646"/>
                  <a:gd name="connsiteY79" fmla="*/ 451304 h 533051"/>
                  <a:gd name="connsiteX80" fmla="*/ 158459 w 607646"/>
                  <a:gd name="connsiteY80" fmla="*/ 437888 h 533051"/>
                  <a:gd name="connsiteX81" fmla="*/ 148622 w 607646"/>
                  <a:gd name="connsiteY81" fmla="*/ 447712 h 533051"/>
                  <a:gd name="connsiteX82" fmla="*/ 118897 w 607646"/>
                  <a:gd name="connsiteY82" fmla="*/ 459967 h 533051"/>
                  <a:gd name="connsiteX83" fmla="*/ 89173 w 607646"/>
                  <a:gd name="connsiteY83" fmla="*/ 447712 h 533051"/>
                  <a:gd name="connsiteX84" fmla="*/ 59554 w 607646"/>
                  <a:gd name="connsiteY84" fmla="*/ 418027 h 533051"/>
                  <a:gd name="connsiteX85" fmla="*/ 59554 w 607646"/>
                  <a:gd name="connsiteY85" fmla="*/ 358656 h 533051"/>
                  <a:gd name="connsiteX86" fmla="*/ 69286 w 607646"/>
                  <a:gd name="connsiteY86" fmla="*/ 348831 h 533051"/>
                  <a:gd name="connsiteX87" fmla="*/ 55958 w 607646"/>
                  <a:gd name="connsiteY87" fmla="*/ 316505 h 533051"/>
                  <a:gd name="connsiteX88" fmla="*/ 41995 w 607646"/>
                  <a:gd name="connsiteY88" fmla="*/ 316505 h 533051"/>
                  <a:gd name="connsiteX89" fmla="*/ 0 w 607646"/>
                  <a:gd name="connsiteY89" fmla="*/ 274565 h 533051"/>
                  <a:gd name="connsiteX90" fmla="*/ 0 w 607646"/>
                  <a:gd name="connsiteY90" fmla="*/ 232625 h 533051"/>
                  <a:gd name="connsiteX91" fmla="*/ 41995 w 607646"/>
                  <a:gd name="connsiteY91" fmla="*/ 190684 h 533051"/>
                  <a:gd name="connsiteX92" fmla="*/ 55958 w 607646"/>
                  <a:gd name="connsiteY92" fmla="*/ 190684 h 533051"/>
                  <a:gd name="connsiteX93" fmla="*/ 69286 w 607646"/>
                  <a:gd name="connsiteY93" fmla="*/ 158252 h 533051"/>
                  <a:gd name="connsiteX94" fmla="*/ 59554 w 607646"/>
                  <a:gd name="connsiteY94" fmla="*/ 148533 h 533051"/>
                  <a:gd name="connsiteX95" fmla="*/ 59554 w 607646"/>
                  <a:gd name="connsiteY95" fmla="*/ 89162 h 533051"/>
                  <a:gd name="connsiteX96" fmla="*/ 89173 w 607646"/>
                  <a:gd name="connsiteY96" fmla="*/ 59476 h 533051"/>
                  <a:gd name="connsiteX97" fmla="*/ 118897 w 607646"/>
                  <a:gd name="connsiteY97" fmla="*/ 47222 h 533051"/>
                  <a:gd name="connsiteX98" fmla="*/ 148622 w 607646"/>
                  <a:gd name="connsiteY98" fmla="*/ 59476 h 533051"/>
                  <a:gd name="connsiteX99" fmla="*/ 158459 w 607646"/>
                  <a:gd name="connsiteY99" fmla="*/ 69301 h 533051"/>
                  <a:gd name="connsiteX100" fmla="*/ 190828 w 607646"/>
                  <a:gd name="connsiteY100" fmla="*/ 55885 h 533051"/>
                  <a:gd name="connsiteX101" fmla="*/ 190828 w 607646"/>
                  <a:gd name="connsiteY101" fmla="*/ 42045 h 533051"/>
                  <a:gd name="connsiteX102" fmla="*/ 232929 w 607646"/>
                  <a:gd name="connsiteY102" fmla="*/ 0 h 5330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</a:cxnLst>
                <a:rect l="l" t="t" r="r" b="b"/>
                <a:pathLst>
                  <a:path w="607646" h="533051">
                    <a:moveTo>
                      <a:pt x="352921" y="457945"/>
                    </a:moveTo>
                    <a:cubicBezTo>
                      <a:pt x="349113" y="457945"/>
                      <a:pt x="345623" y="459423"/>
                      <a:pt x="342979" y="462170"/>
                    </a:cubicBezTo>
                    <a:cubicBezTo>
                      <a:pt x="340229" y="464811"/>
                      <a:pt x="338854" y="468297"/>
                      <a:pt x="338854" y="472100"/>
                    </a:cubicBezTo>
                    <a:cubicBezTo>
                      <a:pt x="338854" y="475797"/>
                      <a:pt x="340229" y="479389"/>
                      <a:pt x="342979" y="482029"/>
                    </a:cubicBezTo>
                    <a:cubicBezTo>
                      <a:pt x="345623" y="484670"/>
                      <a:pt x="349113" y="486149"/>
                      <a:pt x="352921" y="486149"/>
                    </a:cubicBezTo>
                    <a:cubicBezTo>
                      <a:pt x="356622" y="486149"/>
                      <a:pt x="360218" y="484670"/>
                      <a:pt x="362863" y="482029"/>
                    </a:cubicBezTo>
                    <a:cubicBezTo>
                      <a:pt x="365507" y="479389"/>
                      <a:pt x="366987" y="475797"/>
                      <a:pt x="366987" y="472100"/>
                    </a:cubicBezTo>
                    <a:cubicBezTo>
                      <a:pt x="366987" y="468297"/>
                      <a:pt x="365507" y="464811"/>
                      <a:pt x="362863" y="462170"/>
                    </a:cubicBezTo>
                    <a:cubicBezTo>
                      <a:pt x="360218" y="459423"/>
                      <a:pt x="356622" y="457945"/>
                      <a:pt x="352921" y="457945"/>
                    </a:cubicBezTo>
                    <a:close/>
                    <a:moveTo>
                      <a:pt x="438485" y="375972"/>
                    </a:moveTo>
                    <a:cubicBezTo>
                      <a:pt x="435735" y="375972"/>
                      <a:pt x="432985" y="377134"/>
                      <a:pt x="431081" y="379141"/>
                    </a:cubicBezTo>
                    <a:lnTo>
                      <a:pt x="372699" y="437346"/>
                    </a:lnTo>
                    <a:cubicBezTo>
                      <a:pt x="370689" y="439353"/>
                      <a:pt x="369632" y="441994"/>
                      <a:pt x="369632" y="444846"/>
                    </a:cubicBezTo>
                    <a:cubicBezTo>
                      <a:pt x="369632" y="447698"/>
                      <a:pt x="370689" y="450339"/>
                      <a:pt x="372699" y="452346"/>
                    </a:cubicBezTo>
                    <a:cubicBezTo>
                      <a:pt x="374708" y="454353"/>
                      <a:pt x="377352" y="455409"/>
                      <a:pt x="380208" y="455409"/>
                    </a:cubicBezTo>
                    <a:cubicBezTo>
                      <a:pt x="382958" y="455409"/>
                      <a:pt x="385602" y="454353"/>
                      <a:pt x="387612" y="452346"/>
                    </a:cubicBezTo>
                    <a:lnTo>
                      <a:pt x="445994" y="394035"/>
                    </a:lnTo>
                    <a:cubicBezTo>
                      <a:pt x="448004" y="392028"/>
                      <a:pt x="449062" y="389387"/>
                      <a:pt x="449062" y="386535"/>
                    </a:cubicBezTo>
                    <a:cubicBezTo>
                      <a:pt x="449062" y="383789"/>
                      <a:pt x="448004" y="381148"/>
                      <a:pt x="445994" y="379141"/>
                    </a:cubicBezTo>
                    <a:cubicBezTo>
                      <a:pt x="443985" y="377134"/>
                      <a:pt x="441341" y="375972"/>
                      <a:pt x="438485" y="375972"/>
                    </a:cubicBezTo>
                    <a:close/>
                    <a:moveTo>
                      <a:pt x="534943" y="217624"/>
                    </a:moveTo>
                    <a:cubicBezTo>
                      <a:pt x="542136" y="217624"/>
                      <a:pt x="548905" y="220371"/>
                      <a:pt x="553981" y="225547"/>
                    </a:cubicBezTo>
                    <a:lnTo>
                      <a:pt x="554404" y="225969"/>
                    </a:lnTo>
                    <a:cubicBezTo>
                      <a:pt x="555779" y="227237"/>
                      <a:pt x="556520" y="229033"/>
                      <a:pt x="556520" y="230934"/>
                    </a:cubicBezTo>
                    <a:cubicBezTo>
                      <a:pt x="556520" y="232836"/>
                      <a:pt x="555779" y="234632"/>
                      <a:pt x="554510" y="235899"/>
                    </a:cubicBezTo>
                    <a:lnTo>
                      <a:pt x="524050" y="266322"/>
                    </a:lnTo>
                    <a:cubicBezTo>
                      <a:pt x="519396" y="270970"/>
                      <a:pt x="516752" y="277203"/>
                      <a:pt x="516752" y="283752"/>
                    </a:cubicBezTo>
                    <a:cubicBezTo>
                      <a:pt x="516752" y="290301"/>
                      <a:pt x="519396" y="296534"/>
                      <a:pt x="524050" y="301182"/>
                    </a:cubicBezTo>
                    <a:cubicBezTo>
                      <a:pt x="528703" y="305830"/>
                      <a:pt x="534838" y="308365"/>
                      <a:pt x="541501" y="308365"/>
                    </a:cubicBezTo>
                    <a:cubicBezTo>
                      <a:pt x="548058" y="308365"/>
                      <a:pt x="554299" y="305830"/>
                      <a:pt x="558952" y="301182"/>
                    </a:cubicBezTo>
                    <a:lnTo>
                      <a:pt x="589413" y="270759"/>
                    </a:lnTo>
                    <a:cubicBezTo>
                      <a:pt x="590682" y="269491"/>
                      <a:pt x="592480" y="268752"/>
                      <a:pt x="594384" y="268752"/>
                    </a:cubicBezTo>
                    <a:cubicBezTo>
                      <a:pt x="596288" y="268752"/>
                      <a:pt x="597980" y="269491"/>
                      <a:pt x="599355" y="270759"/>
                    </a:cubicBezTo>
                    <a:lnTo>
                      <a:pt x="599778" y="271181"/>
                    </a:lnTo>
                    <a:cubicBezTo>
                      <a:pt x="606547" y="277942"/>
                      <a:pt x="609191" y="287977"/>
                      <a:pt x="606758" y="297168"/>
                    </a:cubicBezTo>
                    <a:lnTo>
                      <a:pt x="590047" y="359704"/>
                    </a:lnTo>
                    <a:cubicBezTo>
                      <a:pt x="587509" y="368894"/>
                      <a:pt x="580211" y="376183"/>
                      <a:pt x="571010" y="378612"/>
                    </a:cubicBezTo>
                    <a:cubicBezTo>
                      <a:pt x="570904" y="378718"/>
                      <a:pt x="570904" y="378718"/>
                      <a:pt x="570798" y="378718"/>
                    </a:cubicBezTo>
                    <a:lnTo>
                      <a:pt x="501627" y="395303"/>
                    </a:lnTo>
                    <a:lnTo>
                      <a:pt x="377987" y="518790"/>
                    </a:lnTo>
                    <a:cubicBezTo>
                      <a:pt x="368785" y="527981"/>
                      <a:pt x="356517" y="533051"/>
                      <a:pt x="343507" y="533051"/>
                    </a:cubicBezTo>
                    <a:cubicBezTo>
                      <a:pt x="330498" y="533051"/>
                      <a:pt x="318229" y="527981"/>
                      <a:pt x="309028" y="518790"/>
                    </a:cubicBezTo>
                    <a:lnTo>
                      <a:pt x="306066" y="515833"/>
                    </a:lnTo>
                    <a:cubicBezTo>
                      <a:pt x="296865" y="506642"/>
                      <a:pt x="291788" y="494494"/>
                      <a:pt x="291788" y="481501"/>
                    </a:cubicBezTo>
                    <a:cubicBezTo>
                      <a:pt x="291788" y="468402"/>
                      <a:pt x="296865" y="456254"/>
                      <a:pt x="306066" y="447064"/>
                    </a:cubicBezTo>
                    <a:lnTo>
                      <a:pt x="429707" y="323576"/>
                    </a:lnTo>
                    <a:lnTo>
                      <a:pt x="446418" y="254491"/>
                    </a:lnTo>
                    <a:cubicBezTo>
                      <a:pt x="446418" y="254385"/>
                      <a:pt x="446418" y="254385"/>
                      <a:pt x="446418" y="254280"/>
                    </a:cubicBezTo>
                    <a:cubicBezTo>
                      <a:pt x="448956" y="245089"/>
                      <a:pt x="456254" y="237801"/>
                      <a:pt x="465455" y="235265"/>
                    </a:cubicBezTo>
                    <a:lnTo>
                      <a:pt x="527963" y="218575"/>
                    </a:lnTo>
                    <a:cubicBezTo>
                      <a:pt x="530290" y="217941"/>
                      <a:pt x="532617" y="217624"/>
                      <a:pt x="534943" y="217624"/>
                    </a:cubicBezTo>
                    <a:close/>
                    <a:moveTo>
                      <a:pt x="253873" y="140927"/>
                    </a:moveTo>
                    <a:cubicBezTo>
                      <a:pt x="191674" y="140927"/>
                      <a:pt x="141005" y="191424"/>
                      <a:pt x="141005" y="253542"/>
                    </a:cubicBezTo>
                    <a:cubicBezTo>
                      <a:pt x="141005" y="315765"/>
                      <a:pt x="191674" y="366262"/>
                      <a:pt x="253873" y="366262"/>
                    </a:cubicBezTo>
                    <a:cubicBezTo>
                      <a:pt x="316072" y="366262"/>
                      <a:pt x="366741" y="315765"/>
                      <a:pt x="366741" y="253542"/>
                    </a:cubicBezTo>
                    <a:cubicBezTo>
                      <a:pt x="366741" y="191424"/>
                      <a:pt x="316072" y="140927"/>
                      <a:pt x="253873" y="140927"/>
                    </a:cubicBezTo>
                    <a:close/>
                    <a:moveTo>
                      <a:pt x="232929" y="0"/>
                    </a:moveTo>
                    <a:lnTo>
                      <a:pt x="274818" y="0"/>
                    </a:lnTo>
                    <a:cubicBezTo>
                      <a:pt x="298090" y="0"/>
                      <a:pt x="316918" y="18910"/>
                      <a:pt x="316918" y="42045"/>
                    </a:cubicBezTo>
                    <a:lnTo>
                      <a:pt x="316918" y="55885"/>
                    </a:lnTo>
                    <a:cubicBezTo>
                      <a:pt x="328025" y="59371"/>
                      <a:pt x="338921" y="63913"/>
                      <a:pt x="349287" y="69301"/>
                    </a:cubicBezTo>
                    <a:lnTo>
                      <a:pt x="359125" y="59476"/>
                    </a:lnTo>
                    <a:cubicBezTo>
                      <a:pt x="367058" y="51553"/>
                      <a:pt x="377637" y="47222"/>
                      <a:pt x="388849" y="47222"/>
                    </a:cubicBezTo>
                    <a:cubicBezTo>
                      <a:pt x="400062" y="47222"/>
                      <a:pt x="410640" y="51553"/>
                      <a:pt x="418574" y="59476"/>
                    </a:cubicBezTo>
                    <a:lnTo>
                      <a:pt x="448192" y="89162"/>
                    </a:lnTo>
                    <a:cubicBezTo>
                      <a:pt x="464588" y="105536"/>
                      <a:pt x="464588" y="132158"/>
                      <a:pt x="448192" y="148533"/>
                    </a:cubicBezTo>
                    <a:lnTo>
                      <a:pt x="438460" y="158252"/>
                    </a:lnTo>
                    <a:cubicBezTo>
                      <a:pt x="443749" y="168710"/>
                      <a:pt x="448298" y="179486"/>
                      <a:pt x="451789" y="190684"/>
                    </a:cubicBezTo>
                    <a:lnTo>
                      <a:pt x="465752" y="190684"/>
                    </a:lnTo>
                    <a:cubicBezTo>
                      <a:pt x="478657" y="190684"/>
                      <a:pt x="490187" y="196494"/>
                      <a:pt x="497909" y="205685"/>
                    </a:cubicBezTo>
                    <a:lnTo>
                      <a:pt x="450837" y="218257"/>
                    </a:lnTo>
                    <a:cubicBezTo>
                      <a:pt x="435604" y="222377"/>
                      <a:pt x="423440" y="234420"/>
                      <a:pt x="419420" y="249739"/>
                    </a:cubicBezTo>
                    <a:cubicBezTo>
                      <a:pt x="419314" y="249950"/>
                      <a:pt x="419314" y="250161"/>
                      <a:pt x="419208" y="250372"/>
                    </a:cubicBezTo>
                    <a:lnTo>
                      <a:pt x="403764" y="314603"/>
                    </a:lnTo>
                    <a:lnTo>
                      <a:pt x="283598" y="434613"/>
                    </a:lnTo>
                    <a:cubicBezTo>
                      <a:pt x="271010" y="447078"/>
                      <a:pt x="264134" y="463770"/>
                      <a:pt x="264134" y="481518"/>
                    </a:cubicBezTo>
                    <a:cubicBezTo>
                      <a:pt x="264134" y="490392"/>
                      <a:pt x="265932" y="499160"/>
                      <a:pt x="269317" y="507083"/>
                    </a:cubicBezTo>
                    <a:lnTo>
                      <a:pt x="232929" y="507083"/>
                    </a:lnTo>
                    <a:cubicBezTo>
                      <a:pt x="209657" y="507083"/>
                      <a:pt x="190828" y="488279"/>
                      <a:pt x="190828" y="465143"/>
                    </a:cubicBezTo>
                    <a:lnTo>
                      <a:pt x="190828" y="451304"/>
                    </a:lnTo>
                    <a:cubicBezTo>
                      <a:pt x="179721" y="447712"/>
                      <a:pt x="168826" y="443275"/>
                      <a:pt x="158459" y="437888"/>
                    </a:cubicBezTo>
                    <a:lnTo>
                      <a:pt x="148622" y="447712"/>
                    </a:lnTo>
                    <a:cubicBezTo>
                      <a:pt x="140688" y="455635"/>
                      <a:pt x="130110" y="459967"/>
                      <a:pt x="118897" y="459967"/>
                    </a:cubicBezTo>
                    <a:cubicBezTo>
                      <a:pt x="107685" y="459967"/>
                      <a:pt x="97107" y="455635"/>
                      <a:pt x="89173" y="447712"/>
                    </a:cubicBezTo>
                    <a:lnTo>
                      <a:pt x="59554" y="418027"/>
                    </a:lnTo>
                    <a:cubicBezTo>
                      <a:pt x="43158" y="401652"/>
                      <a:pt x="43158" y="375030"/>
                      <a:pt x="59554" y="358656"/>
                    </a:cubicBezTo>
                    <a:lnTo>
                      <a:pt x="69286" y="348831"/>
                    </a:lnTo>
                    <a:cubicBezTo>
                      <a:pt x="63997" y="338478"/>
                      <a:pt x="59449" y="327597"/>
                      <a:pt x="55958" y="316505"/>
                    </a:cubicBezTo>
                    <a:lnTo>
                      <a:pt x="41995" y="316505"/>
                    </a:lnTo>
                    <a:cubicBezTo>
                      <a:pt x="18829" y="316505"/>
                      <a:pt x="0" y="297700"/>
                      <a:pt x="0" y="274565"/>
                    </a:cubicBezTo>
                    <a:lnTo>
                      <a:pt x="0" y="232625"/>
                    </a:lnTo>
                    <a:cubicBezTo>
                      <a:pt x="0" y="209488"/>
                      <a:pt x="18829" y="190684"/>
                      <a:pt x="41995" y="190684"/>
                    </a:cubicBezTo>
                    <a:lnTo>
                      <a:pt x="55958" y="190684"/>
                    </a:lnTo>
                    <a:cubicBezTo>
                      <a:pt x="59449" y="179486"/>
                      <a:pt x="63997" y="168710"/>
                      <a:pt x="69286" y="158252"/>
                    </a:cubicBezTo>
                    <a:lnTo>
                      <a:pt x="59554" y="148533"/>
                    </a:lnTo>
                    <a:cubicBezTo>
                      <a:pt x="43158" y="132158"/>
                      <a:pt x="43158" y="105536"/>
                      <a:pt x="59554" y="89162"/>
                    </a:cubicBezTo>
                    <a:lnTo>
                      <a:pt x="89173" y="59476"/>
                    </a:lnTo>
                    <a:cubicBezTo>
                      <a:pt x="97107" y="51553"/>
                      <a:pt x="107685" y="47222"/>
                      <a:pt x="118897" y="47222"/>
                    </a:cubicBezTo>
                    <a:cubicBezTo>
                      <a:pt x="130110" y="47222"/>
                      <a:pt x="140688" y="51553"/>
                      <a:pt x="148622" y="59476"/>
                    </a:cubicBezTo>
                    <a:lnTo>
                      <a:pt x="158459" y="69301"/>
                    </a:lnTo>
                    <a:cubicBezTo>
                      <a:pt x="168826" y="63913"/>
                      <a:pt x="179721" y="59371"/>
                      <a:pt x="190828" y="55885"/>
                    </a:cubicBezTo>
                    <a:lnTo>
                      <a:pt x="190828" y="42045"/>
                    </a:lnTo>
                    <a:cubicBezTo>
                      <a:pt x="190828" y="18910"/>
                      <a:pt x="209657" y="0"/>
                      <a:pt x="23292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/>
              <a:lstStyle/>
              <a:p>
                <a:endParaRPr lang="zh-CN" altLang="en-US" sz="135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1" name="íṣļíḑê"/>
            <p:cNvGrpSpPr/>
            <p:nvPr/>
          </p:nvGrpSpPr>
          <p:grpSpPr>
            <a:xfrm>
              <a:off x="3502149" y="2094313"/>
              <a:ext cx="953230" cy="953228"/>
              <a:chOff x="7828426" y="1707625"/>
              <a:chExt cx="682538" cy="682537"/>
            </a:xfrm>
          </p:grpSpPr>
          <p:sp>
            <p:nvSpPr>
              <p:cNvPr id="27" name="islïde"/>
              <p:cNvSpPr/>
              <p:nvPr/>
            </p:nvSpPr>
            <p:spPr>
              <a:xfrm>
                <a:off x="7828426" y="1707625"/>
                <a:ext cx="682538" cy="682537"/>
              </a:xfrm>
              <a:prstGeom prst="ellipse">
                <a:avLst/>
              </a:prstGeom>
              <a:solidFill>
                <a:schemeClr val="accent2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68580" tIns="34290" rIns="68580" bIns="34290" rtlCol="0" anchor="ctr">
                <a:normAutofit/>
              </a:bodyPr>
              <a:lstStyle/>
              <a:p>
                <a:pPr algn="ctr"/>
                <a:endParaRPr lang="zh-CN" altLang="en-US" sz="1200" b="1" i="1" dirty="0">
                  <a:solidFill>
                    <a:srgbClr val="354B5E"/>
                  </a:solidFill>
                </a:endParaRPr>
              </a:p>
            </p:txBody>
          </p:sp>
          <p:sp>
            <p:nvSpPr>
              <p:cNvPr id="28" name="iṣľîďé"/>
              <p:cNvSpPr/>
              <p:nvPr/>
            </p:nvSpPr>
            <p:spPr bwMode="auto">
              <a:xfrm>
                <a:off x="7963487" y="1868001"/>
                <a:ext cx="412418" cy="361786"/>
              </a:xfrm>
              <a:custGeom>
                <a:avLst/>
                <a:gdLst>
                  <a:gd name="connsiteX0" fmla="*/ 352921 w 607646"/>
                  <a:gd name="connsiteY0" fmla="*/ 457945 h 533051"/>
                  <a:gd name="connsiteX1" fmla="*/ 342979 w 607646"/>
                  <a:gd name="connsiteY1" fmla="*/ 462170 h 533051"/>
                  <a:gd name="connsiteX2" fmla="*/ 338854 w 607646"/>
                  <a:gd name="connsiteY2" fmla="*/ 472100 h 533051"/>
                  <a:gd name="connsiteX3" fmla="*/ 342979 w 607646"/>
                  <a:gd name="connsiteY3" fmla="*/ 482029 h 533051"/>
                  <a:gd name="connsiteX4" fmla="*/ 352921 w 607646"/>
                  <a:gd name="connsiteY4" fmla="*/ 486149 h 533051"/>
                  <a:gd name="connsiteX5" fmla="*/ 362863 w 607646"/>
                  <a:gd name="connsiteY5" fmla="*/ 482029 h 533051"/>
                  <a:gd name="connsiteX6" fmla="*/ 366987 w 607646"/>
                  <a:gd name="connsiteY6" fmla="*/ 472100 h 533051"/>
                  <a:gd name="connsiteX7" fmla="*/ 362863 w 607646"/>
                  <a:gd name="connsiteY7" fmla="*/ 462170 h 533051"/>
                  <a:gd name="connsiteX8" fmla="*/ 352921 w 607646"/>
                  <a:gd name="connsiteY8" fmla="*/ 457945 h 533051"/>
                  <a:gd name="connsiteX9" fmla="*/ 438485 w 607646"/>
                  <a:gd name="connsiteY9" fmla="*/ 375972 h 533051"/>
                  <a:gd name="connsiteX10" fmla="*/ 431081 w 607646"/>
                  <a:gd name="connsiteY10" fmla="*/ 379141 h 533051"/>
                  <a:gd name="connsiteX11" fmla="*/ 372699 w 607646"/>
                  <a:gd name="connsiteY11" fmla="*/ 437346 h 533051"/>
                  <a:gd name="connsiteX12" fmla="*/ 369632 w 607646"/>
                  <a:gd name="connsiteY12" fmla="*/ 444846 h 533051"/>
                  <a:gd name="connsiteX13" fmla="*/ 372699 w 607646"/>
                  <a:gd name="connsiteY13" fmla="*/ 452346 h 533051"/>
                  <a:gd name="connsiteX14" fmla="*/ 380208 w 607646"/>
                  <a:gd name="connsiteY14" fmla="*/ 455409 h 533051"/>
                  <a:gd name="connsiteX15" fmla="*/ 387612 w 607646"/>
                  <a:gd name="connsiteY15" fmla="*/ 452346 h 533051"/>
                  <a:gd name="connsiteX16" fmla="*/ 445994 w 607646"/>
                  <a:gd name="connsiteY16" fmla="*/ 394035 h 533051"/>
                  <a:gd name="connsiteX17" fmla="*/ 449062 w 607646"/>
                  <a:gd name="connsiteY17" fmla="*/ 386535 h 533051"/>
                  <a:gd name="connsiteX18" fmla="*/ 445994 w 607646"/>
                  <a:gd name="connsiteY18" fmla="*/ 379141 h 533051"/>
                  <a:gd name="connsiteX19" fmla="*/ 438485 w 607646"/>
                  <a:gd name="connsiteY19" fmla="*/ 375972 h 533051"/>
                  <a:gd name="connsiteX20" fmla="*/ 534943 w 607646"/>
                  <a:gd name="connsiteY20" fmla="*/ 217624 h 533051"/>
                  <a:gd name="connsiteX21" fmla="*/ 553981 w 607646"/>
                  <a:gd name="connsiteY21" fmla="*/ 225547 h 533051"/>
                  <a:gd name="connsiteX22" fmla="*/ 554404 w 607646"/>
                  <a:gd name="connsiteY22" fmla="*/ 225969 h 533051"/>
                  <a:gd name="connsiteX23" fmla="*/ 556520 w 607646"/>
                  <a:gd name="connsiteY23" fmla="*/ 230934 h 533051"/>
                  <a:gd name="connsiteX24" fmla="*/ 554510 w 607646"/>
                  <a:gd name="connsiteY24" fmla="*/ 235899 h 533051"/>
                  <a:gd name="connsiteX25" fmla="*/ 524050 w 607646"/>
                  <a:gd name="connsiteY25" fmla="*/ 266322 h 533051"/>
                  <a:gd name="connsiteX26" fmla="*/ 516752 w 607646"/>
                  <a:gd name="connsiteY26" fmla="*/ 283752 h 533051"/>
                  <a:gd name="connsiteX27" fmla="*/ 524050 w 607646"/>
                  <a:gd name="connsiteY27" fmla="*/ 301182 h 533051"/>
                  <a:gd name="connsiteX28" fmla="*/ 541501 w 607646"/>
                  <a:gd name="connsiteY28" fmla="*/ 308365 h 533051"/>
                  <a:gd name="connsiteX29" fmla="*/ 558952 w 607646"/>
                  <a:gd name="connsiteY29" fmla="*/ 301182 h 533051"/>
                  <a:gd name="connsiteX30" fmla="*/ 589413 w 607646"/>
                  <a:gd name="connsiteY30" fmla="*/ 270759 h 533051"/>
                  <a:gd name="connsiteX31" fmla="*/ 594384 w 607646"/>
                  <a:gd name="connsiteY31" fmla="*/ 268752 h 533051"/>
                  <a:gd name="connsiteX32" fmla="*/ 599355 w 607646"/>
                  <a:gd name="connsiteY32" fmla="*/ 270759 h 533051"/>
                  <a:gd name="connsiteX33" fmla="*/ 599778 w 607646"/>
                  <a:gd name="connsiteY33" fmla="*/ 271181 h 533051"/>
                  <a:gd name="connsiteX34" fmla="*/ 606758 w 607646"/>
                  <a:gd name="connsiteY34" fmla="*/ 297168 h 533051"/>
                  <a:gd name="connsiteX35" fmla="*/ 590047 w 607646"/>
                  <a:gd name="connsiteY35" fmla="*/ 359704 h 533051"/>
                  <a:gd name="connsiteX36" fmla="*/ 571010 w 607646"/>
                  <a:gd name="connsiteY36" fmla="*/ 378612 h 533051"/>
                  <a:gd name="connsiteX37" fmla="*/ 570798 w 607646"/>
                  <a:gd name="connsiteY37" fmla="*/ 378718 h 533051"/>
                  <a:gd name="connsiteX38" fmla="*/ 501627 w 607646"/>
                  <a:gd name="connsiteY38" fmla="*/ 395303 h 533051"/>
                  <a:gd name="connsiteX39" fmla="*/ 377987 w 607646"/>
                  <a:gd name="connsiteY39" fmla="*/ 518790 h 533051"/>
                  <a:gd name="connsiteX40" fmla="*/ 343507 w 607646"/>
                  <a:gd name="connsiteY40" fmla="*/ 533051 h 533051"/>
                  <a:gd name="connsiteX41" fmla="*/ 309028 w 607646"/>
                  <a:gd name="connsiteY41" fmla="*/ 518790 h 533051"/>
                  <a:gd name="connsiteX42" fmla="*/ 306066 w 607646"/>
                  <a:gd name="connsiteY42" fmla="*/ 515833 h 533051"/>
                  <a:gd name="connsiteX43" fmla="*/ 291788 w 607646"/>
                  <a:gd name="connsiteY43" fmla="*/ 481501 h 533051"/>
                  <a:gd name="connsiteX44" fmla="*/ 306066 w 607646"/>
                  <a:gd name="connsiteY44" fmla="*/ 447064 h 533051"/>
                  <a:gd name="connsiteX45" fmla="*/ 429707 w 607646"/>
                  <a:gd name="connsiteY45" fmla="*/ 323576 h 533051"/>
                  <a:gd name="connsiteX46" fmla="*/ 446418 w 607646"/>
                  <a:gd name="connsiteY46" fmla="*/ 254491 h 533051"/>
                  <a:gd name="connsiteX47" fmla="*/ 446418 w 607646"/>
                  <a:gd name="connsiteY47" fmla="*/ 254280 h 533051"/>
                  <a:gd name="connsiteX48" fmla="*/ 465455 w 607646"/>
                  <a:gd name="connsiteY48" fmla="*/ 235265 h 533051"/>
                  <a:gd name="connsiteX49" fmla="*/ 527963 w 607646"/>
                  <a:gd name="connsiteY49" fmla="*/ 218575 h 533051"/>
                  <a:gd name="connsiteX50" fmla="*/ 534943 w 607646"/>
                  <a:gd name="connsiteY50" fmla="*/ 217624 h 533051"/>
                  <a:gd name="connsiteX51" fmla="*/ 253873 w 607646"/>
                  <a:gd name="connsiteY51" fmla="*/ 140927 h 533051"/>
                  <a:gd name="connsiteX52" fmla="*/ 141005 w 607646"/>
                  <a:gd name="connsiteY52" fmla="*/ 253542 h 533051"/>
                  <a:gd name="connsiteX53" fmla="*/ 253873 w 607646"/>
                  <a:gd name="connsiteY53" fmla="*/ 366262 h 533051"/>
                  <a:gd name="connsiteX54" fmla="*/ 366741 w 607646"/>
                  <a:gd name="connsiteY54" fmla="*/ 253542 h 533051"/>
                  <a:gd name="connsiteX55" fmla="*/ 253873 w 607646"/>
                  <a:gd name="connsiteY55" fmla="*/ 140927 h 533051"/>
                  <a:gd name="connsiteX56" fmla="*/ 232929 w 607646"/>
                  <a:gd name="connsiteY56" fmla="*/ 0 h 533051"/>
                  <a:gd name="connsiteX57" fmla="*/ 274818 w 607646"/>
                  <a:gd name="connsiteY57" fmla="*/ 0 h 533051"/>
                  <a:gd name="connsiteX58" fmla="*/ 316918 w 607646"/>
                  <a:gd name="connsiteY58" fmla="*/ 42045 h 533051"/>
                  <a:gd name="connsiteX59" fmla="*/ 316918 w 607646"/>
                  <a:gd name="connsiteY59" fmla="*/ 55885 h 533051"/>
                  <a:gd name="connsiteX60" fmla="*/ 349287 w 607646"/>
                  <a:gd name="connsiteY60" fmla="*/ 69301 h 533051"/>
                  <a:gd name="connsiteX61" fmla="*/ 359125 w 607646"/>
                  <a:gd name="connsiteY61" fmla="*/ 59476 h 533051"/>
                  <a:gd name="connsiteX62" fmla="*/ 388849 w 607646"/>
                  <a:gd name="connsiteY62" fmla="*/ 47222 h 533051"/>
                  <a:gd name="connsiteX63" fmla="*/ 418574 w 607646"/>
                  <a:gd name="connsiteY63" fmla="*/ 59476 h 533051"/>
                  <a:gd name="connsiteX64" fmla="*/ 448192 w 607646"/>
                  <a:gd name="connsiteY64" fmla="*/ 89162 h 533051"/>
                  <a:gd name="connsiteX65" fmla="*/ 448192 w 607646"/>
                  <a:gd name="connsiteY65" fmla="*/ 148533 h 533051"/>
                  <a:gd name="connsiteX66" fmla="*/ 438460 w 607646"/>
                  <a:gd name="connsiteY66" fmla="*/ 158252 h 533051"/>
                  <a:gd name="connsiteX67" fmla="*/ 451789 w 607646"/>
                  <a:gd name="connsiteY67" fmla="*/ 190684 h 533051"/>
                  <a:gd name="connsiteX68" fmla="*/ 465752 w 607646"/>
                  <a:gd name="connsiteY68" fmla="*/ 190684 h 533051"/>
                  <a:gd name="connsiteX69" fmla="*/ 497909 w 607646"/>
                  <a:gd name="connsiteY69" fmla="*/ 205685 h 533051"/>
                  <a:gd name="connsiteX70" fmla="*/ 450837 w 607646"/>
                  <a:gd name="connsiteY70" fmla="*/ 218257 h 533051"/>
                  <a:gd name="connsiteX71" fmla="*/ 419420 w 607646"/>
                  <a:gd name="connsiteY71" fmla="*/ 249739 h 533051"/>
                  <a:gd name="connsiteX72" fmla="*/ 419208 w 607646"/>
                  <a:gd name="connsiteY72" fmla="*/ 250372 h 533051"/>
                  <a:gd name="connsiteX73" fmla="*/ 403764 w 607646"/>
                  <a:gd name="connsiteY73" fmla="*/ 314603 h 533051"/>
                  <a:gd name="connsiteX74" fmla="*/ 283598 w 607646"/>
                  <a:gd name="connsiteY74" fmla="*/ 434613 h 533051"/>
                  <a:gd name="connsiteX75" fmla="*/ 264134 w 607646"/>
                  <a:gd name="connsiteY75" fmla="*/ 481518 h 533051"/>
                  <a:gd name="connsiteX76" fmla="*/ 269317 w 607646"/>
                  <a:gd name="connsiteY76" fmla="*/ 507083 h 533051"/>
                  <a:gd name="connsiteX77" fmla="*/ 232929 w 607646"/>
                  <a:gd name="connsiteY77" fmla="*/ 507083 h 533051"/>
                  <a:gd name="connsiteX78" fmla="*/ 190828 w 607646"/>
                  <a:gd name="connsiteY78" fmla="*/ 465143 h 533051"/>
                  <a:gd name="connsiteX79" fmla="*/ 190828 w 607646"/>
                  <a:gd name="connsiteY79" fmla="*/ 451304 h 533051"/>
                  <a:gd name="connsiteX80" fmla="*/ 158459 w 607646"/>
                  <a:gd name="connsiteY80" fmla="*/ 437888 h 533051"/>
                  <a:gd name="connsiteX81" fmla="*/ 148622 w 607646"/>
                  <a:gd name="connsiteY81" fmla="*/ 447712 h 533051"/>
                  <a:gd name="connsiteX82" fmla="*/ 118897 w 607646"/>
                  <a:gd name="connsiteY82" fmla="*/ 459967 h 533051"/>
                  <a:gd name="connsiteX83" fmla="*/ 89173 w 607646"/>
                  <a:gd name="connsiteY83" fmla="*/ 447712 h 533051"/>
                  <a:gd name="connsiteX84" fmla="*/ 59554 w 607646"/>
                  <a:gd name="connsiteY84" fmla="*/ 418027 h 533051"/>
                  <a:gd name="connsiteX85" fmla="*/ 59554 w 607646"/>
                  <a:gd name="connsiteY85" fmla="*/ 358656 h 533051"/>
                  <a:gd name="connsiteX86" fmla="*/ 69286 w 607646"/>
                  <a:gd name="connsiteY86" fmla="*/ 348831 h 533051"/>
                  <a:gd name="connsiteX87" fmla="*/ 55958 w 607646"/>
                  <a:gd name="connsiteY87" fmla="*/ 316505 h 533051"/>
                  <a:gd name="connsiteX88" fmla="*/ 41995 w 607646"/>
                  <a:gd name="connsiteY88" fmla="*/ 316505 h 533051"/>
                  <a:gd name="connsiteX89" fmla="*/ 0 w 607646"/>
                  <a:gd name="connsiteY89" fmla="*/ 274565 h 533051"/>
                  <a:gd name="connsiteX90" fmla="*/ 0 w 607646"/>
                  <a:gd name="connsiteY90" fmla="*/ 232625 h 533051"/>
                  <a:gd name="connsiteX91" fmla="*/ 41995 w 607646"/>
                  <a:gd name="connsiteY91" fmla="*/ 190684 h 533051"/>
                  <a:gd name="connsiteX92" fmla="*/ 55958 w 607646"/>
                  <a:gd name="connsiteY92" fmla="*/ 190684 h 533051"/>
                  <a:gd name="connsiteX93" fmla="*/ 69286 w 607646"/>
                  <a:gd name="connsiteY93" fmla="*/ 158252 h 533051"/>
                  <a:gd name="connsiteX94" fmla="*/ 59554 w 607646"/>
                  <a:gd name="connsiteY94" fmla="*/ 148533 h 533051"/>
                  <a:gd name="connsiteX95" fmla="*/ 59554 w 607646"/>
                  <a:gd name="connsiteY95" fmla="*/ 89162 h 533051"/>
                  <a:gd name="connsiteX96" fmla="*/ 89173 w 607646"/>
                  <a:gd name="connsiteY96" fmla="*/ 59476 h 533051"/>
                  <a:gd name="connsiteX97" fmla="*/ 118897 w 607646"/>
                  <a:gd name="connsiteY97" fmla="*/ 47222 h 533051"/>
                  <a:gd name="connsiteX98" fmla="*/ 148622 w 607646"/>
                  <a:gd name="connsiteY98" fmla="*/ 59476 h 533051"/>
                  <a:gd name="connsiteX99" fmla="*/ 158459 w 607646"/>
                  <a:gd name="connsiteY99" fmla="*/ 69301 h 533051"/>
                  <a:gd name="connsiteX100" fmla="*/ 190828 w 607646"/>
                  <a:gd name="connsiteY100" fmla="*/ 55885 h 533051"/>
                  <a:gd name="connsiteX101" fmla="*/ 190828 w 607646"/>
                  <a:gd name="connsiteY101" fmla="*/ 42045 h 533051"/>
                  <a:gd name="connsiteX102" fmla="*/ 232929 w 607646"/>
                  <a:gd name="connsiteY102" fmla="*/ 0 h 5330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</a:cxnLst>
                <a:rect l="l" t="t" r="r" b="b"/>
                <a:pathLst>
                  <a:path w="607646" h="533051">
                    <a:moveTo>
                      <a:pt x="352921" y="457945"/>
                    </a:moveTo>
                    <a:cubicBezTo>
                      <a:pt x="349113" y="457945"/>
                      <a:pt x="345623" y="459423"/>
                      <a:pt x="342979" y="462170"/>
                    </a:cubicBezTo>
                    <a:cubicBezTo>
                      <a:pt x="340229" y="464811"/>
                      <a:pt x="338854" y="468297"/>
                      <a:pt x="338854" y="472100"/>
                    </a:cubicBezTo>
                    <a:cubicBezTo>
                      <a:pt x="338854" y="475797"/>
                      <a:pt x="340229" y="479389"/>
                      <a:pt x="342979" y="482029"/>
                    </a:cubicBezTo>
                    <a:cubicBezTo>
                      <a:pt x="345623" y="484670"/>
                      <a:pt x="349113" y="486149"/>
                      <a:pt x="352921" y="486149"/>
                    </a:cubicBezTo>
                    <a:cubicBezTo>
                      <a:pt x="356622" y="486149"/>
                      <a:pt x="360218" y="484670"/>
                      <a:pt x="362863" y="482029"/>
                    </a:cubicBezTo>
                    <a:cubicBezTo>
                      <a:pt x="365507" y="479389"/>
                      <a:pt x="366987" y="475797"/>
                      <a:pt x="366987" y="472100"/>
                    </a:cubicBezTo>
                    <a:cubicBezTo>
                      <a:pt x="366987" y="468297"/>
                      <a:pt x="365507" y="464811"/>
                      <a:pt x="362863" y="462170"/>
                    </a:cubicBezTo>
                    <a:cubicBezTo>
                      <a:pt x="360218" y="459423"/>
                      <a:pt x="356622" y="457945"/>
                      <a:pt x="352921" y="457945"/>
                    </a:cubicBezTo>
                    <a:close/>
                    <a:moveTo>
                      <a:pt x="438485" y="375972"/>
                    </a:moveTo>
                    <a:cubicBezTo>
                      <a:pt x="435735" y="375972"/>
                      <a:pt x="432985" y="377134"/>
                      <a:pt x="431081" y="379141"/>
                    </a:cubicBezTo>
                    <a:lnTo>
                      <a:pt x="372699" y="437346"/>
                    </a:lnTo>
                    <a:cubicBezTo>
                      <a:pt x="370689" y="439353"/>
                      <a:pt x="369632" y="441994"/>
                      <a:pt x="369632" y="444846"/>
                    </a:cubicBezTo>
                    <a:cubicBezTo>
                      <a:pt x="369632" y="447698"/>
                      <a:pt x="370689" y="450339"/>
                      <a:pt x="372699" y="452346"/>
                    </a:cubicBezTo>
                    <a:cubicBezTo>
                      <a:pt x="374708" y="454353"/>
                      <a:pt x="377352" y="455409"/>
                      <a:pt x="380208" y="455409"/>
                    </a:cubicBezTo>
                    <a:cubicBezTo>
                      <a:pt x="382958" y="455409"/>
                      <a:pt x="385602" y="454353"/>
                      <a:pt x="387612" y="452346"/>
                    </a:cubicBezTo>
                    <a:lnTo>
                      <a:pt x="445994" y="394035"/>
                    </a:lnTo>
                    <a:cubicBezTo>
                      <a:pt x="448004" y="392028"/>
                      <a:pt x="449062" y="389387"/>
                      <a:pt x="449062" y="386535"/>
                    </a:cubicBezTo>
                    <a:cubicBezTo>
                      <a:pt x="449062" y="383789"/>
                      <a:pt x="448004" y="381148"/>
                      <a:pt x="445994" y="379141"/>
                    </a:cubicBezTo>
                    <a:cubicBezTo>
                      <a:pt x="443985" y="377134"/>
                      <a:pt x="441341" y="375972"/>
                      <a:pt x="438485" y="375972"/>
                    </a:cubicBezTo>
                    <a:close/>
                    <a:moveTo>
                      <a:pt x="534943" y="217624"/>
                    </a:moveTo>
                    <a:cubicBezTo>
                      <a:pt x="542136" y="217624"/>
                      <a:pt x="548905" y="220371"/>
                      <a:pt x="553981" y="225547"/>
                    </a:cubicBezTo>
                    <a:lnTo>
                      <a:pt x="554404" y="225969"/>
                    </a:lnTo>
                    <a:cubicBezTo>
                      <a:pt x="555779" y="227237"/>
                      <a:pt x="556520" y="229033"/>
                      <a:pt x="556520" y="230934"/>
                    </a:cubicBezTo>
                    <a:cubicBezTo>
                      <a:pt x="556520" y="232836"/>
                      <a:pt x="555779" y="234632"/>
                      <a:pt x="554510" y="235899"/>
                    </a:cubicBezTo>
                    <a:lnTo>
                      <a:pt x="524050" y="266322"/>
                    </a:lnTo>
                    <a:cubicBezTo>
                      <a:pt x="519396" y="270970"/>
                      <a:pt x="516752" y="277203"/>
                      <a:pt x="516752" y="283752"/>
                    </a:cubicBezTo>
                    <a:cubicBezTo>
                      <a:pt x="516752" y="290301"/>
                      <a:pt x="519396" y="296534"/>
                      <a:pt x="524050" y="301182"/>
                    </a:cubicBezTo>
                    <a:cubicBezTo>
                      <a:pt x="528703" y="305830"/>
                      <a:pt x="534838" y="308365"/>
                      <a:pt x="541501" y="308365"/>
                    </a:cubicBezTo>
                    <a:cubicBezTo>
                      <a:pt x="548058" y="308365"/>
                      <a:pt x="554299" y="305830"/>
                      <a:pt x="558952" y="301182"/>
                    </a:cubicBezTo>
                    <a:lnTo>
                      <a:pt x="589413" y="270759"/>
                    </a:lnTo>
                    <a:cubicBezTo>
                      <a:pt x="590682" y="269491"/>
                      <a:pt x="592480" y="268752"/>
                      <a:pt x="594384" y="268752"/>
                    </a:cubicBezTo>
                    <a:cubicBezTo>
                      <a:pt x="596288" y="268752"/>
                      <a:pt x="597980" y="269491"/>
                      <a:pt x="599355" y="270759"/>
                    </a:cubicBezTo>
                    <a:lnTo>
                      <a:pt x="599778" y="271181"/>
                    </a:lnTo>
                    <a:cubicBezTo>
                      <a:pt x="606547" y="277942"/>
                      <a:pt x="609191" y="287977"/>
                      <a:pt x="606758" y="297168"/>
                    </a:cubicBezTo>
                    <a:lnTo>
                      <a:pt x="590047" y="359704"/>
                    </a:lnTo>
                    <a:cubicBezTo>
                      <a:pt x="587509" y="368894"/>
                      <a:pt x="580211" y="376183"/>
                      <a:pt x="571010" y="378612"/>
                    </a:cubicBezTo>
                    <a:cubicBezTo>
                      <a:pt x="570904" y="378718"/>
                      <a:pt x="570904" y="378718"/>
                      <a:pt x="570798" y="378718"/>
                    </a:cubicBezTo>
                    <a:lnTo>
                      <a:pt x="501627" y="395303"/>
                    </a:lnTo>
                    <a:lnTo>
                      <a:pt x="377987" y="518790"/>
                    </a:lnTo>
                    <a:cubicBezTo>
                      <a:pt x="368785" y="527981"/>
                      <a:pt x="356517" y="533051"/>
                      <a:pt x="343507" y="533051"/>
                    </a:cubicBezTo>
                    <a:cubicBezTo>
                      <a:pt x="330498" y="533051"/>
                      <a:pt x="318229" y="527981"/>
                      <a:pt x="309028" y="518790"/>
                    </a:cubicBezTo>
                    <a:lnTo>
                      <a:pt x="306066" y="515833"/>
                    </a:lnTo>
                    <a:cubicBezTo>
                      <a:pt x="296865" y="506642"/>
                      <a:pt x="291788" y="494494"/>
                      <a:pt x="291788" y="481501"/>
                    </a:cubicBezTo>
                    <a:cubicBezTo>
                      <a:pt x="291788" y="468402"/>
                      <a:pt x="296865" y="456254"/>
                      <a:pt x="306066" y="447064"/>
                    </a:cubicBezTo>
                    <a:lnTo>
                      <a:pt x="429707" y="323576"/>
                    </a:lnTo>
                    <a:lnTo>
                      <a:pt x="446418" y="254491"/>
                    </a:lnTo>
                    <a:cubicBezTo>
                      <a:pt x="446418" y="254385"/>
                      <a:pt x="446418" y="254385"/>
                      <a:pt x="446418" y="254280"/>
                    </a:cubicBezTo>
                    <a:cubicBezTo>
                      <a:pt x="448956" y="245089"/>
                      <a:pt x="456254" y="237801"/>
                      <a:pt x="465455" y="235265"/>
                    </a:cubicBezTo>
                    <a:lnTo>
                      <a:pt x="527963" y="218575"/>
                    </a:lnTo>
                    <a:cubicBezTo>
                      <a:pt x="530290" y="217941"/>
                      <a:pt x="532617" y="217624"/>
                      <a:pt x="534943" y="217624"/>
                    </a:cubicBezTo>
                    <a:close/>
                    <a:moveTo>
                      <a:pt x="253873" y="140927"/>
                    </a:moveTo>
                    <a:cubicBezTo>
                      <a:pt x="191674" y="140927"/>
                      <a:pt x="141005" y="191424"/>
                      <a:pt x="141005" y="253542"/>
                    </a:cubicBezTo>
                    <a:cubicBezTo>
                      <a:pt x="141005" y="315765"/>
                      <a:pt x="191674" y="366262"/>
                      <a:pt x="253873" y="366262"/>
                    </a:cubicBezTo>
                    <a:cubicBezTo>
                      <a:pt x="316072" y="366262"/>
                      <a:pt x="366741" y="315765"/>
                      <a:pt x="366741" y="253542"/>
                    </a:cubicBezTo>
                    <a:cubicBezTo>
                      <a:pt x="366741" y="191424"/>
                      <a:pt x="316072" y="140927"/>
                      <a:pt x="253873" y="140927"/>
                    </a:cubicBezTo>
                    <a:close/>
                    <a:moveTo>
                      <a:pt x="232929" y="0"/>
                    </a:moveTo>
                    <a:lnTo>
                      <a:pt x="274818" y="0"/>
                    </a:lnTo>
                    <a:cubicBezTo>
                      <a:pt x="298090" y="0"/>
                      <a:pt x="316918" y="18910"/>
                      <a:pt x="316918" y="42045"/>
                    </a:cubicBezTo>
                    <a:lnTo>
                      <a:pt x="316918" y="55885"/>
                    </a:lnTo>
                    <a:cubicBezTo>
                      <a:pt x="328025" y="59371"/>
                      <a:pt x="338921" y="63913"/>
                      <a:pt x="349287" y="69301"/>
                    </a:cubicBezTo>
                    <a:lnTo>
                      <a:pt x="359125" y="59476"/>
                    </a:lnTo>
                    <a:cubicBezTo>
                      <a:pt x="367058" y="51553"/>
                      <a:pt x="377637" y="47222"/>
                      <a:pt x="388849" y="47222"/>
                    </a:cubicBezTo>
                    <a:cubicBezTo>
                      <a:pt x="400062" y="47222"/>
                      <a:pt x="410640" y="51553"/>
                      <a:pt x="418574" y="59476"/>
                    </a:cubicBezTo>
                    <a:lnTo>
                      <a:pt x="448192" y="89162"/>
                    </a:lnTo>
                    <a:cubicBezTo>
                      <a:pt x="464588" y="105536"/>
                      <a:pt x="464588" y="132158"/>
                      <a:pt x="448192" y="148533"/>
                    </a:cubicBezTo>
                    <a:lnTo>
                      <a:pt x="438460" y="158252"/>
                    </a:lnTo>
                    <a:cubicBezTo>
                      <a:pt x="443749" y="168710"/>
                      <a:pt x="448298" y="179486"/>
                      <a:pt x="451789" y="190684"/>
                    </a:cubicBezTo>
                    <a:lnTo>
                      <a:pt x="465752" y="190684"/>
                    </a:lnTo>
                    <a:cubicBezTo>
                      <a:pt x="478657" y="190684"/>
                      <a:pt x="490187" y="196494"/>
                      <a:pt x="497909" y="205685"/>
                    </a:cubicBezTo>
                    <a:lnTo>
                      <a:pt x="450837" y="218257"/>
                    </a:lnTo>
                    <a:cubicBezTo>
                      <a:pt x="435604" y="222377"/>
                      <a:pt x="423440" y="234420"/>
                      <a:pt x="419420" y="249739"/>
                    </a:cubicBezTo>
                    <a:cubicBezTo>
                      <a:pt x="419314" y="249950"/>
                      <a:pt x="419314" y="250161"/>
                      <a:pt x="419208" y="250372"/>
                    </a:cubicBezTo>
                    <a:lnTo>
                      <a:pt x="403764" y="314603"/>
                    </a:lnTo>
                    <a:lnTo>
                      <a:pt x="283598" y="434613"/>
                    </a:lnTo>
                    <a:cubicBezTo>
                      <a:pt x="271010" y="447078"/>
                      <a:pt x="264134" y="463770"/>
                      <a:pt x="264134" y="481518"/>
                    </a:cubicBezTo>
                    <a:cubicBezTo>
                      <a:pt x="264134" y="490392"/>
                      <a:pt x="265932" y="499160"/>
                      <a:pt x="269317" y="507083"/>
                    </a:cubicBezTo>
                    <a:lnTo>
                      <a:pt x="232929" y="507083"/>
                    </a:lnTo>
                    <a:cubicBezTo>
                      <a:pt x="209657" y="507083"/>
                      <a:pt x="190828" y="488279"/>
                      <a:pt x="190828" y="465143"/>
                    </a:cubicBezTo>
                    <a:lnTo>
                      <a:pt x="190828" y="451304"/>
                    </a:lnTo>
                    <a:cubicBezTo>
                      <a:pt x="179721" y="447712"/>
                      <a:pt x="168826" y="443275"/>
                      <a:pt x="158459" y="437888"/>
                    </a:cubicBezTo>
                    <a:lnTo>
                      <a:pt x="148622" y="447712"/>
                    </a:lnTo>
                    <a:cubicBezTo>
                      <a:pt x="140688" y="455635"/>
                      <a:pt x="130110" y="459967"/>
                      <a:pt x="118897" y="459967"/>
                    </a:cubicBezTo>
                    <a:cubicBezTo>
                      <a:pt x="107685" y="459967"/>
                      <a:pt x="97107" y="455635"/>
                      <a:pt x="89173" y="447712"/>
                    </a:cubicBezTo>
                    <a:lnTo>
                      <a:pt x="59554" y="418027"/>
                    </a:lnTo>
                    <a:cubicBezTo>
                      <a:pt x="43158" y="401652"/>
                      <a:pt x="43158" y="375030"/>
                      <a:pt x="59554" y="358656"/>
                    </a:cubicBezTo>
                    <a:lnTo>
                      <a:pt x="69286" y="348831"/>
                    </a:lnTo>
                    <a:cubicBezTo>
                      <a:pt x="63997" y="338478"/>
                      <a:pt x="59449" y="327597"/>
                      <a:pt x="55958" y="316505"/>
                    </a:cubicBezTo>
                    <a:lnTo>
                      <a:pt x="41995" y="316505"/>
                    </a:lnTo>
                    <a:cubicBezTo>
                      <a:pt x="18829" y="316505"/>
                      <a:pt x="0" y="297700"/>
                      <a:pt x="0" y="274565"/>
                    </a:cubicBezTo>
                    <a:lnTo>
                      <a:pt x="0" y="232625"/>
                    </a:lnTo>
                    <a:cubicBezTo>
                      <a:pt x="0" y="209488"/>
                      <a:pt x="18829" y="190684"/>
                      <a:pt x="41995" y="190684"/>
                    </a:cubicBezTo>
                    <a:lnTo>
                      <a:pt x="55958" y="190684"/>
                    </a:lnTo>
                    <a:cubicBezTo>
                      <a:pt x="59449" y="179486"/>
                      <a:pt x="63997" y="168710"/>
                      <a:pt x="69286" y="158252"/>
                    </a:cubicBezTo>
                    <a:lnTo>
                      <a:pt x="59554" y="148533"/>
                    </a:lnTo>
                    <a:cubicBezTo>
                      <a:pt x="43158" y="132158"/>
                      <a:pt x="43158" y="105536"/>
                      <a:pt x="59554" y="89162"/>
                    </a:cubicBezTo>
                    <a:lnTo>
                      <a:pt x="89173" y="59476"/>
                    </a:lnTo>
                    <a:cubicBezTo>
                      <a:pt x="97107" y="51553"/>
                      <a:pt x="107685" y="47222"/>
                      <a:pt x="118897" y="47222"/>
                    </a:cubicBezTo>
                    <a:cubicBezTo>
                      <a:pt x="130110" y="47222"/>
                      <a:pt x="140688" y="51553"/>
                      <a:pt x="148622" y="59476"/>
                    </a:cubicBezTo>
                    <a:lnTo>
                      <a:pt x="158459" y="69301"/>
                    </a:lnTo>
                    <a:cubicBezTo>
                      <a:pt x="168826" y="63913"/>
                      <a:pt x="179721" y="59371"/>
                      <a:pt x="190828" y="55885"/>
                    </a:cubicBezTo>
                    <a:lnTo>
                      <a:pt x="190828" y="42045"/>
                    </a:lnTo>
                    <a:cubicBezTo>
                      <a:pt x="190828" y="18910"/>
                      <a:pt x="209657" y="0"/>
                      <a:pt x="23292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/>
              <a:lstStyle/>
              <a:p>
                <a:endParaRPr lang="zh-CN" altLang="en-US" sz="135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2" name="îṡľiďe"/>
            <p:cNvGrpSpPr/>
            <p:nvPr/>
          </p:nvGrpSpPr>
          <p:grpSpPr>
            <a:xfrm>
              <a:off x="1556685" y="4654996"/>
              <a:ext cx="2705263" cy="1024860"/>
              <a:chOff x="992893" y="1429926"/>
              <a:chExt cx="5103090" cy="1024860"/>
            </a:xfrm>
          </p:grpSpPr>
          <p:sp>
            <p:nvSpPr>
              <p:cNvPr id="25" name="îṣľide"/>
              <p:cNvSpPr/>
              <p:nvPr/>
            </p:nvSpPr>
            <p:spPr bwMode="auto">
              <a:xfrm>
                <a:off x="992893" y="1871732"/>
                <a:ext cx="5103090" cy="5830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68580" tIns="34290" rIns="68580" bIns="3429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20000"/>
                  </a:lnSpc>
                </a:pPr>
                <a:r>
                  <a:rPr lang="zh-CN" altLang="en-US" sz="825" dirty="0" smtClean="0">
                    <a:solidFill>
                      <a:srgbClr val="000000"/>
                    </a:solidFill>
                  </a:rPr>
                  <a:t>客户填写数据分析需求受理表</a:t>
                </a:r>
                <a:endParaRPr lang="en-US" altLang="zh-CN" sz="82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" name="ïṩlîḑé"/>
              <p:cNvSpPr txBox="1"/>
              <p:nvPr/>
            </p:nvSpPr>
            <p:spPr bwMode="auto">
              <a:xfrm>
                <a:off x="992893" y="1429926"/>
                <a:ext cx="5103090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68580" tIns="34290" rIns="68580" bIns="34290" anchor="ctr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spcBef>
                    <a:spcPct val="0"/>
                  </a:spcBef>
                </a:pPr>
                <a:r>
                  <a:rPr lang="en-US" altLang="zh-CN" b="1" dirty="0" smtClean="0">
                    <a:solidFill>
                      <a:srgbClr val="000000"/>
                    </a:solidFill>
                  </a:rPr>
                  <a:t>1. </a:t>
                </a:r>
                <a:r>
                  <a:rPr lang="zh-CN" altLang="en-US" b="1" dirty="0" smtClean="0">
                    <a:solidFill>
                      <a:srgbClr val="000000"/>
                    </a:solidFill>
                  </a:rPr>
                  <a:t>需求受理阶段</a:t>
                </a:r>
                <a:endParaRPr lang="en-US" altLang="zh-CN" b="1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24" name="ïŝľîḑe"/>
            <p:cNvSpPr txBox="1"/>
            <p:nvPr/>
          </p:nvSpPr>
          <p:spPr bwMode="auto">
            <a:xfrm>
              <a:off x="7741924" y="4618319"/>
              <a:ext cx="3031359" cy="441805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68580" tIns="34290" rIns="68580" bIns="3429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spcBef>
                  <a:spcPct val="0"/>
                </a:spcBef>
              </a:pPr>
              <a:r>
                <a:rPr lang="en-US" altLang="zh-CN" b="1" dirty="0" smtClean="0">
                  <a:solidFill>
                    <a:srgbClr val="000000"/>
                  </a:solidFill>
                </a:rPr>
                <a:t>5. </a:t>
              </a:r>
              <a:r>
                <a:rPr lang="zh-CN" altLang="en-US" b="1" dirty="0" smtClean="0">
                  <a:solidFill>
                    <a:srgbClr val="000000"/>
                  </a:solidFill>
                </a:rPr>
                <a:t>开发项目启动阶段</a:t>
              </a:r>
              <a:endParaRPr lang="en-US" altLang="zh-CN" b="1" dirty="0">
                <a:solidFill>
                  <a:srgbClr val="000000"/>
                </a:solidFill>
              </a:endParaRPr>
            </a:p>
          </p:txBody>
        </p:sp>
        <p:grpSp>
          <p:nvGrpSpPr>
            <p:cNvPr id="14" name="îŝľiďê"/>
            <p:cNvGrpSpPr/>
            <p:nvPr/>
          </p:nvGrpSpPr>
          <p:grpSpPr>
            <a:xfrm>
              <a:off x="4746020" y="5168886"/>
              <a:ext cx="2995904" cy="1717989"/>
              <a:chOff x="992893" y="1468426"/>
              <a:chExt cx="5651343" cy="1717989"/>
            </a:xfrm>
          </p:grpSpPr>
          <p:sp>
            <p:nvSpPr>
              <p:cNvPr id="21" name="íṣḻîḋê"/>
              <p:cNvSpPr/>
              <p:nvPr/>
            </p:nvSpPr>
            <p:spPr bwMode="auto">
              <a:xfrm>
                <a:off x="1077504" y="1841303"/>
                <a:ext cx="5306477" cy="134511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68580" tIns="34290" rIns="68580" bIns="3429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20000"/>
                  </a:lnSpc>
                </a:pPr>
                <a:r>
                  <a:rPr lang="zh-CN" altLang="en-US" sz="825" dirty="0" smtClean="0">
                    <a:solidFill>
                      <a:srgbClr val="000000"/>
                    </a:solidFill>
                  </a:rPr>
                  <a:t>技术方案设计</a:t>
                </a:r>
                <a:endParaRPr lang="en-US" altLang="zh-CN" sz="825" dirty="0" smtClean="0">
                  <a:solidFill>
                    <a:srgbClr val="000000"/>
                  </a:solidFill>
                </a:endParaRPr>
              </a:p>
              <a:p>
                <a:pPr algn="ctr">
                  <a:lnSpc>
                    <a:spcPct val="120000"/>
                  </a:lnSpc>
                </a:pPr>
                <a:r>
                  <a:rPr lang="zh-CN" altLang="en-US" sz="825" dirty="0" smtClean="0">
                    <a:solidFill>
                      <a:srgbClr val="000000"/>
                    </a:solidFill>
                  </a:rPr>
                  <a:t>解决方案数据需求调研</a:t>
                </a:r>
                <a:endParaRPr lang="en-US" altLang="zh-CN" sz="825" dirty="0" smtClean="0">
                  <a:solidFill>
                    <a:srgbClr val="000000"/>
                  </a:solidFill>
                </a:endParaRPr>
              </a:p>
              <a:p>
                <a:pPr algn="ctr">
                  <a:lnSpc>
                    <a:spcPct val="120000"/>
                  </a:lnSpc>
                </a:pPr>
                <a:r>
                  <a:rPr lang="zh-CN" altLang="en-US" sz="825" dirty="0" smtClean="0">
                    <a:solidFill>
                      <a:srgbClr val="000000"/>
                    </a:solidFill>
                  </a:rPr>
                  <a:t>数据质量分析</a:t>
                </a:r>
                <a:endParaRPr lang="en-US" altLang="zh-CN" sz="825" dirty="0" smtClean="0">
                  <a:solidFill>
                    <a:srgbClr val="000000"/>
                  </a:solidFill>
                </a:endParaRPr>
              </a:p>
              <a:p>
                <a:pPr algn="ctr">
                  <a:lnSpc>
                    <a:spcPct val="120000"/>
                  </a:lnSpc>
                </a:pPr>
                <a:r>
                  <a:rPr lang="zh-CN" altLang="en-US" sz="825" dirty="0" smtClean="0">
                    <a:solidFill>
                      <a:srgbClr val="000000"/>
                    </a:solidFill>
                  </a:rPr>
                  <a:t>模型开发可行性评估</a:t>
                </a:r>
                <a:endParaRPr lang="en-US" altLang="zh-CN" sz="825" dirty="0" smtClean="0">
                  <a:solidFill>
                    <a:srgbClr val="000000"/>
                  </a:solidFill>
                </a:endParaRPr>
              </a:p>
              <a:p>
                <a:pPr algn="ctr">
                  <a:lnSpc>
                    <a:spcPct val="120000"/>
                  </a:lnSpc>
                </a:pPr>
                <a:r>
                  <a:rPr lang="zh-CN" altLang="en-US" sz="825" dirty="0" smtClean="0">
                    <a:solidFill>
                      <a:srgbClr val="000000"/>
                    </a:solidFill>
                  </a:rPr>
                  <a:t>项目交付物设计</a:t>
                </a:r>
                <a:endParaRPr lang="en-US" altLang="zh-CN" sz="825" dirty="0" smtClean="0">
                  <a:solidFill>
                    <a:srgbClr val="000000"/>
                  </a:solidFill>
                </a:endParaRPr>
              </a:p>
              <a:p>
                <a:pPr algn="ctr">
                  <a:lnSpc>
                    <a:spcPct val="120000"/>
                  </a:lnSpc>
                </a:pPr>
                <a:r>
                  <a:rPr lang="zh-CN" altLang="en-US" sz="825" dirty="0" smtClean="0">
                    <a:solidFill>
                      <a:srgbClr val="000000"/>
                    </a:solidFill>
                  </a:rPr>
                  <a:t>项目开发人力和开发周期评估</a:t>
                </a:r>
                <a:endParaRPr lang="en-US" altLang="zh-CN" sz="82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" name="işḷiḍè"/>
              <p:cNvSpPr txBox="1"/>
              <p:nvPr/>
            </p:nvSpPr>
            <p:spPr bwMode="auto">
              <a:xfrm>
                <a:off x="992893" y="1468426"/>
                <a:ext cx="5651343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68580" tIns="34290" rIns="68580" bIns="34290" anchor="ctr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spcBef>
                    <a:spcPct val="0"/>
                  </a:spcBef>
                </a:pPr>
                <a:r>
                  <a:rPr lang="en-US" altLang="zh-CN" b="1" dirty="0" smtClean="0">
                    <a:solidFill>
                      <a:srgbClr val="000000"/>
                    </a:solidFill>
                  </a:rPr>
                  <a:t>3. </a:t>
                </a:r>
                <a:r>
                  <a:rPr lang="zh-CN" altLang="en-US" b="1" dirty="0" smtClean="0">
                    <a:solidFill>
                      <a:srgbClr val="000000"/>
                    </a:solidFill>
                  </a:rPr>
                  <a:t>需求技术分析阶段</a:t>
                </a:r>
                <a:endParaRPr lang="en-US" altLang="zh-CN" b="1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5" name="îś1ïḓe"/>
            <p:cNvGrpSpPr/>
            <p:nvPr/>
          </p:nvGrpSpPr>
          <p:grpSpPr>
            <a:xfrm>
              <a:off x="241920" y="1476920"/>
              <a:ext cx="5177197" cy="969015"/>
              <a:chOff x="-3504583" y="1779479"/>
              <a:chExt cx="9766038" cy="969015"/>
            </a:xfrm>
          </p:grpSpPr>
          <p:sp>
            <p:nvSpPr>
              <p:cNvPr id="19" name="ï$1ïdé"/>
              <p:cNvSpPr/>
              <p:nvPr/>
            </p:nvSpPr>
            <p:spPr bwMode="auto">
              <a:xfrm>
                <a:off x="-3504583" y="2165440"/>
                <a:ext cx="5103090" cy="5830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68580" tIns="34290" rIns="68580" bIns="3429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20000"/>
                  </a:lnSpc>
                </a:pPr>
                <a:r>
                  <a:rPr lang="zh-CN" altLang="en-US" sz="825" dirty="0" smtClean="0">
                    <a:solidFill>
                      <a:srgbClr val="000000"/>
                    </a:solidFill>
                  </a:rPr>
                  <a:t>需求业务目标理解调研</a:t>
                </a:r>
                <a:endParaRPr lang="en-US" altLang="zh-CN" sz="825" dirty="0" smtClean="0">
                  <a:solidFill>
                    <a:srgbClr val="000000"/>
                  </a:solidFill>
                </a:endParaRPr>
              </a:p>
              <a:p>
                <a:pPr algn="ctr">
                  <a:lnSpc>
                    <a:spcPct val="120000"/>
                  </a:lnSpc>
                </a:pPr>
                <a:r>
                  <a:rPr lang="zh-CN" altLang="en-US" sz="825" dirty="0" smtClean="0">
                    <a:solidFill>
                      <a:srgbClr val="000000"/>
                    </a:solidFill>
                  </a:rPr>
                  <a:t>需求业务流程理解调研</a:t>
                </a:r>
                <a:endParaRPr lang="en-US" altLang="zh-CN" sz="82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" name="ïṣļïḓê"/>
              <p:cNvSpPr txBox="1"/>
              <p:nvPr/>
            </p:nvSpPr>
            <p:spPr bwMode="auto">
              <a:xfrm>
                <a:off x="380579" y="1779479"/>
                <a:ext cx="5880876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68580" tIns="34290" rIns="68580" bIns="34290" anchor="ctr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spcBef>
                    <a:spcPct val="0"/>
                  </a:spcBef>
                </a:pPr>
                <a:r>
                  <a:rPr lang="en-US" altLang="zh-CN" b="1" dirty="0" smtClean="0">
                    <a:solidFill>
                      <a:srgbClr val="000000"/>
                    </a:solidFill>
                  </a:rPr>
                  <a:t>2. </a:t>
                </a:r>
                <a:r>
                  <a:rPr lang="zh-CN" altLang="en-US" b="1" dirty="0" smtClean="0">
                    <a:solidFill>
                      <a:srgbClr val="000000"/>
                    </a:solidFill>
                  </a:rPr>
                  <a:t>需求业务分析阶段</a:t>
                </a:r>
                <a:endParaRPr lang="zh-CN" altLang="en-US" b="1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6" name="îsḻíḑé"/>
            <p:cNvGrpSpPr/>
            <p:nvPr/>
          </p:nvGrpSpPr>
          <p:grpSpPr>
            <a:xfrm>
              <a:off x="6857794" y="1474355"/>
              <a:ext cx="5108191" cy="4569169"/>
              <a:chOff x="977587" y="1776914"/>
              <a:chExt cx="9635869" cy="4569169"/>
            </a:xfrm>
          </p:grpSpPr>
          <p:sp>
            <p:nvSpPr>
              <p:cNvPr id="17" name="îş1iďe"/>
              <p:cNvSpPr/>
              <p:nvPr/>
            </p:nvSpPr>
            <p:spPr bwMode="auto">
              <a:xfrm>
                <a:off x="5396933" y="2132451"/>
                <a:ext cx="5216523" cy="88118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68580" tIns="34290" rIns="68580" bIns="34290" anchor="t" anchorCtr="0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20000"/>
                  </a:lnSpc>
                </a:pPr>
                <a:r>
                  <a:rPr lang="zh-CN" altLang="en-US" sz="825" dirty="0" smtClean="0">
                    <a:solidFill>
                      <a:srgbClr val="000000"/>
                    </a:solidFill>
                  </a:rPr>
                  <a:t>需求业务目标和实施日期客户确认</a:t>
                </a:r>
                <a:endParaRPr lang="en-US" altLang="zh-CN" sz="825" dirty="0" smtClean="0">
                  <a:solidFill>
                    <a:srgbClr val="000000"/>
                  </a:solidFill>
                </a:endParaRPr>
              </a:p>
              <a:p>
                <a:pPr algn="ctr">
                  <a:lnSpc>
                    <a:spcPct val="120000"/>
                  </a:lnSpc>
                </a:pPr>
                <a:r>
                  <a:rPr lang="zh-CN" altLang="en-US" sz="825" dirty="0" smtClean="0">
                    <a:solidFill>
                      <a:srgbClr val="000000"/>
                    </a:solidFill>
                  </a:rPr>
                  <a:t>需求技术解决方案客户确认</a:t>
                </a:r>
                <a:endParaRPr lang="en-US" altLang="zh-CN" sz="825" dirty="0" smtClean="0">
                  <a:solidFill>
                    <a:srgbClr val="000000"/>
                  </a:solidFill>
                </a:endParaRPr>
              </a:p>
              <a:p>
                <a:pPr algn="ctr">
                  <a:lnSpc>
                    <a:spcPct val="120000"/>
                  </a:lnSpc>
                </a:pPr>
                <a:r>
                  <a:rPr lang="zh-CN" altLang="en-US" sz="825" dirty="0" smtClean="0">
                    <a:solidFill>
                      <a:srgbClr val="000000"/>
                    </a:solidFill>
                  </a:rPr>
                  <a:t>项目交付物计划客户确认</a:t>
                </a:r>
                <a:endParaRPr lang="en-US" altLang="zh-CN" sz="825" dirty="0" smtClean="0">
                  <a:solidFill>
                    <a:srgbClr val="000000"/>
                  </a:solidFill>
                </a:endParaRPr>
              </a:p>
              <a:p>
                <a:pPr algn="ctr">
                  <a:lnSpc>
                    <a:spcPct val="120000"/>
                  </a:lnSpc>
                </a:pPr>
                <a:r>
                  <a:rPr lang="zh-CN" altLang="en-US" sz="825" dirty="0" smtClean="0">
                    <a:solidFill>
                      <a:srgbClr val="000000"/>
                    </a:solidFill>
                  </a:rPr>
                  <a:t>金融创新部领导需求受理确认</a:t>
                </a:r>
                <a:endParaRPr lang="en-US" altLang="zh-CN" sz="82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8" name="íS1íḑé"/>
              <p:cNvSpPr txBox="1"/>
              <p:nvPr/>
            </p:nvSpPr>
            <p:spPr bwMode="auto">
              <a:xfrm>
                <a:off x="977587" y="1776914"/>
                <a:ext cx="5103090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68580" tIns="34290" rIns="68580" bIns="34290" anchor="ctr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spcBef>
                    <a:spcPct val="0"/>
                  </a:spcBef>
                </a:pPr>
                <a:r>
                  <a:rPr lang="en-US" altLang="zh-CN" b="1" dirty="0" smtClean="0">
                    <a:solidFill>
                      <a:srgbClr val="000000"/>
                    </a:solidFill>
                  </a:rPr>
                  <a:t>4. </a:t>
                </a:r>
                <a:r>
                  <a:rPr lang="zh-CN" altLang="en-US" b="1" dirty="0" smtClean="0">
                    <a:solidFill>
                      <a:srgbClr val="000000"/>
                    </a:solidFill>
                  </a:rPr>
                  <a:t>需求确认阶段</a:t>
                </a:r>
                <a:endParaRPr lang="en-US" altLang="zh-CN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3" name="îş1iďe"/>
              <p:cNvSpPr/>
              <p:nvPr/>
            </p:nvSpPr>
            <p:spPr bwMode="auto">
              <a:xfrm>
                <a:off x="3110226" y="5345687"/>
                <a:ext cx="5212125" cy="100039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68580" tIns="34290" rIns="68580" bIns="3429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20000"/>
                  </a:lnSpc>
                </a:pPr>
                <a:r>
                  <a:rPr lang="zh-CN" altLang="en-US" sz="825" dirty="0" smtClean="0">
                    <a:solidFill>
                      <a:srgbClr val="000000"/>
                    </a:solidFill>
                  </a:rPr>
                  <a:t>客户对接人员确定</a:t>
                </a:r>
                <a:endParaRPr lang="en-US" altLang="zh-CN" sz="825" dirty="0" smtClean="0">
                  <a:solidFill>
                    <a:srgbClr val="000000"/>
                  </a:solidFill>
                </a:endParaRPr>
              </a:p>
              <a:p>
                <a:pPr algn="ctr">
                  <a:lnSpc>
                    <a:spcPct val="120000"/>
                  </a:lnSpc>
                </a:pPr>
                <a:r>
                  <a:rPr lang="zh-CN" altLang="en-US" sz="825" dirty="0" smtClean="0">
                    <a:solidFill>
                      <a:srgbClr val="000000"/>
                    </a:solidFill>
                  </a:rPr>
                  <a:t>项目团队组建</a:t>
                </a:r>
                <a:endParaRPr lang="en-US" altLang="zh-CN" sz="825" dirty="0" smtClean="0">
                  <a:solidFill>
                    <a:srgbClr val="000000"/>
                  </a:solidFill>
                </a:endParaRPr>
              </a:p>
              <a:p>
                <a:pPr algn="ctr">
                  <a:lnSpc>
                    <a:spcPct val="120000"/>
                  </a:lnSpc>
                </a:pPr>
                <a:r>
                  <a:rPr lang="zh-CN" altLang="en-US" sz="825" dirty="0" smtClean="0">
                    <a:solidFill>
                      <a:srgbClr val="000000"/>
                    </a:solidFill>
                  </a:rPr>
                  <a:t>项目实施计划制定</a:t>
                </a:r>
                <a:endParaRPr lang="en-US" altLang="zh-CN" sz="825" dirty="0" smtClean="0">
                  <a:solidFill>
                    <a:srgbClr val="000000"/>
                  </a:solidFill>
                </a:endParaRPr>
              </a:p>
              <a:p>
                <a:pPr algn="ctr">
                  <a:lnSpc>
                    <a:spcPct val="120000"/>
                  </a:lnSpc>
                </a:pPr>
                <a:r>
                  <a:rPr lang="zh-CN" altLang="en-US" sz="825" dirty="0" smtClean="0">
                    <a:solidFill>
                      <a:srgbClr val="000000"/>
                    </a:solidFill>
                  </a:rPr>
                  <a:t>项目交付阶段确认</a:t>
                </a:r>
                <a:endParaRPr lang="en-US" altLang="zh-CN" sz="825" dirty="0">
                  <a:solidFill>
                    <a:srgbClr val="000000"/>
                  </a:solidFill>
                </a:endParaRPr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 smtClean="0"/>
              <a:t>大数据中心开发需求</a:t>
            </a:r>
            <a:r>
              <a:rPr lang="zh-CN" altLang="en-US" dirty="0"/>
              <a:t>受理</a:t>
            </a:r>
            <a:r>
              <a:rPr lang="zh-CN" altLang="en-US" dirty="0" smtClean="0"/>
              <a:t>流程</a:t>
            </a:r>
            <a:endParaRPr lang="zh-CN" altLang="en-US" dirty="0"/>
          </a:p>
        </p:txBody>
      </p:sp>
      <p:pic>
        <p:nvPicPr>
          <p:cNvPr id="3" name="图片 2" descr="779F5000-F1D5-4FF6-8EAB-1033B232C63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1460" y="873760"/>
            <a:ext cx="4954270" cy="4077970"/>
          </a:xfrm>
          <a:prstGeom prst="rect">
            <a:avLst/>
          </a:prstGeom>
          <a:ln>
            <a:solidFill>
              <a:schemeClr val="tx1">
                <a:lumMod val="95000"/>
                <a:lumOff val="5000"/>
              </a:schemeClr>
            </a:solidFill>
          </a:ln>
        </p:spPr>
      </p:pic>
      <p:graphicFrame>
        <p:nvGraphicFramePr>
          <p:cNvPr id="13" name="对象 12">
            <a:hlinkClick r:id="" action="ppaction://ole?verb=0"/>
          </p:cNvPr>
          <p:cNvGraphicFramePr>
            <a:graphicFrameLocks noChangeAspect="1"/>
          </p:cNvGraphicFramePr>
          <p:nvPr/>
        </p:nvGraphicFramePr>
        <p:xfrm>
          <a:off x="6508750" y="1162685"/>
          <a:ext cx="1807210" cy="10737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showAsIcon="1" r:id="rId5" imgW="971550" imgH="800100" progId="Excel.Sheet.12">
                  <p:embed/>
                </p:oleObj>
              </mc:Choice>
              <mc:Fallback>
                <p:oleObj showAsIcon="1" r:id="rId5" imgW="971550" imgH="800100" progId="Excel.Sheet.12">
                  <p:embed/>
                  <p:pic>
                    <p:nvPicPr>
                      <p:cNvPr id="0" name="图片 2048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6508750" y="1162685"/>
                        <a:ext cx="1807210" cy="10737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文本框 22"/>
          <p:cNvSpPr txBox="1"/>
          <p:nvPr/>
        </p:nvSpPr>
        <p:spPr>
          <a:xfrm>
            <a:off x="5487035" y="2973705"/>
            <a:ext cx="3411855" cy="11988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zh-CN" altLang="en-US">
                <a:solidFill>
                  <a:srgbClr val="FF0000"/>
                </a:solidFill>
              </a:rPr>
              <a:t>需求对接人：胡勤</a:t>
            </a:r>
          </a:p>
          <a:p>
            <a:pPr algn="l"/>
            <a:endParaRPr lang="zh-CN" altLang="en-US">
              <a:solidFill>
                <a:srgbClr val="FF0000"/>
              </a:solidFill>
            </a:endParaRPr>
          </a:p>
          <a:p>
            <a:pPr algn="l"/>
            <a:endParaRPr lang="zh-CN" altLang="en-US">
              <a:solidFill>
                <a:srgbClr val="FF0000"/>
              </a:solidFill>
            </a:endParaRPr>
          </a:p>
          <a:p>
            <a:pPr algn="l"/>
            <a:r>
              <a:rPr lang="zh-CN" altLang="en-US">
                <a:solidFill>
                  <a:srgbClr val="FF0000"/>
                </a:solidFill>
              </a:rPr>
              <a:t>电子邮箱：zhhuqin@cqrcb.com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6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" name="think-cell Slide" r:id="rId5" imgW="9525" imgH="9525" progId="TCLayout.ActiveDocument.1">
                  <p:embed/>
                </p:oleObj>
              </mc:Choice>
              <mc:Fallback>
                <p:oleObj name="think-cell Slide" r:id="rId5" imgW="9525" imgH="9525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6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3"/>
            </p:custDataLst>
          </p:nvPr>
        </p:nvSpPr>
        <p:spPr>
          <a:xfrm>
            <a:off x="0" y="4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502444" y="3250053"/>
            <a:ext cx="8136728" cy="1519912"/>
          </a:xfrm>
        </p:spPr>
        <p:txBody>
          <a:bodyPr/>
          <a:lstStyle/>
          <a:p>
            <a:r>
              <a:rPr lang="zh-CN" altLang="en-US" sz="4500" dirty="0">
                <a:solidFill>
                  <a:schemeClr val="accent3">
                    <a:lumMod val="50000"/>
                  </a:schemeClr>
                </a:solidFill>
                <a:latin typeface="Arial Black" panose="020B0A04020102020204" pitchFamily="34" charset="0"/>
              </a:rPr>
              <a:t>问题与建议</a:t>
            </a:r>
            <a:r>
              <a:rPr lang="en-US" altLang="zh-CN" sz="4500" dirty="0">
                <a:solidFill>
                  <a:schemeClr val="accent3">
                    <a:lumMod val="50000"/>
                  </a:schemeClr>
                </a:solidFill>
                <a:latin typeface="Arial Black" panose="020B0A04020102020204" pitchFamily="34" charset="0"/>
              </a:rPr>
              <a:t/>
            </a:r>
            <a:br>
              <a:rPr lang="en-US" altLang="zh-CN" sz="4500" dirty="0">
                <a:solidFill>
                  <a:schemeClr val="accent3">
                    <a:lumMod val="50000"/>
                  </a:schemeClr>
                </a:solidFill>
                <a:latin typeface="Arial Black" panose="020B0A04020102020204" pitchFamily="34" charset="0"/>
              </a:rPr>
            </a:br>
            <a:endParaRPr lang="en-US" altLang="zh-CN" sz="4500" dirty="0">
              <a:solidFill>
                <a:schemeClr val="accent3">
                  <a:lumMod val="50000"/>
                </a:schemeClr>
              </a:solidFill>
              <a:latin typeface="Arial Black" panose="020B0A04020102020204" pitchFamily="34" charset="0"/>
            </a:endParaRPr>
          </a:p>
        </p:txBody>
      </p:sp>
      <p:pic>
        <p:nvPicPr>
          <p:cNvPr id="9" name="Picture 1024" descr="E:\201206起-项目\农商行\理财进校园PPT\logo.png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253365" y="136525"/>
            <a:ext cx="3152140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Slide Number Placeholder 37"/>
          <p:cNvSpPr>
            <a:spLocks noGrp="1"/>
          </p:cNvSpPr>
          <p:nvPr>
            <p:ph type="sldNum" sz="quarter" idx="12"/>
          </p:nvPr>
        </p:nvSpPr>
        <p:spPr>
          <a:xfrm>
            <a:off x="6450964" y="4681167"/>
            <a:ext cx="2182416" cy="154813"/>
          </a:xfrm>
          <a:prstGeom prst="rect">
            <a:avLst/>
          </a:prstGeom>
        </p:spPr>
        <p:txBody>
          <a:bodyPr/>
          <a:lstStyle/>
          <a:p>
            <a:fld id="{C136B7D2-B98C-44FD-8D04-7EC62A564975}" type="slidenum">
              <a:rPr lang="en-US" smtClean="0"/>
              <a:t>4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>
                <a:sym typeface="+mn-ea"/>
              </a:rPr>
              <a:t>重庆农商行大数据分析平台简介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224790" y="825500"/>
            <a:ext cx="8691880" cy="1568450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indent="127000" algn="l" fontAlgn="auto">
              <a:lnSpc>
                <a:spcPct val="150000"/>
              </a:lnSpc>
            </a:pPr>
            <a:r>
              <a:rPr lang="zh-CN" altLang="en-US" sz="1600" b="1">
                <a:latin typeface="Calibri" panose="020F0502020204030204" charset="0"/>
                <a:ea typeface="仿宋" panose="02010609060101010101" charset="-122"/>
              </a:rPr>
              <a:t>该平台由金融创新部大数据中心自主研发，具有以下优势：</a:t>
            </a:r>
            <a:endParaRPr lang="zh-CN" altLang="en-US" sz="1600">
              <a:latin typeface="Calibri" panose="020F0502020204030204" charset="0"/>
              <a:ea typeface="仿宋" panose="02010609060101010101" charset="-122"/>
            </a:endParaRPr>
          </a:p>
          <a:p>
            <a:pPr indent="127000" algn="l" fontAlgn="auto">
              <a:lnSpc>
                <a:spcPct val="150000"/>
              </a:lnSpc>
            </a:pPr>
            <a:r>
              <a:rPr lang="en-US" altLang="zh-CN" sz="1600">
                <a:latin typeface="Calibri" panose="020F0502020204030204" charset="0"/>
                <a:ea typeface="仿宋" panose="02010609060101010101" charset="-122"/>
              </a:rPr>
              <a:t>1.</a:t>
            </a:r>
            <a:r>
              <a:rPr lang="zh-CN" altLang="en-US" sz="1600">
                <a:latin typeface="Calibri" panose="020F0502020204030204" charset="0"/>
                <a:ea typeface="仿宋" panose="02010609060101010101" charset="-122"/>
              </a:rPr>
              <a:t>以</a:t>
            </a:r>
            <a:r>
              <a:rPr lang="en-US" altLang="zh-CN" sz="1600">
                <a:latin typeface="Calibri" panose="020F0502020204030204" charset="0"/>
                <a:ea typeface="仿宋" panose="02010609060101010101" charset="-122"/>
              </a:rPr>
              <a:t>APP</a:t>
            </a:r>
            <a:r>
              <a:rPr lang="zh-CN" altLang="en-US" sz="1600">
                <a:latin typeface="Calibri" panose="020F0502020204030204" charset="0"/>
                <a:ea typeface="仿宋" panose="02010609060101010101" charset="-122"/>
              </a:rPr>
              <a:t>为单位灵活发布</a:t>
            </a:r>
          </a:p>
          <a:p>
            <a:pPr indent="127000" algn="l" fontAlgn="auto">
              <a:lnSpc>
                <a:spcPct val="150000"/>
              </a:lnSpc>
            </a:pPr>
            <a:r>
              <a:rPr lang="en-US" altLang="zh-CN" sz="1600">
                <a:latin typeface="Calibri" panose="020F0502020204030204" charset="0"/>
                <a:ea typeface="仿宋" panose="02010609060101010101" charset="-122"/>
              </a:rPr>
              <a:t>2.</a:t>
            </a:r>
            <a:r>
              <a:rPr lang="zh-CN" altLang="en-US" sz="1600">
                <a:latin typeface="Calibri" panose="020F0502020204030204" charset="0"/>
                <a:ea typeface="仿宋" panose="02010609060101010101" charset="-122"/>
              </a:rPr>
              <a:t>具有完善的登陆和报表权限管理流程</a:t>
            </a:r>
          </a:p>
          <a:p>
            <a:pPr indent="127000" algn="l" fontAlgn="auto">
              <a:lnSpc>
                <a:spcPct val="150000"/>
              </a:lnSpc>
            </a:pPr>
            <a:r>
              <a:rPr lang="en-US" altLang="zh-CN" sz="1600">
                <a:latin typeface="Calibri" panose="020F0502020204030204" charset="0"/>
                <a:ea typeface="仿宋" panose="02010609060101010101" charset="-122"/>
              </a:rPr>
              <a:t>3.</a:t>
            </a:r>
            <a:r>
              <a:rPr lang="zh-CN" altLang="en-US" sz="1600">
                <a:latin typeface="Calibri" panose="020F0502020204030204" charset="0"/>
                <a:ea typeface="仿宋" panose="02010609060101010101" charset="-122"/>
              </a:rPr>
              <a:t>可在报表环境下申请访问</a:t>
            </a:r>
          </a:p>
        </p:txBody>
      </p:sp>
      <p:pic>
        <p:nvPicPr>
          <p:cNvPr id="3" name="图片 1" descr="IMG_25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42945" y="2258695"/>
            <a:ext cx="4721225" cy="2703830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</p:pic>
    </p:spTree>
  </p:cSld>
  <p:clrMapOvr>
    <a:masterClrMapping/>
  </p:clrMapOvr>
  <p:transition advTm="3000"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矩形 93"/>
          <p:cNvSpPr/>
          <p:nvPr/>
        </p:nvSpPr>
        <p:spPr>
          <a:xfrm>
            <a:off x="4751741" y="1254666"/>
            <a:ext cx="4245853" cy="3740639"/>
          </a:xfrm>
          <a:prstGeom prst="rect">
            <a:avLst/>
          </a:prstGeom>
          <a:noFill/>
          <a:ln w="3492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 sz="1350">
              <a:noFill/>
            </a:endParaRPr>
          </a:p>
        </p:txBody>
      </p:sp>
      <p:sp>
        <p:nvSpPr>
          <p:cNvPr id="6" name="矩形 5"/>
          <p:cNvSpPr/>
          <p:nvPr/>
        </p:nvSpPr>
        <p:spPr>
          <a:xfrm>
            <a:off x="181778" y="1254666"/>
            <a:ext cx="4058182" cy="3740639"/>
          </a:xfrm>
          <a:prstGeom prst="rect">
            <a:avLst/>
          </a:prstGeom>
          <a:ln w="3492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 sz="1350">
              <a:noFill/>
            </a:endParaRPr>
          </a:p>
        </p:txBody>
      </p:sp>
      <p:grpSp>
        <p:nvGrpSpPr>
          <p:cNvPr id="17" name="íṥľiḓê"/>
          <p:cNvGrpSpPr/>
          <p:nvPr/>
        </p:nvGrpSpPr>
        <p:grpSpPr>
          <a:xfrm>
            <a:off x="780964" y="3476249"/>
            <a:ext cx="3371591" cy="427247"/>
            <a:chOff x="8369646" y="4314639"/>
            <a:chExt cx="3822354" cy="579888"/>
          </a:xfrm>
        </p:grpSpPr>
        <p:sp>
          <p:nvSpPr>
            <p:cNvPr id="21" name="ïṧḻide"/>
            <p:cNvSpPr/>
            <p:nvPr/>
          </p:nvSpPr>
          <p:spPr bwMode="auto">
            <a:xfrm>
              <a:off x="8369646" y="4571240"/>
              <a:ext cx="3822354" cy="323287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68580" tIns="34290" rIns="68580" bIns="34290" anchor="t" anchorCtr="0">
              <a:noAutofit/>
            </a:bodyPr>
            <a:lstStyle/>
            <a:p>
              <a:pPr>
                <a:lnSpc>
                  <a:spcPct val="130000"/>
                </a:lnSpc>
              </a:pPr>
              <a:r>
                <a:rPr lang="zh-CN" altLang="en-US" sz="1050" dirty="0">
                  <a:solidFill>
                    <a:srgbClr val="000000"/>
                  </a:solidFill>
                </a:rPr>
                <a:t>相似的业务分析需求会定期和不定期反复提出，工作重复度较高。</a:t>
              </a:r>
            </a:p>
          </p:txBody>
        </p:sp>
        <p:sp>
          <p:nvSpPr>
            <p:cNvPr id="22" name="iṩ1idé"/>
            <p:cNvSpPr txBox="1"/>
            <p:nvPr/>
          </p:nvSpPr>
          <p:spPr bwMode="auto">
            <a:xfrm>
              <a:off x="8369646" y="4314639"/>
              <a:ext cx="3822354" cy="400613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68580" tIns="34290" rIns="68580" bIns="34290" anchor="b" anchorCtr="0">
              <a:noAutofit/>
            </a:bodyPr>
            <a:lstStyle>
              <a:defPPr>
                <a:defRPr lang="zh-CN"/>
              </a:defPPr>
              <a:lvl1pPr>
                <a:lnSpc>
                  <a:spcPct val="120000"/>
                </a:lnSpc>
                <a:spcBef>
                  <a:spcPct val="0"/>
                </a:spcBef>
                <a:defRPr sz="2400" b="1"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r>
                <a:rPr lang="zh-CN" altLang="en-US" sz="1800" dirty="0">
                  <a:solidFill>
                    <a:srgbClr val="000000"/>
                  </a:solidFill>
                </a:rPr>
                <a:t>反复频繁</a:t>
              </a:r>
              <a:endParaRPr lang="en-US" altLang="zh-CN" sz="1800" dirty="0">
                <a:solidFill>
                  <a:srgbClr val="000000"/>
                </a:solidFill>
              </a:endParaRPr>
            </a:p>
          </p:txBody>
        </p:sp>
      </p:grp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02444" y="-20318"/>
            <a:ext cx="8137922" cy="771659"/>
          </a:xfrm>
        </p:spPr>
        <p:txBody>
          <a:bodyPr/>
          <a:lstStyle/>
          <a:p>
            <a:r>
              <a:rPr lang="zh-CN" altLang="en-US" dirty="0" smtClean="0"/>
              <a:t>金融创新部大数据中心的开发模式：小而美，短平快</a:t>
            </a:r>
            <a:endParaRPr lang="zh-CN" altLang="en-US" dirty="0"/>
          </a:p>
        </p:txBody>
      </p:sp>
      <p:sp>
        <p:nvSpPr>
          <p:cNvPr id="2" name="矩形 1"/>
          <p:cNvSpPr/>
          <p:nvPr/>
        </p:nvSpPr>
        <p:spPr>
          <a:xfrm>
            <a:off x="692398" y="772744"/>
            <a:ext cx="3116580" cy="4140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100" b="1" dirty="0">
                <a:solidFill>
                  <a:srgbClr val="000000"/>
                </a:solidFill>
              </a:rPr>
              <a:t>业务数据分析需求的特点</a:t>
            </a:r>
          </a:p>
        </p:txBody>
      </p:sp>
      <p:sp>
        <p:nvSpPr>
          <p:cNvPr id="7" name="矩形 6"/>
          <p:cNvSpPr/>
          <p:nvPr/>
        </p:nvSpPr>
        <p:spPr>
          <a:xfrm>
            <a:off x="5433624" y="767694"/>
            <a:ext cx="2849880" cy="4140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100" b="1" dirty="0">
                <a:solidFill>
                  <a:srgbClr val="000000"/>
                </a:solidFill>
              </a:rPr>
              <a:t>对产品开发模式的要求</a:t>
            </a:r>
          </a:p>
        </p:txBody>
      </p:sp>
      <p:sp>
        <p:nvSpPr>
          <p:cNvPr id="9" name="ïṩlíḑe"/>
          <p:cNvSpPr/>
          <p:nvPr/>
        </p:nvSpPr>
        <p:spPr>
          <a:xfrm>
            <a:off x="331490" y="1490479"/>
            <a:ext cx="353765" cy="353765"/>
          </a:xfrm>
          <a:prstGeom prst="ellipse">
            <a:avLst/>
          </a:prstGeom>
          <a:solidFill>
            <a:schemeClr val="bg1">
              <a:lumMod val="65000"/>
            </a:schemeClr>
          </a:solidFill>
          <a:ln w="190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580" tIns="34290" rIns="68580" bIns="34290" rtlCol="0" anchor="ctr">
            <a:normAutofit fontScale="925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zh-CN" altLang="en-US" sz="1350">
              <a:solidFill>
                <a:srgbClr val="FFFFFF"/>
              </a:solidFill>
            </a:endParaRPr>
          </a:p>
        </p:txBody>
      </p:sp>
      <p:sp>
        <p:nvSpPr>
          <p:cNvPr id="10" name="ïṣḷíḋe"/>
          <p:cNvSpPr/>
          <p:nvPr/>
        </p:nvSpPr>
        <p:spPr>
          <a:xfrm>
            <a:off x="331490" y="2090636"/>
            <a:ext cx="353765" cy="353765"/>
          </a:xfrm>
          <a:prstGeom prst="ellipse">
            <a:avLst/>
          </a:prstGeom>
          <a:solidFill>
            <a:schemeClr val="bg1">
              <a:lumMod val="65000"/>
            </a:schemeClr>
          </a:solidFill>
          <a:ln w="190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580" tIns="34290" rIns="68580" bIns="34290" rtlCol="0" anchor="ctr">
            <a:normAutofit fontScale="925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zh-CN" altLang="en-US" sz="1350">
              <a:solidFill>
                <a:srgbClr val="FFFFFF"/>
              </a:solidFill>
            </a:endParaRPr>
          </a:p>
        </p:txBody>
      </p:sp>
      <p:sp>
        <p:nvSpPr>
          <p:cNvPr id="11" name="íśḻîḑê"/>
          <p:cNvSpPr/>
          <p:nvPr/>
        </p:nvSpPr>
        <p:spPr>
          <a:xfrm>
            <a:off x="331490" y="3461543"/>
            <a:ext cx="353765" cy="353765"/>
          </a:xfrm>
          <a:prstGeom prst="ellipse">
            <a:avLst/>
          </a:prstGeom>
          <a:solidFill>
            <a:schemeClr val="bg1">
              <a:lumMod val="65000"/>
            </a:schemeClr>
          </a:solidFill>
          <a:ln w="190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580" tIns="34290" rIns="68580" bIns="34290" rtlCol="0" anchor="ctr">
            <a:normAutofit fontScale="925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zh-CN" altLang="en-US" sz="1350">
              <a:solidFill>
                <a:srgbClr val="FFFFFF"/>
              </a:solidFill>
            </a:endParaRPr>
          </a:p>
        </p:txBody>
      </p:sp>
      <p:sp>
        <p:nvSpPr>
          <p:cNvPr id="12" name="isliḋé"/>
          <p:cNvSpPr/>
          <p:nvPr/>
        </p:nvSpPr>
        <p:spPr>
          <a:xfrm>
            <a:off x="331490" y="4204407"/>
            <a:ext cx="353765" cy="353765"/>
          </a:xfrm>
          <a:prstGeom prst="ellipse">
            <a:avLst/>
          </a:prstGeom>
          <a:solidFill>
            <a:schemeClr val="bg1">
              <a:lumMod val="65000"/>
            </a:schemeClr>
          </a:solidFill>
          <a:ln w="190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580" tIns="34290" rIns="68580" bIns="34290" rtlCol="0" anchor="ctr">
            <a:normAutofit fontScale="925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zh-CN" altLang="en-US" sz="1350">
              <a:solidFill>
                <a:srgbClr val="FFFFFF"/>
              </a:solidFill>
            </a:endParaRPr>
          </a:p>
        </p:txBody>
      </p:sp>
      <p:grpSp>
        <p:nvGrpSpPr>
          <p:cNvPr id="14" name="îś1ïḋé"/>
          <p:cNvGrpSpPr/>
          <p:nvPr/>
        </p:nvGrpSpPr>
        <p:grpSpPr>
          <a:xfrm>
            <a:off x="780964" y="1472127"/>
            <a:ext cx="3371591" cy="468561"/>
            <a:chOff x="8369646" y="1190051"/>
            <a:chExt cx="3822354" cy="624748"/>
          </a:xfrm>
        </p:grpSpPr>
        <p:sp>
          <p:nvSpPr>
            <p:cNvPr id="28" name="í$1iḑè"/>
            <p:cNvSpPr/>
            <p:nvPr/>
          </p:nvSpPr>
          <p:spPr bwMode="auto">
            <a:xfrm>
              <a:off x="8369646" y="1491512"/>
              <a:ext cx="3822354" cy="323287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68580" tIns="34290" rIns="68580" bIns="34290" anchor="t" anchorCtr="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r>
                <a:rPr lang="zh-CN" altLang="en-US" sz="1050" dirty="0">
                  <a:solidFill>
                    <a:srgbClr val="000000"/>
                  </a:solidFill>
                </a:rPr>
                <a:t>业务分析机会窗口短，需要及时响应。</a:t>
              </a:r>
            </a:p>
          </p:txBody>
        </p:sp>
        <p:sp>
          <p:nvSpPr>
            <p:cNvPr id="29" name="iSļïḋê"/>
            <p:cNvSpPr txBox="1"/>
            <p:nvPr/>
          </p:nvSpPr>
          <p:spPr bwMode="auto">
            <a:xfrm>
              <a:off x="8369646" y="1190051"/>
              <a:ext cx="3822354" cy="400613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68580" tIns="34290" rIns="68580" bIns="34290" anchor="b" anchorCtr="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20000"/>
                </a:lnSpc>
                <a:spcBef>
                  <a:spcPct val="0"/>
                </a:spcBef>
              </a:pPr>
              <a:r>
                <a:rPr lang="zh-CN" altLang="en-US" b="1" dirty="0" smtClean="0">
                  <a:solidFill>
                    <a:srgbClr val="000000"/>
                  </a:solidFill>
                  <a:latin typeface="微软雅黑" panose="020B0503020204020204" pitchFamily="34" charset="-122"/>
                </a:rPr>
                <a:t>时效性高</a:t>
              </a:r>
              <a:endParaRPr lang="en-US" altLang="zh-CN" b="1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5" name="ïş1iďê"/>
          <p:cNvGrpSpPr/>
          <p:nvPr/>
        </p:nvGrpSpPr>
        <p:grpSpPr>
          <a:xfrm>
            <a:off x="780964" y="2080547"/>
            <a:ext cx="3371591" cy="589784"/>
            <a:chOff x="8369646" y="2249678"/>
            <a:chExt cx="3822354" cy="786379"/>
          </a:xfrm>
        </p:grpSpPr>
        <p:sp>
          <p:nvSpPr>
            <p:cNvPr id="26" name="îşlïḍé"/>
            <p:cNvSpPr/>
            <p:nvPr/>
          </p:nvSpPr>
          <p:spPr bwMode="auto">
            <a:xfrm>
              <a:off x="8369646" y="2518088"/>
              <a:ext cx="3822354" cy="517969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68580" tIns="34290" rIns="68580" bIns="34290" anchor="t" anchorCtr="0">
              <a:noAutofit/>
            </a:bodyPr>
            <a:lstStyle/>
            <a:p>
              <a:pPr>
                <a:lnSpc>
                  <a:spcPct val="130000"/>
                </a:lnSpc>
              </a:pPr>
              <a:r>
                <a:rPr lang="zh-CN" altLang="en-US" sz="1050" dirty="0">
                  <a:solidFill>
                    <a:srgbClr val="000000"/>
                  </a:solidFill>
                </a:rPr>
                <a:t>业务分析需求在提出时很难做到清晰的描述定义，需不断的试错和探索才能达到清晰完善。</a:t>
              </a:r>
            </a:p>
          </p:txBody>
        </p:sp>
        <p:sp>
          <p:nvSpPr>
            <p:cNvPr id="27" name="íŝliḓe"/>
            <p:cNvSpPr txBox="1"/>
            <p:nvPr/>
          </p:nvSpPr>
          <p:spPr bwMode="auto">
            <a:xfrm>
              <a:off x="8369646" y="2249678"/>
              <a:ext cx="3822354" cy="400613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68580" tIns="34290" rIns="68580" bIns="34290" anchor="b" anchorCtr="0">
              <a:noAutofit/>
            </a:bodyPr>
            <a:lstStyle>
              <a:defPPr>
                <a:defRPr lang="zh-CN"/>
              </a:defPPr>
              <a:lvl1pPr>
                <a:lnSpc>
                  <a:spcPct val="120000"/>
                </a:lnSpc>
                <a:spcBef>
                  <a:spcPct val="0"/>
                </a:spcBef>
                <a:defRPr sz="2400" b="1"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r>
                <a:rPr lang="zh-CN" altLang="en-US" sz="1800" dirty="0">
                  <a:solidFill>
                    <a:srgbClr val="000000"/>
                  </a:solidFill>
                </a:rPr>
                <a:t>探索性强</a:t>
              </a:r>
              <a:endParaRPr lang="en-US" altLang="zh-CN" sz="18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6" name="îṡlïḋe"/>
          <p:cNvGrpSpPr/>
          <p:nvPr/>
        </p:nvGrpSpPr>
        <p:grpSpPr>
          <a:xfrm>
            <a:off x="780964" y="2892609"/>
            <a:ext cx="3371591" cy="452036"/>
            <a:chOff x="8369646" y="3287271"/>
            <a:chExt cx="3822354" cy="602714"/>
          </a:xfrm>
        </p:grpSpPr>
        <p:sp>
          <p:nvSpPr>
            <p:cNvPr id="24" name="îSḻíḋè"/>
            <p:cNvSpPr/>
            <p:nvPr/>
          </p:nvSpPr>
          <p:spPr bwMode="auto">
            <a:xfrm>
              <a:off x="8369646" y="3566698"/>
              <a:ext cx="3822354" cy="323287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68580" tIns="34290" rIns="68580" bIns="34290" anchor="t" anchorCtr="0">
              <a:noAutofit/>
            </a:bodyPr>
            <a:lstStyle/>
            <a:p>
              <a:pPr>
                <a:lnSpc>
                  <a:spcPct val="130000"/>
                </a:lnSpc>
              </a:pPr>
              <a:r>
                <a:rPr lang="zh-CN" altLang="en-US" sz="1050" dirty="0">
                  <a:solidFill>
                    <a:srgbClr val="000000"/>
                  </a:solidFill>
                </a:rPr>
                <a:t>业务发展非常动态，分析需求经常变化，生命周期短。</a:t>
              </a:r>
            </a:p>
          </p:txBody>
        </p:sp>
        <p:sp>
          <p:nvSpPr>
            <p:cNvPr id="25" name="ïṧľiďê"/>
            <p:cNvSpPr txBox="1"/>
            <p:nvPr/>
          </p:nvSpPr>
          <p:spPr bwMode="auto">
            <a:xfrm>
              <a:off x="8369646" y="3287271"/>
              <a:ext cx="3822354" cy="400613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68580" tIns="34290" rIns="68580" bIns="34290" anchor="b" anchorCtr="0">
              <a:noAutofit/>
            </a:bodyPr>
            <a:lstStyle>
              <a:defPPr>
                <a:defRPr lang="zh-CN"/>
              </a:defPPr>
              <a:lvl1pPr>
                <a:lnSpc>
                  <a:spcPct val="120000"/>
                </a:lnSpc>
                <a:spcBef>
                  <a:spcPct val="0"/>
                </a:spcBef>
                <a:defRPr sz="2400" b="1"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r>
                <a:rPr lang="zh-CN" altLang="en-US" sz="1800" dirty="0">
                  <a:solidFill>
                    <a:srgbClr val="000000"/>
                  </a:solidFill>
                </a:rPr>
                <a:t>变化快</a:t>
              </a:r>
              <a:endParaRPr lang="en-US" altLang="zh-CN" sz="18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8" name="i$ļíde"/>
          <p:cNvGrpSpPr/>
          <p:nvPr/>
        </p:nvGrpSpPr>
        <p:grpSpPr>
          <a:xfrm>
            <a:off x="780964" y="4235632"/>
            <a:ext cx="3371591" cy="443773"/>
            <a:chOff x="8369646" y="4401983"/>
            <a:chExt cx="3822354" cy="591697"/>
          </a:xfrm>
        </p:grpSpPr>
        <p:sp>
          <p:nvSpPr>
            <p:cNvPr id="19" name="îsļïḓè"/>
            <p:cNvSpPr/>
            <p:nvPr/>
          </p:nvSpPr>
          <p:spPr bwMode="auto">
            <a:xfrm>
              <a:off x="8369646" y="4670393"/>
              <a:ext cx="3822354" cy="323287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68580" tIns="34290" rIns="68580" bIns="34290" anchor="t" anchorCtr="0">
              <a:noAutofit/>
            </a:bodyPr>
            <a:lstStyle/>
            <a:p>
              <a:pPr>
                <a:lnSpc>
                  <a:spcPct val="130000"/>
                </a:lnSpc>
              </a:pPr>
              <a:r>
                <a:rPr lang="zh-CN" altLang="en-US" sz="1050" dirty="0">
                  <a:solidFill>
                    <a:srgbClr val="000000"/>
                  </a:solidFill>
                </a:rPr>
                <a:t>业务分析需求复杂多变，模式多样，难以固化成大型系统开发需求。</a:t>
              </a:r>
            </a:p>
          </p:txBody>
        </p:sp>
        <p:sp>
          <p:nvSpPr>
            <p:cNvPr id="20" name="i$ľïḍé"/>
            <p:cNvSpPr txBox="1"/>
            <p:nvPr/>
          </p:nvSpPr>
          <p:spPr bwMode="auto">
            <a:xfrm>
              <a:off x="8369646" y="4401983"/>
              <a:ext cx="3822354" cy="400613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68580" tIns="34290" rIns="68580" bIns="34290" anchor="b" anchorCtr="0">
              <a:noAutofit/>
            </a:bodyPr>
            <a:lstStyle>
              <a:defPPr>
                <a:defRPr lang="zh-CN"/>
              </a:defPPr>
              <a:lvl1pPr>
                <a:lnSpc>
                  <a:spcPct val="120000"/>
                </a:lnSpc>
                <a:spcBef>
                  <a:spcPct val="0"/>
                </a:spcBef>
                <a:defRPr sz="2400" b="1"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r>
                <a:rPr lang="zh-CN" altLang="en-US" sz="1800" dirty="0">
                  <a:solidFill>
                    <a:srgbClr val="000000"/>
                  </a:solidFill>
                </a:rPr>
                <a:t>系统固化难</a:t>
              </a:r>
              <a:endParaRPr lang="en-US" altLang="zh-CN" sz="1800" dirty="0">
                <a:solidFill>
                  <a:srgbClr val="000000"/>
                </a:solidFill>
              </a:endParaRPr>
            </a:p>
          </p:txBody>
        </p:sp>
      </p:grpSp>
      <p:cxnSp>
        <p:nvCxnSpPr>
          <p:cNvPr id="30" name="直接连接符 29"/>
          <p:cNvCxnSpPr/>
          <p:nvPr/>
        </p:nvCxnSpPr>
        <p:spPr>
          <a:xfrm>
            <a:off x="869153" y="1993747"/>
            <a:ext cx="3283404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直接连接符 30"/>
          <p:cNvCxnSpPr/>
          <p:nvPr/>
        </p:nvCxnSpPr>
        <p:spPr>
          <a:xfrm>
            <a:off x="869153" y="2791092"/>
            <a:ext cx="3283404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直接连接符 31"/>
          <p:cNvCxnSpPr/>
          <p:nvPr/>
        </p:nvCxnSpPr>
        <p:spPr>
          <a:xfrm>
            <a:off x="869153" y="3366892"/>
            <a:ext cx="3283404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直接连接符 32"/>
          <p:cNvCxnSpPr/>
          <p:nvPr/>
        </p:nvCxnSpPr>
        <p:spPr>
          <a:xfrm>
            <a:off x="869153" y="4131876"/>
            <a:ext cx="3283404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îšḷidè"/>
          <p:cNvSpPr/>
          <p:nvPr/>
        </p:nvSpPr>
        <p:spPr>
          <a:xfrm>
            <a:off x="408964" y="1558339"/>
            <a:ext cx="198815" cy="218045"/>
          </a:xfrm>
          <a:custGeom>
            <a:avLst/>
            <a:gdLst>
              <a:gd name="connsiteX0" fmla="*/ 314616 w 554856"/>
              <a:gd name="connsiteY0" fmla="*/ 256070 h 608519"/>
              <a:gd name="connsiteX1" fmla="*/ 262711 w 554856"/>
              <a:gd name="connsiteY1" fmla="*/ 307611 h 608519"/>
              <a:gd name="connsiteX2" fmla="*/ 241014 w 554856"/>
              <a:gd name="connsiteY2" fmla="*/ 285856 h 608519"/>
              <a:gd name="connsiteX3" fmla="*/ 218289 w 554856"/>
              <a:gd name="connsiteY3" fmla="*/ 308265 h 608519"/>
              <a:gd name="connsiteX4" fmla="*/ 239986 w 554856"/>
              <a:gd name="connsiteY4" fmla="*/ 330020 h 608519"/>
              <a:gd name="connsiteX5" fmla="*/ 262618 w 554856"/>
              <a:gd name="connsiteY5" fmla="*/ 352803 h 608519"/>
              <a:gd name="connsiteX6" fmla="*/ 285250 w 554856"/>
              <a:gd name="connsiteY6" fmla="*/ 330300 h 608519"/>
              <a:gd name="connsiteX7" fmla="*/ 337155 w 554856"/>
              <a:gd name="connsiteY7" fmla="*/ 278760 h 608519"/>
              <a:gd name="connsiteX8" fmla="*/ 261963 w 554856"/>
              <a:gd name="connsiteY8" fmla="*/ 129646 h 608519"/>
              <a:gd name="connsiteX9" fmla="*/ 293387 w 554856"/>
              <a:gd name="connsiteY9" fmla="*/ 129646 h 608519"/>
              <a:gd name="connsiteX10" fmla="*/ 304983 w 554856"/>
              <a:gd name="connsiteY10" fmla="*/ 141224 h 608519"/>
              <a:gd name="connsiteX11" fmla="*/ 304983 w 554856"/>
              <a:gd name="connsiteY11" fmla="*/ 167368 h 608519"/>
              <a:gd name="connsiteX12" fmla="*/ 355485 w 554856"/>
              <a:gd name="connsiteY12" fmla="*/ 188283 h 608519"/>
              <a:gd name="connsiteX13" fmla="*/ 373909 w 554856"/>
              <a:gd name="connsiteY13" fmla="*/ 169796 h 608519"/>
              <a:gd name="connsiteX14" fmla="*/ 390275 w 554856"/>
              <a:gd name="connsiteY14" fmla="*/ 169796 h 608519"/>
              <a:gd name="connsiteX15" fmla="*/ 412440 w 554856"/>
              <a:gd name="connsiteY15" fmla="*/ 192018 h 608519"/>
              <a:gd name="connsiteX16" fmla="*/ 412440 w 554856"/>
              <a:gd name="connsiteY16" fmla="*/ 208264 h 608519"/>
              <a:gd name="connsiteX17" fmla="*/ 394016 w 554856"/>
              <a:gd name="connsiteY17" fmla="*/ 226752 h 608519"/>
              <a:gd name="connsiteX18" fmla="*/ 414965 w 554856"/>
              <a:gd name="connsiteY18" fmla="*/ 277172 h 608519"/>
              <a:gd name="connsiteX19" fmla="*/ 441151 w 554856"/>
              <a:gd name="connsiteY19" fmla="*/ 277172 h 608519"/>
              <a:gd name="connsiteX20" fmla="*/ 452748 w 554856"/>
              <a:gd name="connsiteY20" fmla="*/ 288750 h 608519"/>
              <a:gd name="connsiteX21" fmla="*/ 452748 w 554856"/>
              <a:gd name="connsiteY21" fmla="*/ 320123 h 608519"/>
              <a:gd name="connsiteX22" fmla="*/ 441151 w 554856"/>
              <a:gd name="connsiteY22" fmla="*/ 331701 h 608519"/>
              <a:gd name="connsiteX23" fmla="*/ 414965 w 554856"/>
              <a:gd name="connsiteY23" fmla="*/ 331701 h 608519"/>
              <a:gd name="connsiteX24" fmla="*/ 394016 w 554856"/>
              <a:gd name="connsiteY24" fmla="*/ 382121 h 608519"/>
              <a:gd name="connsiteX25" fmla="*/ 412440 w 554856"/>
              <a:gd name="connsiteY25" fmla="*/ 400515 h 608519"/>
              <a:gd name="connsiteX26" fmla="*/ 412440 w 554856"/>
              <a:gd name="connsiteY26" fmla="*/ 416855 h 608519"/>
              <a:gd name="connsiteX27" fmla="*/ 390275 w 554856"/>
              <a:gd name="connsiteY27" fmla="*/ 438984 h 608519"/>
              <a:gd name="connsiteX28" fmla="*/ 373909 w 554856"/>
              <a:gd name="connsiteY28" fmla="*/ 438984 h 608519"/>
              <a:gd name="connsiteX29" fmla="*/ 355485 w 554856"/>
              <a:gd name="connsiteY29" fmla="*/ 420590 h 608519"/>
              <a:gd name="connsiteX30" fmla="*/ 304983 w 554856"/>
              <a:gd name="connsiteY30" fmla="*/ 441505 h 608519"/>
              <a:gd name="connsiteX31" fmla="*/ 304983 w 554856"/>
              <a:gd name="connsiteY31" fmla="*/ 467649 h 608519"/>
              <a:gd name="connsiteX32" fmla="*/ 293387 w 554856"/>
              <a:gd name="connsiteY32" fmla="*/ 479227 h 608519"/>
              <a:gd name="connsiteX33" fmla="*/ 261963 w 554856"/>
              <a:gd name="connsiteY33" fmla="*/ 479227 h 608519"/>
              <a:gd name="connsiteX34" fmla="*/ 250367 w 554856"/>
              <a:gd name="connsiteY34" fmla="*/ 467649 h 608519"/>
              <a:gd name="connsiteX35" fmla="*/ 250367 w 554856"/>
              <a:gd name="connsiteY35" fmla="*/ 441505 h 608519"/>
              <a:gd name="connsiteX36" fmla="*/ 199865 w 554856"/>
              <a:gd name="connsiteY36" fmla="*/ 420590 h 608519"/>
              <a:gd name="connsiteX37" fmla="*/ 181441 w 554856"/>
              <a:gd name="connsiteY37" fmla="*/ 438984 h 608519"/>
              <a:gd name="connsiteX38" fmla="*/ 165075 w 554856"/>
              <a:gd name="connsiteY38" fmla="*/ 438984 h 608519"/>
              <a:gd name="connsiteX39" fmla="*/ 142910 w 554856"/>
              <a:gd name="connsiteY39" fmla="*/ 416855 h 608519"/>
              <a:gd name="connsiteX40" fmla="*/ 142910 w 554856"/>
              <a:gd name="connsiteY40" fmla="*/ 400515 h 608519"/>
              <a:gd name="connsiteX41" fmla="*/ 161334 w 554856"/>
              <a:gd name="connsiteY41" fmla="*/ 382121 h 608519"/>
              <a:gd name="connsiteX42" fmla="*/ 140385 w 554856"/>
              <a:gd name="connsiteY42" fmla="*/ 331701 h 608519"/>
              <a:gd name="connsiteX43" fmla="*/ 114199 w 554856"/>
              <a:gd name="connsiteY43" fmla="*/ 331701 h 608519"/>
              <a:gd name="connsiteX44" fmla="*/ 102602 w 554856"/>
              <a:gd name="connsiteY44" fmla="*/ 320123 h 608519"/>
              <a:gd name="connsiteX45" fmla="*/ 102602 w 554856"/>
              <a:gd name="connsiteY45" fmla="*/ 288750 h 608519"/>
              <a:gd name="connsiteX46" fmla="*/ 114199 w 554856"/>
              <a:gd name="connsiteY46" fmla="*/ 277172 h 608519"/>
              <a:gd name="connsiteX47" fmla="*/ 140385 w 554856"/>
              <a:gd name="connsiteY47" fmla="*/ 277172 h 608519"/>
              <a:gd name="connsiteX48" fmla="*/ 161334 w 554856"/>
              <a:gd name="connsiteY48" fmla="*/ 226752 h 608519"/>
              <a:gd name="connsiteX49" fmla="*/ 142910 w 554856"/>
              <a:gd name="connsiteY49" fmla="*/ 208264 h 608519"/>
              <a:gd name="connsiteX50" fmla="*/ 142910 w 554856"/>
              <a:gd name="connsiteY50" fmla="*/ 192018 h 608519"/>
              <a:gd name="connsiteX51" fmla="*/ 165075 w 554856"/>
              <a:gd name="connsiteY51" fmla="*/ 169796 h 608519"/>
              <a:gd name="connsiteX52" fmla="*/ 181441 w 554856"/>
              <a:gd name="connsiteY52" fmla="*/ 169796 h 608519"/>
              <a:gd name="connsiteX53" fmla="*/ 199865 w 554856"/>
              <a:gd name="connsiteY53" fmla="*/ 188283 h 608519"/>
              <a:gd name="connsiteX54" fmla="*/ 250367 w 554856"/>
              <a:gd name="connsiteY54" fmla="*/ 167368 h 608519"/>
              <a:gd name="connsiteX55" fmla="*/ 250367 w 554856"/>
              <a:gd name="connsiteY55" fmla="*/ 141224 h 608519"/>
              <a:gd name="connsiteX56" fmla="*/ 261963 w 554856"/>
              <a:gd name="connsiteY56" fmla="*/ 129646 h 608519"/>
              <a:gd name="connsiteX57" fmla="*/ 440285 w 554856"/>
              <a:gd name="connsiteY57" fmla="*/ 80038 h 608519"/>
              <a:gd name="connsiteX58" fmla="*/ 554856 w 554856"/>
              <a:gd name="connsiteY58" fmla="*/ 304248 h 608519"/>
              <a:gd name="connsiteX59" fmla="*/ 277361 w 554856"/>
              <a:gd name="connsiteY59" fmla="*/ 581312 h 608519"/>
              <a:gd name="connsiteX60" fmla="*/ 277361 w 554856"/>
              <a:gd name="connsiteY60" fmla="*/ 605311 h 608519"/>
              <a:gd name="connsiteX61" fmla="*/ 272404 w 554856"/>
              <a:gd name="connsiteY61" fmla="*/ 607926 h 608519"/>
              <a:gd name="connsiteX62" fmla="*/ 207216 w 554856"/>
              <a:gd name="connsiteY62" fmla="*/ 563289 h 608519"/>
              <a:gd name="connsiteX63" fmla="*/ 207216 w 554856"/>
              <a:gd name="connsiteY63" fmla="*/ 558060 h 608519"/>
              <a:gd name="connsiteX64" fmla="*/ 272404 w 554856"/>
              <a:gd name="connsiteY64" fmla="*/ 513330 h 608519"/>
              <a:gd name="connsiteX65" fmla="*/ 277361 w 554856"/>
              <a:gd name="connsiteY65" fmla="*/ 515945 h 608519"/>
              <a:gd name="connsiteX66" fmla="*/ 277361 w 554856"/>
              <a:gd name="connsiteY66" fmla="*/ 539944 h 608519"/>
              <a:gd name="connsiteX67" fmla="*/ 513423 w 554856"/>
              <a:gd name="connsiteY67" fmla="*/ 304248 h 608519"/>
              <a:gd name="connsiteX68" fmla="*/ 415968 w 554856"/>
              <a:gd name="connsiteY68" fmla="*/ 113375 h 608519"/>
              <a:gd name="connsiteX69" fmla="*/ 282452 w 554856"/>
              <a:gd name="connsiteY69" fmla="*/ 594 h 608519"/>
              <a:gd name="connsiteX70" fmla="*/ 347640 w 554856"/>
              <a:gd name="connsiteY70" fmla="*/ 45229 h 608519"/>
              <a:gd name="connsiteX71" fmla="*/ 347640 w 554856"/>
              <a:gd name="connsiteY71" fmla="*/ 50551 h 608519"/>
              <a:gd name="connsiteX72" fmla="*/ 282452 w 554856"/>
              <a:gd name="connsiteY72" fmla="*/ 95279 h 608519"/>
              <a:gd name="connsiteX73" fmla="*/ 277402 w 554856"/>
              <a:gd name="connsiteY73" fmla="*/ 92665 h 608519"/>
              <a:gd name="connsiteX74" fmla="*/ 277402 w 554856"/>
              <a:gd name="connsiteY74" fmla="*/ 68573 h 608519"/>
              <a:gd name="connsiteX75" fmla="*/ 41339 w 554856"/>
              <a:gd name="connsiteY75" fmla="*/ 304259 h 608519"/>
              <a:gd name="connsiteX76" fmla="*/ 138888 w 554856"/>
              <a:gd name="connsiteY76" fmla="*/ 495123 h 608519"/>
              <a:gd name="connsiteX77" fmla="*/ 114571 w 554856"/>
              <a:gd name="connsiteY77" fmla="*/ 528552 h 608519"/>
              <a:gd name="connsiteX78" fmla="*/ 0 w 554856"/>
              <a:gd name="connsiteY78" fmla="*/ 304259 h 608519"/>
              <a:gd name="connsiteX79" fmla="*/ 277402 w 554856"/>
              <a:gd name="connsiteY79" fmla="*/ 27300 h 608519"/>
              <a:gd name="connsiteX80" fmla="*/ 277402 w 554856"/>
              <a:gd name="connsiteY80" fmla="*/ 3209 h 608519"/>
              <a:gd name="connsiteX81" fmla="*/ 282452 w 554856"/>
              <a:gd name="connsiteY81" fmla="*/ 594 h 608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</a:cxnLst>
            <a:rect l="l" t="t" r="r" b="b"/>
            <a:pathLst>
              <a:path w="554856" h="608519">
                <a:moveTo>
                  <a:pt x="314616" y="256070"/>
                </a:moveTo>
                <a:lnTo>
                  <a:pt x="262711" y="307611"/>
                </a:lnTo>
                <a:lnTo>
                  <a:pt x="241014" y="285856"/>
                </a:lnTo>
                <a:lnTo>
                  <a:pt x="218289" y="308265"/>
                </a:lnTo>
                <a:lnTo>
                  <a:pt x="239986" y="330020"/>
                </a:lnTo>
                <a:lnTo>
                  <a:pt x="262618" y="352803"/>
                </a:lnTo>
                <a:lnTo>
                  <a:pt x="285250" y="330300"/>
                </a:lnTo>
                <a:lnTo>
                  <a:pt x="337155" y="278760"/>
                </a:lnTo>
                <a:close/>
                <a:moveTo>
                  <a:pt x="261963" y="129646"/>
                </a:moveTo>
                <a:lnTo>
                  <a:pt x="293387" y="129646"/>
                </a:lnTo>
                <a:cubicBezTo>
                  <a:pt x="299840" y="129646"/>
                  <a:pt x="304983" y="134875"/>
                  <a:pt x="304983" y="141224"/>
                </a:cubicBezTo>
                <a:lnTo>
                  <a:pt x="304983" y="167368"/>
                </a:lnTo>
                <a:cubicBezTo>
                  <a:pt x="323314" y="170916"/>
                  <a:pt x="340428" y="178199"/>
                  <a:pt x="355485" y="188283"/>
                </a:cubicBezTo>
                <a:lnTo>
                  <a:pt x="373909" y="169796"/>
                </a:lnTo>
                <a:cubicBezTo>
                  <a:pt x="378398" y="165314"/>
                  <a:pt x="385786" y="165314"/>
                  <a:pt x="390275" y="169796"/>
                </a:cubicBezTo>
                <a:lnTo>
                  <a:pt x="412440" y="192018"/>
                </a:lnTo>
                <a:cubicBezTo>
                  <a:pt x="416929" y="196500"/>
                  <a:pt x="416929" y="203783"/>
                  <a:pt x="412440" y="208264"/>
                </a:cubicBezTo>
                <a:lnTo>
                  <a:pt x="394016" y="226752"/>
                </a:lnTo>
                <a:cubicBezTo>
                  <a:pt x="404117" y="241691"/>
                  <a:pt x="411318" y="258872"/>
                  <a:pt x="414965" y="277172"/>
                </a:cubicBezTo>
                <a:lnTo>
                  <a:pt x="441151" y="277172"/>
                </a:lnTo>
                <a:cubicBezTo>
                  <a:pt x="447604" y="277172"/>
                  <a:pt x="452748" y="282401"/>
                  <a:pt x="452748" y="288750"/>
                </a:cubicBezTo>
                <a:lnTo>
                  <a:pt x="452748" y="320123"/>
                </a:lnTo>
                <a:cubicBezTo>
                  <a:pt x="452748" y="326565"/>
                  <a:pt x="447511" y="331701"/>
                  <a:pt x="441151" y="331701"/>
                </a:cubicBezTo>
                <a:lnTo>
                  <a:pt x="414965" y="331701"/>
                </a:lnTo>
                <a:cubicBezTo>
                  <a:pt x="411318" y="350002"/>
                  <a:pt x="404117" y="366995"/>
                  <a:pt x="394016" y="382121"/>
                </a:cubicBezTo>
                <a:lnTo>
                  <a:pt x="412440" y="400515"/>
                </a:lnTo>
                <a:cubicBezTo>
                  <a:pt x="416929" y="404997"/>
                  <a:pt x="416929" y="412373"/>
                  <a:pt x="412440" y="416855"/>
                </a:cubicBezTo>
                <a:lnTo>
                  <a:pt x="390275" y="438984"/>
                </a:lnTo>
                <a:cubicBezTo>
                  <a:pt x="385786" y="443466"/>
                  <a:pt x="378398" y="443466"/>
                  <a:pt x="373909" y="438984"/>
                </a:cubicBezTo>
                <a:lnTo>
                  <a:pt x="355485" y="420590"/>
                </a:lnTo>
                <a:cubicBezTo>
                  <a:pt x="340522" y="430674"/>
                  <a:pt x="323314" y="437864"/>
                  <a:pt x="304983" y="441505"/>
                </a:cubicBezTo>
                <a:lnTo>
                  <a:pt x="304983" y="467649"/>
                </a:lnTo>
                <a:cubicBezTo>
                  <a:pt x="304983" y="474092"/>
                  <a:pt x="299746" y="479227"/>
                  <a:pt x="293387" y="479227"/>
                </a:cubicBezTo>
                <a:lnTo>
                  <a:pt x="261963" y="479227"/>
                </a:lnTo>
                <a:cubicBezTo>
                  <a:pt x="255510" y="479227"/>
                  <a:pt x="250367" y="473998"/>
                  <a:pt x="250367" y="467649"/>
                </a:cubicBezTo>
                <a:lnTo>
                  <a:pt x="250367" y="441505"/>
                </a:lnTo>
                <a:cubicBezTo>
                  <a:pt x="232036" y="437864"/>
                  <a:pt x="214922" y="430674"/>
                  <a:pt x="199865" y="420590"/>
                </a:cubicBezTo>
                <a:lnTo>
                  <a:pt x="181441" y="438984"/>
                </a:lnTo>
                <a:cubicBezTo>
                  <a:pt x="176952" y="443466"/>
                  <a:pt x="169564" y="443466"/>
                  <a:pt x="165075" y="438984"/>
                </a:cubicBezTo>
                <a:lnTo>
                  <a:pt x="142910" y="416855"/>
                </a:lnTo>
                <a:cubicBezTo>
                  <a:pt x="138421" y="412373"/>
                  <a:pt x="138421" y="404997"/>
                  <a:pt x="142910" y="400515"/>
                </a:cubicBezTo>
                <a:lnTo>
                  <a:pt x="161334" y="382121"/>
                </a:lnTo>
                <a:cubicBezTo>
                  <a:pt x="151233" y="367182"/>
                  <a:pt x="144032" y="350002"/>
                  <a:pt x="140385" y="331701"/>
                </a:cubicBezTo>
                <a:lnTo>
                  <a:pt x="114199" y="331701"/>
                </a:lnTo>
                <a:cubicBezTo>
                  <a:pt x="107746" y="331701"/>
                  <a:pt x="102602" y="326472"/>
                  <a:pt x="102602" y="320123"/>
                </a:cubicBezTo>
                <a:lnTo>
                  <a:pt x="102602" y="288750"/>
                </a:lnTo>
                <a:cubicBezTo>
                  <a:pt x="102602" y="282214"/>
                  <a:pt x="107839" y="277172"/>
                  <a:pt x="114199" y="277172"/>
                </a:cubicBezTo>
                <a:lnTo>
                  <a:pt x="140385" y="277172"/>
                </a:lnTo>
                <a:cubicBezTo>
                  <a:pt x="144032" y="258872"/>
                  <a:pt x="151233" y="241785"/>
                  <a:pt x="161334" y="226752"/>
                </a:cubicBezTo>
                <a:lnTo>
                  <a:pt x="142910" y="208264"/>
                </a:lnTo>
                <a:cubicBezTo>
                  <a:pt x="138421" y="203783"/>
                  <a:pt x="138421" y="196500"/>
                  <a:pt x="142910" y="192018"/>
                </a:cubicBezTo>
                <a:lnTo>
                  <a:pt x="165075" y="169796"/>
                </a:lnTo>
                <a:cubicBezTo>
                  <a:pt x="169564" y="165314"/>
                  <a:pt x="176952" y="165314"/>
                  <a:pt x="181441" y="169796"/>
                </a:cubicBezTo>
                <a:lnTo>
                  <a:pt x="199865" y="188283"/>
                </a:lnTo>
                <a:cubicBezTo>
                  <a:pt x="214828" y="178199"/>
                  <a:pt x="232036" y="170916"/>
                  <a:pt x="250367" y="167368"/>
                </a:cubicBezTo>
                <a:lnTo>
                  <a:pt x="250367" y="141224"/>
                </a:lnTo>
                <a:cubicBezTo>
                  <a:pt x="250367" y="134688"/>
                  <a:pt x="255604" y="129646"/>
                  <a:pt x="261963" y="129646"/>
                </a:cubicBezTo>
                <a:close/>
                <a:moveTo>
                  <a:pt x="440285" y="80038"/>
                </a:moveTo>
                <a:cubicBezTo>
                  <a:pt x="511927" y="131958"/>
                  <a:pt x="554856" y="215909"/>
                  <a:pt x="554856" y="304248"/>
                </a:cubicBezTo>
                <a:cubicBezTo>
                  <a:pt x="554856" y="457021"/>
                  <a:pt x="430371" y="581312"/>
                  <a:pt x="277361" y="581312"/>
                </a:cubicBezTo>
                <a:lnTo>
                  <a:pt x="277361" y="605311"/>
                </a:lnTo>
                <a:cubicBezTo>
                  <a:pt x="277361" y="607926"/>
                  <a:pt x="274555" y="609420"/>
                  <a:pt x="272404" y="607926"/>
                </a:cubicBezTo>
                <a:lnTo>
                  <a:pt x="207216" y="563289"/>
                </a:lnTo>
                <a:cubicBezTo>
                  <a:pt x="205345" y="561982"/>
                  <a:pt x="205345" y="559274"/>
                  <a:pt x="207216" y="558060"/>
                </a:cubicBezTo>
                <a:lnTo>
                  <a:pt x="272404" y="513330"/>
                </a:lnTo>
                <a:cubicBezTo>
                  <a:pt x="274555" y="511836"/>
                  <a:pt x="277361" y="513330"/>
                  <a:pt x="277361" y="515945"/>
                </a:cubicBezTo>
                <a:lnTo>
                  <a:pt x="277361" y="539944"/>
                </a:lnTo>
                <a:cubicBezTo>
                  <a:pt x="407551" y="539944"/>
                  <a:pt x="513423" y="434236"/>
                  <a:pt x="513423" y="304248"/>
                </a:cubicBezTo>
                <a:cubicBezTo>
                  <a:pt x="513423" y="229076"/>
                  <a:pt x="477041" y="157638"/>
                  <a:pt x="415968" y="113375"/>
                </a:cubicBezTo>
                <a:close/>
                <a:moveTo>
                  <a:pt x="282452" y="594"/>
                </a:moveTo>
                <a:lnTo>
                  <a:pt x="347640" y="45229"/>
                </a:lnTo>
                <a:cubicBezTo>
                  <a:pt x="349511" y="46536"/>
                  <a:pt x="349511" y="49337"/>
                  <a:pt x="347640" y="50551"/>
                </a:cubicBezTo>
                <a:lnTo>
                  <a:pt x="282452" y="95279"/>
                </a:lnTo>
                <a:cubicBezTo>
                  <a:pt x="280301" y="96773"/>
                  <a:pt x="277402" y="95279"/>
                  <a:pt x="277402" y="92665"/>
                </a:cubicBezTo>
                <a:lnTo>
                  <a:pt x="277402" y="68573"/>
                </a:lnTo>
                <a:cubicBezTo>
                  <a:pt x="147212" y="68573"/>
                  <a:pt x="41339" y="174277"/>
                  <a:pt x="41339" y="304259"/>
                </a:cubicBezTo>
                <a:cubicBezTo>
                  <a:pt x="41339" y="379521"/>
                  <a:pt x="77908" y="450862"/>
                  <a:pt x="138888" y="495123"/>
                </a:cubicBezTo>
                <a:lnTo>
                  <a:pt x="114571" y="528552"/>
                </a:lnTo>
                <a:cubicBezTo>
                  <a:pt x="42835" y="476634"/>
                  <a:pt x="0" y="392687"/>
                  <a:pt x="0" y="304259"/>
                </a:cubicBezTo>
                <a:cubicBezTo>
                  <a:pt x="0" y="151493"/>
                  <a:pt x="124391" y="27300"/>
                  <a:pt x="277402" y="27300"/>
                </a:cubicBezTo>
                <a:lnTo>
                  <a:pt x="277402" y="3209"/>
                </a:lnTo>
                <a:cubicBezTo>
                  <a:pt x="277402" y="594"/>
                  <a:pt x="280301" y="-900"/>
                  <a:pt x="282452" y="594"/>
                </a:cubicBezTo>
                <a:close/>
              </a:path>
            </a:pathLst>
          </a:cu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580" tIns="34290" rIns="68580" bIns="34290" rtlCol="0" anchor="ctr">
            <a:normAutofit fontScale="8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zh-CN" altLang="en-US" sz="1350">
              <a:solidFill>
                <a:srgbClr val="FFFFFF"/>
              </a:solidFill>
            </a:endParaRPr>
          </a:p>
        </p:txBody>
      </p:sp>
      <p:sp>
        <p:nvSpPr>
          <p:cNvPr id="35" name="íṡḻídé"/>
          <p:cNvSpPr/>
          <p:nvPr/>
        </p:nvSpPr>
        <p:spPr>
          <a:xfrm>
            <a:off x="408964" y="2158496"/>
            <a:ext cx="198815" cy="218045"/>
          </a:xfrm>
          <a:custGeom>
            <a:avLst/>
            <a:gdLst>
              <a:gd name="connsiteX0" fmla="*/ 314616 w 554856"/>
              <a:gd name="connsiteY0" fmla="*/ 256070 h 608519"/>
              <a:gd name="connsiteX1" fmla="*/ 262711 w 554856"/>
              <a:gd name="connsiteY1" fmla="*/ 307611 h 608519"/>
              <a:gd name="connsiteX2" fmla="*/ 241014 w 554856"/>
              <a:gd name="connsiteY2" fmla="*/ 285856 h 608519"/>
              <a:gd name="connsiteX3" fmla="*/ 218289 w 554856"/>
              <a:gd name="connsiteY3" fmla="*/ 308265 h 608519"/>
              <a:gd name="connsiteX4" fmla="*/ 239986 w 554856"/>
              <a:gd name="connsiteY4" fmla="*/ 330020 h 608519"/>
              <a:gd name="connsiteX5" fmla="*/ 262618 w 554856"/>
              <a:gd name="connsiteY5" fmla="*/ 352803 h 608519"/>
              <a:gd name="connsiteX6" fmla="*/ 285250 w 554856"/>
              <a:gd name="connsiteY6" fmla="*/ 330300 h 608519"/>
              <a:gd name="connsiteX7" fmla="*/ 337155 w 554856"/>
              <a:gd name="connsiteY7" fmla="*/ 278760 h 608519"/>
              <a:gd name="connsiteX8" fmla="*/ 261963 w 554856"/>
              <a:gd name="connsiteY8" fmla="*/ 129646 h 608519"/>
              <a:gd name="connsiteX9" fmla="*/ 293387 w 554856"/>
              <a:gd name="connsiteY9" fmla="*/ 129646 h 608519"/>
              <a:gd name="connsiteX10" fmla="*/ 304983 w 554856"/>
              <a:gd name="connsiteY10" fmla="*/ 141224 h 608519"/>
              <a:gd name="connsiteX11" fmla="*/ 304983 w 554856"/>
              <a:gd name="connsiteY11" fmla="*/ 167368 h 608519"/>
              <a:gd name="connsiteX12" fmla="*/ 355485 w 554856"/>
              <a:gd name="connsiteY12" fmla="*/ 188283 h 608519"/>
              <a:gd name="connsiteX13" fmla="*/ 373909 w 554856"/>
              <a:gd name="connsiteY13" fmla="*/ 169796 h 608519"/>
              <a:gd name="connsiteX14" fmla="*/ 390275 w 554856"/>
              <a:gd name="connsiteY14" fmla="*/ 169796 h 608519"/>
              <a:gd name="connsiteX15" fmla="*/ 412440 w 554856"/>
              <a:gd name="connsiteY15" fmla="*/ 192018 h 608519"/>
              <a:gd name="connsiteX16" fmla="*/ 412440 w 554856"/>
              <a:gd name="connsiteY16" fmla="*/ 208264 h 608519"/>
              <a:gd name="connsiteX17" fmla="*/ 394016 w 554856"/>
              <a:gd name="connsiteY17" fmla="*/ 226752 h 608519"/>
              <a:gd name="connsiteX18" fmla="*/ 414965 w 554856"/>
              <a:gd name="connsiteY18" fmla="*/ 277172 h 608519"/>
              <a:gd name="connsiteX19" fmla="*/ 441151 w 554856"/>
              <a:gd name="connsiteY19" fmla="*/ 277172 h 608519"/>
              <a:gd name="connsiteX20" fmla="*/ 452748 w 554856"/>
              <a:gd name="connsiteY20" fmla="*/ 288750 h 608519"/>
              <a:gd name="connsiteX21" fmla="*/ 452748 w 554856"/>
              <a:gd name="connsiteY21" fmla="*/ 320123 h 608519"/>
              <a:gd name="connsiteX22" fmla="*/ 441151 w 554856"/>
              <a:gd name="connsiteY22" fmla="*/ 331701 h 608519"/>
              <a:gd name="connsiteX23" fmla="*/ 414965 w 554856"/>
              <a:gd name="connsiteY23" fmla="*/ 331701 h 608519"/>
              <a:gd name="connsiteX24" fmla="*/ 394016 w 554856"/>
              <a:gd name="connsiteY24" fmla="*/ 382121 h 608519"/>
              <a:gd name="connsiteX25" fmla="*/ 412440 w 554856"/>
              <a:gd name="connsiteY25" fmla="*/ 400515 h 608519"/>
              <a:gd name="connsiteX26" fmla="*/ 412440 w 554856"/>
              <a:gd name="connsiteY26" fmla="*/ 416855 h 608519"/>
              <a:gd name="connsiteX27" fmla="*/ 390275 w 554856"/>
              <a:gd name="connsiteY27" fmla="*/ 438984 h 608519"/>
              <a:gd name="connsiteX28" fmla="*/ 373909 w 554856"/>
              <a:gd name="connsiteY28" fmla="*/ 438984 h 608519"/>
              <a:gd name="connsiteX29" fmla="*/ 355485 w 554856"/>
              <a:gd name="connsiteY29" fmla="*/ 420590 h 608519"/>
              <a:gd name="connsiteX30" fmla="*/ 304983 w 554856"/>
              <a:gd name="connsiteY30" fmla="*/ 441505 h 608519"/>
              <a:gd name="connsiteX31" fmla="*/ 304983 w 554856"/>
              <a:gd name="connsiteY31" fmla="*/ 467649 h 608519"/>
              <a:gd name="connsiteX32" fmla="*/ 293387 w 554856"/>
              <a:gd name="connsiteY32" fmla="*/ 479227 h 608519"/>
              <a:gd name="connsiteX33" fmla="*/ 261963 w 554856"/>
              <a:gd name="connsiteY33" fmla="*/ 479227 h 608519"/>
              <a:gd name="connsiteX34" fmla="*/ 250367 w 554856"/>
              <a:gd name="connsiteY34" fmla="*/ 467649 h 608519"/>
              <a:gd name="connsiteX35" fmla="*/ 250367 w 554856"/>
              <a:gd name="connsiteY35" fmla="*/ 441505 h 608519"/>
              <a:gd name="connsiteX36" fmla="*/ 199865 w 554856"/>
              <a:gd name="connsiteY36" fmla="*/ 420590 h 608519"/>
              <a:gd name="connsiteX37" fmla="*/ 181441 w 554856"/>
              <a:gd name="connsiteY37" fmla="*/ 438984 h 608519"/>
              <a:gd name="connsiteX38" fmla="*/ 165075 w 554856"/>
              <a:gd name="connsiteY38" fmla="*/ 438984 h 608519"/>
              <a:gd name="connsiteX39" fmla="*/ 142910 w 554856"/>
              <a:gd name="connsiteY39" fmla="*/ 416855 h 608519"/>
              <a:gd name="connsiteX40" fmla="*/ 142910 w 554856"/>
              <a:gd name="connsiteY40" fmla="*/ 400515 h 608519"/>
              <a:gd name="connsiteX41" fmla="*/ 161334 w 554856"/>
              <a:gd name="connsiteY41" fmla="*/ 382121 h 608519"/>
              <a:gd name="connsiteX42" fmla="*/ 140385 w 554856"/>
              <a:gd name="connsiteY42" fmla="*/ 331701 h 608519"/>
              <a:gd name="connsiteX43" fmla="*/ 114199 w 554856"/>
              <a:gd name="connsiteY43" fmla="*/ 331701 h 608519"/>
              <a:gd name="connsiteX44" fmla="*/ 102602 w 554856"/>
              <a:gd name="connsiteY44" fmla="*/ 320123 h 608519"/>
              <a:gd name="connsiteX45" fmla="*/ 102602 w 554856"/>
              <a:gd name="connsiteY45" fmla="*/ 288750 h 608519"/>
              <a:gd name="connsiteX46" fmla="*/ 114199 w 554856"/>
              <a:gd name="connsiteY46" fmla="*/ 277172 h 608519"/>
              <a:gd name="connsiteX47" fmla="*/ 140385 w 554856"/>
              <a:gd name="connsiteY47" fmla="*/ 277172 h 608519"/>
              <a:gd name="connsiteX48" fmla="*/ 161334 w 554856"/>
              <a:gd name="connsiteY48" fmla="*/ 226752 h 608519"/>
              <a:gd name="connsiteX49" fmla="*/ 142910 w 554856"/>
              <a:gd name="connsiteY49" fmla="*/ 208264 h 608519"/>
              <a:gd name="connsiteX50" fmla="*/ 142910 w 554856"/>
              <a:gd name="connsiteY50" fmla="*/ 192018 h 608519"/>
              <a:gd name="connsiteX51" fmla="*/ 165075 w 554856"/>
              <a:gd name="connsiteY51" fmla="*/ 169796 h 608519"/>
              <a:gd name="connsiteX52" fmla="*/ 181441 w 554856"/>
              <a:gd name="connsiteY52" fmla="*/ 169796 h 608519"/>
              <a:gd name="connsiteX53" fmla="*/ 199865 w 554856"/>
              <a:gd name="connsiteY53" fmla="*/ 188283 h 608519"/>
              <a:gd name="connsiteX54" fmla="*/ 250367 w 554856"/>
              <a:gd name="connsiteY54" fmla="*/ 167368 h 608519"/>
              <a:gd name="connsiteX55" fmla="*/ 250367 w 554856"/>
              <a:gd name="connsiteY55" fmla="*/ 141224 h 608519"/>
              <a:gd name="connsiteX56" fmla="*/ 261963 w 554856"/>
              <a:gd name="connsiteY56" fmla="*/ 129646 h 608519"/>
              <a:gd name="connsiteX57" fmla="*/ 440285 w 554856"/>
              <a:gd name="connsiteY57" fmla="*/ 80038 h 608519"/>
              <a:gd name="connsiteX58" fmla="*/ 554856 w 554856"/>
              <a:gd name="connsiteY58" fmla="*/ 304248 h 608519"/>
              <a:gd name="connsiteX59" fmla="*/ 277361 w 554856"/>
              <a:gd name="connsiteY59" fmla="*/ 581312 h 608519"/>
              <a:gd name="connsiteX60" fmla="*/ 277361 w 554856"/>
              <a:gd name="connsiteY60" fmla="*/ 605311 h 608519"/>
              <a:gd name="connsiteX61" fmla="*/ 272404 w 554856"/>
              <a:gd name="connsiteY61" fmla="*/ 607926 h 608519"/>
              <a:gd name="connsiteX62" fmla="*/ 207216 w 554856"/>
              <a:gd name="connsiteY62" fmla="*/ 563289 h 608519"/>
              <a:gd name="connsiteX63" fmla="*/ 207216 w 554856"/>
              <a:gd name="connsiteY63" fmla="*/ 558060 h 608519"/>
              <a:gd name="connsiteX64" fmla="*/ 272404 w 554856"/>
              <a:gd name="connsiteY64" fmla="*/ 513330 h 608519"/>
              <a:gd name="connsiteX65" fmla="*/ 277361 w 554856"/>
              <a:gd name="connsiteY65" fmla="*/ 515945 h 608519"/>
              <a:gd name="connsiteX66" fmla="*/ 277361 w 554856"/>
              <a:gd name="connsiteY66" fmla="*/ 539944 h 608519"/>
              <a:gd name="connsiteX67" fmla="*/ 513423 w 554856"/>
              <a:gd name="connsiteY67" fmla="*/ 304248 h 608519"/>
              <a:gd name="connsiteX68" fmla="*/ 415968 w 554856"/>
              <a:gd name="connsiteY68" fmla="*/ 113375 h 608519"/>
              <a:gd name="connsiteX69" fmla="*/ 282452 w 554856"/>
              <a:gd name="connsiteY69" fmla="*/ 594 h 608519"/>
              <a:gd name="connsiteX70" fmla="*/ 347640 w 554856"/>
              <a:gd name="connsiteY70" fmla="*/ 45229 h 608519"/>
              <a:gd name="connsiteX71" fmla="*/ 347640 w 554856"/>
              <a:gd name="connsiteY71" fmla="*/ 50551 h 608519"/>
              <a:gd name="connsiteX72" fmla="*/ 282452 w 554856"/>
              <a:gd name="connsiteY72" fmla="*/ 95279 h 608519"/>
              <a:gd name="connsiteX73" fmla="*/ 277402 w 554856"/>
              <a:gd name="connsiteY73" fmla="*/ 92665 h 608519"/>
              <a:gd name="connsiteX74" fmla="*/ 277402 w 554856"/>
              <a:gd name="connsiteY74" fmla="*/ 68573 h 608519"/>
              <a:gd name="connsiteX75" fmla="*/ 41339 w 554856"/>
              <a:gd name="connsiteY75" fmla="*/ 304259 h 608519"/>
              <a:gd name="connsiteX76" fmla="*/ 138888 w 554856"/>
              <a:gd name="connsiteY76" fmla="*/ 495123 h 608519"/>
              <a:gd name="connsiteX77" fmla="*/ 114571 w 554856"/>
              <a:gd name="connsiteY77" fmla="*/ 528552 h 608519"/>
              <a:gd name="connsiteX78" fmla="*/ 0 w 554856"/>
              <a:gd name="connsiteY78" fmla="*/ 304259 h 608519"/>
              <a:gd name="connsiteX79" fmla="*/ 277402 w 554856"/>
              <a:gd name="connsiteY79" fmla="*/ 27300 h 608519"/>
              <a:gd name="connsiteX80" fmla="*/ 277402 w 554856"/>
              <a:gd name="connsiteY80" fmla="*/ 3209 h 608519"/>
              <a:gd name="connsiteX81" fmla="*/ 282452 w 554856"/>
              <a:gd name="connsiteY81" fmla="*/ 594 h 608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</a:cxnLst>
            <a:rect l="l" t="t" r="r" b="b"/>
            <a:pathLst>
              <a:path w="554856" h="608519">
                <a:moveTo>
                  <a:pt x="314616" y="256070"/>
                </a:moveTo>
                <a:lnTo>
                  <a:pt x="262711" y="307611"/>
                </a:lnTo>
                <a:lnTo>
                  <a:pt x="241014" y="285856"/>
                </a:lnTo>
                <a:lnTo>
                  <a:pt x="218289" y="308265"/>
                </a:lnTo>
                <a:lnTo>
                  <a:pt x="239986" y="330020"/>
                </a:lnTo>
                <a:lnTo>
                  <a:pt x="262618" y="352803"/>
                </a:lnTo>
                <a:lnTo>
                  <a:pt x="285250" y="330300"/>
                </a:lnTo>
                <a:lnTo>
                  <a:pt x="337155" y="278760"/>
                </a:lnTo>
                <a:close/>
                <a:moveTo>
                  <a:pt x="261963" y="129646"/>
                </a:moveTo>
                <a:lnTo>
                  <a:pt x="293387" y="129646"/>
                </a:lnTo>
                <a:cubicBezTo>
                  <a:pt x="299840" y="129646"/>
                  <a:pt x="304983" y="134875"/>
                  <a:pt x="304983" y="141224"/>
                </a:cubicBezTo>
                <a:lnTo>
                  <a:pt x="304983" y="167368"/>
                </a:lnTo>
                <a:cubicBezTo>
                  <a:pt x="323314" y="170916"/>
                  <a:pt x="340428" y="178199"/>
                  <a:pt x="355485" y="188283"/>
                </a:cubicBezTo>
                <a:lnTo>
                  <a:pt x="373909" y="169796"/>
                </a:lnTo>
                <a:cubicBezTo>
                  <a:pt x="378398" y="165314"/>
                  <a:pt x="385786" y="165314"/>
                  <a:pt x="390275" y="169796"/>
                </a:cubicBezTo>
                <a:lnTo>
                  <a:pt x="412440" y="192018"/>
                </a:lnTo>
                <a:cubicBezTo>
                  <a:pt x="416929" y="196500"/>
                  <a:pt x="416929" y="203783"/>
                  <a:pt x="412440" y="208264"/>
                </a:cubicBezTo>
                <a:lnTo>
                  <a:pt x="394016" y="226752"/>
                </a:lnTo>
                <a:cubicBezTo>
                  <a:pt x="404117" y="241691"/>
                  <a:pt x="411318" y="258872"/>
                  <a:pt x="414965" y="277172"/>
                </a:cubicBezTo>
                <a:lnTo>
                  <a:pt x="441151" y="277172"/>
                </a:lnTo>
                <a:cubicBezTo>
                  <a:pt x="447604" y="277172"/>
                  <a:pt x="452748" y="282401"/>
                  <a:pt x="452748" y="288750"/>
                </a:cubicBezTo>
                <a:lnTo>
                  <a:pt x="452748" y="320123"/>
                </a:lnTo>
                <a:cubicBezTo>
                  <a:pt x="452748" y="326565"/>
                  <a:pt x="447511" y="331701"/>
                  <a:pt x="441151" y="331701"/>
                </a:cubicBezTo>
                <a:lnTo>
                  <a:pt x="414965" y="331701"/>
                </a:lnTo>
                <a:cubicBezTo>
                  <a:pt x="411318" y="350002"/>
                  <a:pt x="404117" y="366995"/>
                  <a:pt x="394016" y="382121"/>
                </a:cubicBezTo>
                <a:lnTo>
                  <a:pt x="412440" y="400515"/>
                </a:lnTo>
                <a:cubicBezTo>
                  <a:pt x="416929" y="404997"/>
                  <a:pt x="416929" y="412373"/>
                  <a:pt x="412440" y="416855"/>
                </a:cubicBezTo>
                <a:lnTo>
                  <a:pt x="390275" y="438984"/>
                </a:lnTo>
                <a:cubicBezTo>
                  <a:pt x="385786" y="443466"/>
                  <a:pt x="378398" y="443466"/>
                  <a:pt x="373909" y="438984"/>
                </a:cubicBezTo>
                <a:lnTo>
                  <a:pt x="355485" y="420590"/>
                </a:lnTo>
                <a:cubicBezTo>
                  <a:pt x="340522" y="430674"/>
                  <a:pt x="323314" y="437864"/>
                  <a:pt x="304983" y="441505"/>
                </a:cubicBezTo>
                <a:lnTo>
                  <a:pt x="304983" y="467649"/>
                </a:lnTo>
                <a:cubicBezTo>
                  <a:pt x="304983" y="474092"/>
                  <a:pt x="299746" y="479227"/>
                  <a:pt x="293387" y="479227"/>
                </a:cubicBezTo>
                <a:lnTo>
                  <a:pt x="261963" y="479227"/>
                </a:lnTo>
                <a:cubicBezTo>
                  <a:pt x="255510" y="479227"/>
                  <a:pt x="250367" y="473998"/>
                  <a:pt x="250367" y="467649"/>
                </a:cubicBezTo>
                <a:lnTo>
                  <a:pt x="250367" y="441505"/>
                </a:lnTo>
                <a:cubicBezTo>
                  <a:pt x="232036" y="437864"/>
                  <a:pt x="214922" y="430674"/>
                  <a:pt x="199865" y="420590"/>
                </a:cubicBezTo>
                <a:lnTo>
                  <a:pt x="181441" y="438984"/>
                </a:lnTo>
                <a:cubicBezTo>
                  <a:pt x="176952" y="443466"/>
                  <a:pt x="169564" y="443466"/>
                  <a:pt x="165075" y="438984"/>
                </a:cubicBezTo>
                <a:lnTo>
                  <a:pt x="142910" y="416855"/>
                </a:lnTo>
                <a:cubicBezTo>
                  <a:pt x="138421" y="412373"/>
                  <a:pt x="138421" y="404997"/>
                  <a:pt x="142910" y="400515"/>
                </a:cubicBezTo>
                <a:lnTo>
                  <a:pt x="161334" y="382121"/>
                </a:lnTo>
                <a:cubicBezTo>
                  <a:pt x="151233" y="367182"/>
                  <a:pt x="144032" y="350002"/>
                  <a:pt x="140385" y="331701"/>
                </a:cubicBezTo>
                <a:lnTo>
                  <a:pt x="114199" y="331701"/>
                </a:lnTo>
                <a:cubicBezTo>
                  <a:pt x="107746" y="331701"/>
                  <a:pt x="102602" y="326472"/>
                  <a:pt x="102602" y="320123"/>
                </a:cubicBezTo>
                <a:lnTo>
                  <a:pt x="102602" y="288750"/>
                </a:lnTo>
                <a:cubicBezTo>
                  <a:pt x="102602" y="282214"/>
                  <a:pt x="107839" y="277172"/>
                  <a:pt x="114199" y="277172"/>
                </a:cubicBezTo>
                <a:lnTo>
                  <a:pt x="140385" y="277172"/>
                </a:lnTo>
                <a:cubicBezTo>
                  <a:pt x="144032" y="258872"/>
                  <a:pt x="151233" y="241785"/>
                  <a:pt x="161334" y="226752"/>
                </a:cubicBezTo>
                <a:lnTo>
                  <a:pt x="142910" y="208264"/>
                </a:lnTo>
                <a:cubicBezTo>
                  <a:pt x="138421" y="203783"/>
                  <a:pt x="138421" y="196500"/>
                  <a:pt x="142910" y="192018"/>
                </a:cubicBezTo>
                <a:lnTo>
                  <a:pt x="165075" y="169796"/>
                </a:lnTo>
                <a:cubicBezTo>
                  <a:pt x="169564" y="165314"/>
                  <a:pt x="176952" y="165314"/>
                  <a:pt x="181441" y="169796"/>
                </a:cubicBezTo>
                <a:lnTo>
                  <a:pt x="199865" y="188283"/>
                </a:lnTo>
                <a:cubicBezTo>
                  <a:pt x="214828" y="178199"/>
                  <a:pt x="232036" y="170916"/>
                  <a:pt x="250367" y="167368"/>
                </a:cubicBezTo>
                <a:lnTo>
                  <a:pt x="250367" y="141224"/>
                </a:lnTo>
                <a:cubicBezTo>
                  <a:pt x="250367" y="134688"/>
                  <a:pt x="255604" y="129646"/>
                  <a:pt x="261963" y="129646"/>
                </a:cubicBezTo>
                <a:close/>
                <a:moveTo>
                  <a:pt x="440285" y="80038"/>
                </a:moveTo>
                <a:cubicBezTo>
                  <a:pt x="511927" y="131958"/>
                  <a:pt x="554856" y="215909"/>
                  <a:pt x="554856" y="304248"/>
                </a:cubicBezTo>
                <a:cubicBezTo>
                  <a:pt x="554856" y="457021"/>
                  <a:pt x="430371" y="581312"/>
                  <a:pt x="277361" y="581312"/>
                </a:cubicBezTo>
                <a:lnTo>
                  <a:pt x="277361" y="605311"/>
                </a:lnTo>
                <a:cubicBezTo>
                  <a:pt x="277361" y="607926"/>
                  <a:pt x="274555" y="609420"/>
                  <a:pt x="272404" y="607926"/>
                </a:cubicBezTo>
                <a:lnTo>
                  <a:pt x="207216" y="563289"/>
                </a:lnTo>
                <a:cubicBezTo>
                  <a:pt x="205345" y="561982"/>
                  <a:pt x="205345" y="559274"/>
                  <a:pt x="207216" y="558060"/>
                </a:cubicBezTo>
                <a:lnTo>
                  <a:pt x="272404" y="513330"/>
                </a:lnTo>
                <a:cubicBezTo>
                  <a:pt x="274555" y="511836"/>
                  <a:pt x="277361" y="513330"/>
                  <a:pt x="277361" y="515945"/>
                </a:cubicBezTo>
                <a:lnTo>
                  <a:pt x="277361" y="539944"/>
                </a:lnTo>
                <a:cubicBezTo>
                  <a:pt x="407551" y="539944"/>
                  <a:pt x="513423" y="434236"/>
                  <a:pt x="513423" y="304248"/>
                </a:cubicBezTo>
                <a:cubicBezTo>
                  <a:pt x="513423" y="229076"/>
                  <a:pt x="477041" y="157638"/>
                  <a:pt x="415968" y="113375"/>
                </a:cubicBezTo>
                <a:close/>
                <a:moveTo>
                  <a:pt x="282452" y="594"/>
                </a:moveTo>
                <a:lnTo>
                  <a:pt x="347640" y="45229"/>
                </a:lnTo>
                <a:cubicBezTo>
                  <a:pt x="349511" y="46536"/>
                  <a:pt x="349511" y="49337"/>
                  <a:pt x="347640" y="50551"/>
                </a:cubicBezTo>
                <a:lnTo>
                  <a:pt x="282452" y="95279"/>
                </a:lnTo>
                <a:cubicBezTo>
                  <a:pt x="280301" y="96773"/>
                  <a:pt x="277402" y="95279"/>
                  <a:pt x="277402" y="92665"/>
                </a:cubicBezTo>
                <a:lnTo>
                  <a:pt x="277402" y="68573"/>
                </a:lnTo>
                <a:cubicBezTo>
                  <a:pt x="147212" y="68573"/>
                  <a:pt x="41339" y="174277"/>
                  <a:pt x="41339" y="304259"/>
                </a:cubicBezTo>
                <a:cubicBezTo>
                  <a:pt x="41339" y="379521"/>
                  <a:pt x="77908" y="450862"/>
                  <a:pt x="138888" y="495123"/>
                </a:cubicBezTo>
                <a:lnTo>
                  <a:pt x="114571" y="528552"/>
                </a:lnTo>
                <a:cubicBezTo>
                  <a:pt x="42835" y="476634"/>
                  <a:pt x="0" y="392687"/>
                  <a:pt x="0" y="304259"/>
                </a:cubicBezTo>
                <a:cubicBezTo>
                  <a:pt x="0" y="151493"/>
                  <a:pt x="124391" y="27300"/>
                  <a:pt x="277402" y="27300"/>
                </a:cubicBezTo>
                <a:lnTo>
                  <a:pt x="277402" y="3209"/>
                </a:lnTo>
                <a:cubicBezTo>
                  <a:pt x="277402" y="594"/>
                  <a:pt x="280301" y="-900"/>
                  <a:pt x="282452" y="594"/>
                </a:cubicBezTo>
                <a:close/>
              </a:path>
            </a:pathLst>
          </a:cu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580" tIns="34290" rIns="68580" bIns="34290" rtlCol="0" anchor="ctr">
            <a:normAutofit fontScale="8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zh-CN" altLang="en-US" sz="1350">
              <a:solidFill>
                <a:srgbClr val="FFFFFF"/>
              </a:solidFill>
            </a:endParaRPr>
          </a:p>
        </p:txBody>
      </p:sp>
      <p:sp>
        <p:nvSpPr>
          <p:cNvPr id="36" name="iṥ1iḓe"/>
          <p:cNvSpPr/>
          <p:nvPr/>
        </p:nvSpPr>
        <p:spPr>
          <a:xfrm>
            <a:off x="408964" y="3529403"/>
            <a:ext cx="198815" cy="218045"/>
          </a:xfrm>
          <a:custGeom>
            <a:avLst/>
            <a:gdLst>
              <a:gd name="connsiteX0" fmla="*/ 314616 w 554856"/>
              <a:gd name="connsiteY0" fmla="*/ 256070 h 608519"/>
              <a:gd name="connsiteX1" fmla="*/ 262711 w 554856"/>
              <a:gd name="connsiteY1" fmla="*/ 307611 h 608519"/>
              <a:gd name="connsiteX2" fmla="*/ 241014 w 554856"/>
              <a:gd name="connsiteY2" fmla="*/ 285856 h 608519"/>
              <a:gd name="connsiteX3" fmla="*/ 218289 w 554856"/>
              <a:gd name="connsiteY3" fmla="*/ 308265 h 608519"/>
              <a:gd name="connsiteX4" fmla="*/ 239986 w 554856"/>
              <a:gd name="connsiteY4" fmla="*/ 330020 h 608519"/>
              <a:gd name="connsiteX5" fmla="*/ 262618 w 554856"/>
              <a:gd name="connsiteY5" fmla="*/ 352803 h 608519"/>
              <a:gd name="connsiteX6" fmla="*/ 285250 w 554856"/>
              <a:gd name="connsiteY6" fmla="*/ 330300 h 608519"/>
              <a:gd name="connsiteX7" fmla="*/ 337155 w 554856"/>
              <a:gd name="connsiteY7" fmla="*/ 278760 h 608519"/>
              <a:gd name="connsiteX8" fmla="*/ 261963 w 554856"/>
              <a:gd name="connsiteY8" fmla="*/ 129646 h 608519"/>
              <a:gd name="connsiteX9" fmla="*/ 293387 w 554856"/>
              <a:gd name="connsiteY9" fmla="*/ 129646 h 608519"/>
              <a:gd name="connsiteX10" fmla="*/ 304983 w 554856"/>
              <a:gd name="connsiteY10" fmla="*/ 141224 h 608519"/>
              <a:gd name="connsiteX11" fmla="*/ 304983 w 554856"/>
              <a:gd name="connsiteY11" fmla="*/ 167368 h 608519"/>
              <a:gd name="connsiteX12" fmla="*/ 355485 w 554856"/>
              <a:gd name="connsiteY12" fmla="*/ 188283 h 608519"/>
              <a:gd name="connsiteX13" fmla="*/ 373909 w 554856"/>
              <a:gd name="connsiteY13" fmla="*/ 169796 h 608519"/>
              <a:gd name="connsiteX14" fmla="*/ 390275 w 554856"/>
              <a:gd name="connsiteY14" fmla="*/ 169796 h 608519"/>
              <a:gd name="connsiteX15" fmla="*/ 412440 w 554856"/>
              <a:gd name="connsiteY15" fmla="*/ 192018 h 608519"/>
              <a:gd name="connsiteX16" fmla="*/ 412440 w 554856"/>
              <a:gd name="connsiteY16" fmla="*/ 208264 h 608519"/>
              <a:gd name="connsiteX17" fmla="*/ 394016 w 554856"/>
              <a:gd name="connsiteY17" fmla="*/ 226752 h 608519"/>
              <a:gd name="connsiteX18" fmla="*/ 414965 w 554856"/>
              <a:gd name="connsiteY18" fmla="*/ 277172 h 608519"/>
              <a:gd name="connsiteX19" fmla="*/ 441151 w 554856"/>
              <a:gd name="connsiteY19" fmla="*/ 277172 h 608519"/>
              <a:gd name="connsiteX20" fmla="*/ 452748 w 554856"/>
              <a:gd name="connsiteY20" fmla="*/ 288750 h 608519"/>
              <a:gd name="connsiteX21" fmla="*/ 452748 w 554856"/>
              <a:gd name="connsiteY21" fmla="*/ 320123 h 608519"/>
              <a:gd name="connsiteX22" fmla="*/ 441151 w 554856"/>
              <a:gd name="connsiteY22" fmla="*/ 331701 h 608519"/>
              <a:gd name="connsiteX23" fmla="*/ 414965 w 554856"/>
              <a:gd name="connsiteY23" fmla="*/ 331701 h 608519"/>
              <a:gd name="connsiteX24" fmla="*/ 394016 w 554856"/>
              <a:gd name="connsiteY24" fmla="*/ 382121 h 608519"/>
              <a:gd name="connsiteX25" fmla="*/ 412440 w 554856"/>
              <a:gd name="connsiteY25" fmla="*/ 400515 h 608519"/>
              <a:gd name="connsiteX26" fmla="*/ 412440 w 554856"/>
              <a:gd name="connsiteY26" fmla="*/ 416855 h 608519"/>
              <a:gd name="connsiteX27" fmla="*/ 390275 w 554856"/>
              <a:gd name="connsiteY27" fmla="*/ 438984 h 608519"/>
              <a:gd name="connsiteX28" fmla="*/ 373909 w 554856"/>
              <a:gd name="connsiteY28" fmla="*/ 438984 h 608519"/>
              <a:gd name="connsiteX29" fmla="*/ 355485 w 554856"/>
              <a:gd name="connsiteY29" fmla="*/ 420590 h 608519"/>
              <a:gd name="connsiteX30" fmla="*/ 304983 w 554856"/>
              <a:gd name="connsiteY30" fmla="*/ 441505 h 608519"/>
              <a:gd name="connsiteX31" fmla="*/ 304983 w 554856"/>
              <a:gd name="connsiteY31" fmla="*/ 467649 h 608519"/>
              <a:gd name="connsiteX32" fmla="*/ 293387 w 554856"/>
              <a:gd name="connsiteY32" fmla="*/ 479227 h 608519"/>
              <a:gd name="connsiteX33" fmla="*/ 261963 w 554856"/>
              <a:gd name="connsiteY33" fmla="*/ 479227 h 608519"/>
              <a:gd name="connsiteX34" fmla="*/ 250367 w 554856"/>
              <a:gd name="connsiteY34" fmla="*/ 467649 h 608519"/>
              <a:gd name="connsiteX35" fmla="*/ 250367 w 554856"/>
              <a:gd name="connsiteY35" fmla="*/ 441505 h 608519"/>
              <a:gd name="connsiteX36" fmla="*/ 199865 w 554856"/>
              <a:gd name="connsiteY36" fmla="*/ 420590 h 608519"/>
              <a:gd name="connsiteX37" fmla="*/ 181441 w 554856"/>
              <a:gd name="connsiteY37" fmla="*/ 438984 h 608519"/>
              <a:gd name="connsiteX38" fmla="*/ 165075 w 554856"/>
              <a:gd name="connsiteY38" fmla="*/ 438984 h 608519"/>
              <a:gd name="connsiteX39" fmla="*/ 142910 w 554856"/>
              <a:gd name="connsiteY39" fmla="*/ 416855 h 608519"/>
              <a:gd name="connsiteX40" fmla="*/ 142910 w 554856"/>
              <a:gd name="connsiteY40" fmla="*/ 400515 h 608519"/>
              <a:gd name="connsiteX41" fmla="*/ 161334 w 554856"/>
              <a:gd name="connsiteY41" fmla="*/ 382121 h 608519"/>
              <a:gd name="connsiteX42" fmla="*/ 140385 w 554856"/>
              <a:gd name="connsiteY42" fmla="*/ 331701 h 608519"/>
              <a:gd name="connsiteX43" fmla="*/ 114199 w 554856"/>
              <a:gd name="connsiteY43" fmla="*/ 331701 h 608519"/>
              <a:gd name="connsiteX44" fmla="*/ 102602 w 554856"/>
              <a:gd name="connsiteY44" fmla="*/ 320123 h 608519"/>
              <a:gd name="connsiteX45" fmla="*/ 102602 w 554856"/>
              <a:gd name="connsiteY45" fmla="*/ 288750 h 608519"/>
              <a:gd name="connsiteX46" fmla="*/ 114199 w 554856"/>
              <a:gd name="connsiteY46" fmla="*/ 277172 h 608519"/>
              <a:gd name="connsiteX47" fmla="*/ 140385 w 554856"/>
              <a:gd name="connsiteY47" fmla="*/ 277172 h 608519"/>
              <a:gd name="connsiteX48" fmla="*/ 161334 w 554856"/>
              <a:gd name="connsiteY48" fmla="*/ 226752 h 608519"/>
              <a:gd name="connsiteX49" fmla="*/ 142910 w 554856"/>
              <a:gd name="connsiteY49" fmla="*/ 208264 h 608519"/>
              <a:gd name="connsiteX50" fmla="*/ 142910 w 554856"/>
              <a:gd name="connsiteY50" fmla="*/ 192018 h 608519"/>
              <a:gd name="connsiteX51" fmla="*/ 165075 w 554856"/>
              <a:gd name="connsiteY51" fmla="*/ 169796 h 608519"/>
              <a:gd name="connsiteX52" fmla="*/ 181441 w 554856"/>
              <a:gd name="connsiteY52" fmla="*/ 169796 h 608519"/>
              <a:gd name="connsiteX53" fmla="*/ 199865 w 554856"/>
              <a:gd name="connsiteY53" fmla="*/ 188283 h 608519"/>
              <a:gd name="connsiteX54" fmla="*/ 250367 w 554856"/>
              <a:gd name="connsiteY54" fmla="*/ 167368 h 608519"/>
              <a:gd name="connsiteX55" fmla="*/ 250367 w 554856"/>
              <a:gd name="connsiteY55" fmla="*/ 141224 h 608519"/>
              <a:gd name="connsiteX56" fmla="*/ 261963 w 554856"/>
              <a:gd name="connsiteY56" fmla="*/ 129646 h 608519"/>
              <a:gd name="connsiteX57" fmla="*/ 440285 w 554856"/>
              <a:gd name="connsiteY57" fmla="*/ 80038 h 608519"/>
              <a:gd name="connsiteX58" fmla="*/ 554856 w 554856"/>
              <a:gd name="connsiteY58" fmla="*/ 304248 h 608519"/>
              <a:gd name="connsiteX59" fmla="*/ 277361 w 554856"/>
              <a:gd name="connsiteY59" fmla="*/ 581312 h 608519"/>
              <a:gd name="connsiteX60" fmla="*/ 277361 w 554856"/>
              <a:gd name="connsiteY60" fmla="*/ 605311 h 608519"/>
              <a:gd name="connsiteX61" fmla="*/ 272404 w 554856"/>
              <a:gd name="connsiteY61" fmla="*/ 607926 h 608519"/>
              <a:gd name="connsiteX62" fmla="*/ 207216 w 554856"/>
              <a:gd name="connsiteY62" fmla="*/ 563289 h 608519"/>
              <a:gd name="connsiteX63" fmla="*/ 207216 w 554856"/>
              <a:gd name="connsiteY63" fmla="*/ 558060 h 608519"/>
              <a:gd name="connsiteX64" fmla="*/ 272404 w 554856"/>
              <a:gd name="connsiteY64" fmla="*/ 513330 h 608519"/>
              <a:gd name="connsiteX65" fmla="*/ 277361 w 554856"/>
              <a:gd name="connsiteY65" fmla="*/ 515945 h 608519"/>
              <a:gd name="connsiteX66" fmla="*/ 277361 w 554856"/>
              <a:gd name="connsiteY66" fmla="*/ 539944 h 608519"/>
              <a:gd name="connsiteX67" fmla="*/ 513423 w 554856"/>
              <a:gd name="connsiteY67" fmla="*/ 304248 h 608519"/>
              <a:gd name="connsiteX68" fmla="*/ 415968 w 554856"/>
              <a:gd name="connsiteY68" fmla="*/ 113375 h 608519"/>
              <a:gd name="connsiteX69" fmla="*/ 282452 w 554856"/>
              <a:gd name="connsiteY69" fmla="*/ 594 h 608519"/>
              <a:gd name="connsiteX70" fmla="*/ 347640 w 554856"/>
              <a:gd name="connsiteY70" fmla="*/ 45229 h 608519"/>
              <a:gd name="connsiteX71" fmla="*/ 347640 w 554856"/>
              <a:gd name="connsiteY71" fmla="*/ 50551 h 608519"/>
              <a:gd name="connsiteX72" fmla="*/ 282452 w 554856"/>
              <a:gd name="connsiteY72" fmla="*/ 95279 h 608519"/>
              <a:gd name="connsiteX73" fmla="*/ 277402 w 554856"/>
              <a:gd name="connsiteY73" fmla="*/ 92665 h 608519"/>
              <a:gd name="connsiteX74" fmla="*/ 277402 w 554856"/>
              <a:gd name="connsiteY74" fmla="*/ 68573 h 608519"/>
              <a:gd name="connsiteX75" fmla="*/ 41339 w 554856"/>
              <a:gd name="connsiteY75" fmla="*/ 304259 h 608519"/>
              <a:gd name="connsiteX76" fmla="*/ 138888 w 554856"/>
              <a:gd name="connsiteY76" fmla="*/ 495123 h 608519"/>
              <a:gd name="connsiteX77" fmla="*/ 114571 w 554856"/>
              <a:gd name="connsiteY77" fmla="*/ 528552 h 608519"/>
              <a:gd name="connsiteX78" fmla="*/ 0 w 554856"/>
              <a:gd name="connsiteY78" fmla="*/ 304259 h 608519"/>
              <a:gd name="connsiteX79" fmla="*/ 277402 w 554856"/>
              <a:gd name="connsiteY79" fmla="*/ 27300 h 608519"/>
              <a:gd name="connsiteX80" fmla="*/ 277402 w 554856"/>
              <a:gd name="connsiteY80" fmla="*/ 3209 h 608519"/>
              <a:gd name="connsiteX81" fmla="*/ 282452 w 554856"/>
              <a:gd name="connsiteY81" fmla="*/ 594 h 608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</a:cxnLst>
            <a:rect l="l" t="t" r="r" b="b"/>
            <a:pathLst>
              <a:path w="554856" h="608519">
                <a:moveTo>
                  <a:pt x="314616" y="256070"/>
                </a:moveTo>
                <a:lnTo>
                  <a:pt x="262711" y="307611"/>
                </a:lnTo>
                <a:lnTo>
                  <a:pt x="241014" y="285856"/>
                </a:lnTo>
                <a:lnTo>
                  <a:pt x="218289" y="308265"/>
                </a:lnTo>
                <a:lnTo>
                  <a:pt x="239986" y="330020"/>
                </a:lnTo>
                <a:lnTo>
                  <a:pt x="262618" y="352803"/>
                </a:lnTo>
                <a:lnTo>
                  <a:pt x="285250" y="330300"/>
                </a:lnTo>
                <a:lnTo>
                  <a:pt x="337155" y="278760"/>
                </a:lnTo>
                <a:close/>
                <a:moveTo>
                  <a:pt x="261963" y="129646"/>
                </a:moveTo>
                <a:lnTo>
                  <a:pt x="293387" y="129646"/>
                </a:lnTo>
                <a:cubicBezTo>
                  <a:pt x="299840" y="129646"/>
                  <a:pt x="304983" y="134875"/>
                  <a:pt x="304983" y="141224"/>
                </a:cubicBezTo>
                <a:lnTo>
                  <a:pt x="304983" y="167368"/>
                </a:lnTo>
                <a:cubicBezTo>
                  <a:pt x="323314" y="170916"/>
                  <a:pt x="340428" y="178199"/>
                  <a:pt x="355485" y="188283"/>
                </a:cubicBezTo>
                <a:lnTo>
                  <a:pt x="373909" y="169796"/>
                </a:lnTo>
                <a:cubicBezTo>
                  <a:pt x="378398" y="165314"/>
                  <a:pt x="385786" y="165314"/>
                  <a:pt x="390275" y="169796"/>
                </a:cubicBezTo>
                <a:lnTo>
                  <a:pt x="412440" y="192018"/>
                </a:lnTo>
                <a:cubicBezTo>
                  <a:pt x="416929" y="196500"/>
                  <a:pt x="416929" y="203783"/>
                  <a:pt x="412440" y="208264"/>
                </a:cubicBezTo>
                <a:lnTo>
                  <a:pt x="394016" y="226752"/>
                </a:lnTo>
                <a:cubicBezTo>
                  <a:pt x="404117" y="241691"/>
                  <a:pt x="411318" y="258872"/>
                  <a:pt x="414965" y="277172"/>
                </a:cubicBezTo>
                <a:lnTo>
                  <a:pt x="441151" y="277172"/>
                </a:lnTo>
                <a:cubicBezTo>
                  <a:pt x="447604" y="277172"/>
                  <a:pt x="452748" y="282401"/>
                  <a:pt x="452748" y="288750"/>
                </a:cubicBezTo>
                <a:lnTo>
                  <a:pt x="452748" y="320123"/>
                </a:lnTo>
                <a:cubicBezTo>
                  <a:pt x="452748" y="326565"/>
                  <a:pt x="447511" y="331701"/>
                  <a:pt x="441151" y="331701"/>
                </a:cubicBezTo>
                <a:lnTo>
                  <a:pt x="414965" y="331701"/>
                </a:lnTo>
                <a:cubicBezTo>
                  <a:pt x="411318" y="350002"/>
                  <a:pt x="404117" y="366995"/>
                  <a:pt x="394016" y="382121"/>
                </a:cubicBezTo>
                <a:lnTo>
                  <a:pt x="412440" y="400515"/>
                </a:lnTo>
                <a:cubicBezTo>
                  <a:pt x="416929" y="404997"/>
                  <a:pt x="416929" y="412373"/>
                  <a:pt x="412440" y="416855"/>
                </a:cubicBezTo>
                <a:lnTo>
                  <a:pt x="390275" y="438984"/>
                </a:lnTo>
                <a:cubicBezTo>
                  <a:pt x="385786" y="443466"/>
                  <a:pt x="378398" y="443466"/>
                  <a:pt x="373909" y="438984"/>
                </a:cubicBezTo>
                <a:lnTo>
                  <a:pt x="355485" y="420590"/>
                </a:lnTo>
                <a:cubicBezTo>
                  <a:pt x="340522" y="430674"/>
                  <a:pt x="323314" y="437864"/>
                  <a:pt x="304983" y="441505"/>
                </a:cubicBezTo>
                <a:lnTo>
                  <a:pt x="304983" y="467649"/>
                </a:lnTo>
                <a:cubicBezTo>
                  <a:pt x="304983" y="474092"/>
                  <a:pt x="299746" y="479227"/>
                  <a:pt x="293387" y="479227"/>
                </a:cubicBezTo>
                <a:lnTo>
                  <a:pt x="261963" y="479227"/>
                </a:lnTo>
                <a:cubicBezTo>
                  <a:pt x="255510" y="479227"/>
                  <a:pt x="250367" y="473998"/>
                  <a:pt x="250367" y="467649"/>
                </a:cubicBezTo>
                <a:lnTo>
                  <a:pt x="250367" y="441505"/>
                </a:lnTo>
                <a:cubicBezTo>
                  <a:pt x="232036" y="437864"/>
                  <a:pt x="214922" y="430674"/>
                  <a:pt x="199865" y="420590"/>
                </a:cubicBezTo>
                <a:lnTo>
                  <a:pt x="181441" y="438984"/>
                </a:lnTo>
                <a:cubicBezTo>
                  <a:pt x="176952" y="443466"/>
                  <a:pt x="169564" y="443466"/>
                  <a:pt x="165075" y="438984"/>
                </a:cubicBezTo>
                <a:lnTo>
                  <a:pt x="142910" y="416855"/>
                </a:lnTo>
                <a:cubicBezTo>
                  <a:pt x="138421" y="412373"/>
                  <a:pt x="138421" y="404997"/>
                  <a:pt x="142910" y="400515"/>
                </a:cubicBezTo>
                <a:lnTo>
                  <a:pt x="161334" y="382121"/>
                </a:lnTo>
                <a:cubicBezTo>
                  <a:pt x="151233" y="367182"/>
                  <a:pt x="144032" y="350002"/>
                  <a:pt x="140385" y="331701"/>
                </a:cubicBezTo>
                <a:lnTo>
                  <a:pt x="114199" y="331701"/>
                </a:lnTo>
                <a:cubicBezTo>
                  <a:pt x="107746" y="331701"/>
                  <a:pt x="102602" y="326472"/>
                  <a:pt x="102602" y="320123"/>
                </a:cubicBezTo>
                <a:lnTo>
                  <a:pt x="102602" y="288750"/>
                </a:lnTo>
                <a:cubicBezTo>
                  <a:pt x="102602" y="282214"/>
                  <a:pt x="107839" y="277172"/>
                  <a:pt x="114199" y="277172"/>
                </a:cubicBezTo>
                <a:lnTo>
                  <a:pt x="140385" y="277172"/>
                </a:lnTo>
                <a:cubicBezTo>
                  <a:pt x="144032" y="258872"/>
                  <a:pt x="151233" y="241785"/>
                  <a:pt x="161334" y="226752"/>
                </a:cubicBezTo>
                <a:lnTo>
                  <a:pt x="142910" y="208264"/>
                </a:lnTo>
                <a:cubicBezTo>
                  <a:pt x="138421" y="203783"/>
                  <a:pt x="138421" y="196500"/>
                  <a:pt x="142910" y="192018"/>
                </a:cubicBezTo>
                <a:lnTo>
                  <a:pt x="165075" y="169796"/>
                </a:lnTo>
                <a:cubicBezTo>
                  <a:pt x="169564" y="165314"/>
                  <a:pt x="176952" y="165314"/>
                  <a:pt x="181441" y="169796"/>
                </a:cubicBezTo>
                <a:lnTo>
                  <a:pt x="199865" y="188283"/>
                </a:lnTo>
                <a:cubicBezTo>
                  <a:pt x="214828" y="178199"/>
                  <a:pt x="232036" y="170916"/>
                  <a:pt x="250367" y="167368"/>
                </a:cubicBezTo>
                <a:lnTo>
                  <a:pt x="250367" y="141224"/>
                </a:lnTo>
                <a:cubicBezTo>
                  <a:pt x="250367" y="134688"/>
                  <a:pt x="255604" y="129646"/>
                  <a:pt x="261963" y="129646"/>
                </a:cubicBezTo>
                <a:close/>
                <a:moveTo>
                  <a:pt x="440285" y="80038"/>
                </a:moveTo>
                <a:cubicBezTo>
                  <a:pt x="511927" y="131958"/>
                  <a:pt x="554856" y="215909"/>
                  <a:pt x="554856" y="304248"/>
                </a:cubicBezTo>
                <a:cubicBezTo>
                  <a:pt x="554856" y="457021"/>
                  <a:pt x="430371" y="581312"/>
                  <a:pt x="277361" y="581312"/>
                </a:cubicBezTo>
                <a:lnTo>
                  <a:pt x="277361" y="605311"/>
                </a:lnTo>
                <a:cubicBezTo>
                  <a:pt x="277361" y="607926"/>
                  <a:pt x="274555" y="609420"/>
                  <a:pt x="272404" y="607926"/>
                </a:cubicBezTo>
                <a:lnTo>
                  <a:pt x="207216" y="563289"/>
                </a:lnTo>
                <a:cubicBezTo>
                  <a:pt x="205345" y="561982"/>
                  <a:pt x="205345" y="559274"/>
                  <a:pt x="207216" y="558060"/>
                </a:cubicBezTo>
                <a:lnTo>
                  <a:pt x="272404" y="513330"/>
                </a:lnTo>
                <a:cubicBezTo>
                  <a:pt x="274555" y="511836"/>
                  <a:pt x="277361" y="513330"/>
                  <a:pt x="277361" y="515945"/>
                </a:cubicBezTo>
                <a:lnTo>
                  <a:pt x="277361" y="539944"/>
                </a:lnTo>
                <a:cubicBezTo>
                  <a:pt x="407551" y="539944"/>
                  <a:pt x="513423" y="434236"/>
                  <a:pt x="513423" y="304248"/>
                </a:cubicBezTo>
                <a:cubicBezTo>
                  <a:pt x="513423" y="229076"/>
                  <a:pt x="477041" y="157638"/>
                  <a:pt x="415968" y="113375"/>
                </a:cubicBezTo>
                <a:close/>
                <a:moveTo>
                  <a:pt x="282452" y="594"/>
                </a:moveTo>
                <a:lnTo>
                  <a:pt x="347640" y="45229"/>
                </a:lnTo>
                <a:cubicBezTo>
                  <a:pt x="349511" y="46536"/>
                  <a:pt x="349511" y="49337"/>
                  <a:pt x="347640" y="50551"/>
                </a:cubicBezTo>
                <a:lnTo>
                  <a:pt x="282452" y="95279"/>
                </a:lnTo>
                <a:cubicBezTo>
                  <a:pt x="280301" y="96773"/>
                  <a:pt x="277402" y="95279"/>
                  <a:pt x="277402" y="92665"/>
                </a:cubicBezTo>
                <a:lnTo>
                  <a:pt x="277402" y="68573"/>
                </a:lnTo>
                <a:cubicBezTo>
                  <a:pt x="147212" y="68573"/>
                  <a:pt x="41339" y="174277"/>
                  <a:pt x="41339" y="304259"/>
                </a:cubicBezTo>
                <a:cubicBezTo>
                  <a:pt x="41339" y="379521"/>
                  <a:pt x="77908" y="450862"/>
                  <a:pt x="138888" y="495123"/>
                </a:cubicBezTo>
                <a:lnTo>
                  <a:pt x="114571" y="528552"/>
                </a:lnTo>
                <a:cubicBezTo>
                  <a:pt x="42835" y="476634"/>
                  <a:pt x="0" y="392687"/>
                  <a:pt x="0" y="304259"/>
                </a:cubicBezTo>
                <a:cubicBezTo>
                  <a:pt x="0" y="151493"/>
                  <a:pt x="124391" y="27300"/>
                  <a:pt x="277402" y="27300"/>
                </a:cubicBezTo>
                <a:lnTo>
                  <a:pt x="277402" y="3209"/>
                </a:lnTo>
                <a:cubicBezTo>
                  <a:pt x="277402" y="594"/>
                  <a:pt x="280301" y="-900"/>
                  <a:pt x="282452" y="594"/>
                </a:cubicBezTo>
                <a:close/>
              </a:path>
            </a:pathLst>
          </a:cu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580" tIns="34290" rIns="68580" bIns="34290" rtlCol="0" anchor="ctr">
            <a:normAutofit fontScale="8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zh-CN" altLang="en-US" sz="1350">
              <a:solidFill>
                <a:srgbClr val="FFFFFF"/>
              </a:solidFill>
            </a:endParaRPr>
          </a:p>
        </p:txBody>
      </p:sp>
      <p:sp>
        <p:nvSpPr>
          <p:cNvPr id="37" name="ïş1ïďê"/>
          <p:cNvSpPr/>
          <p:nvPr/>
        </p:nvSpPr>
        <p:spPr>
          <a:xfrm>
            <a:off x="408964" y="4272267"/>
            <a:ext cx="198815" cy="218045"/>
          </a:xfrm>
          <a:custGeom>
            <a:avLst/>
            <a:gdLst>
              <a:gd name="connsiteX0" fmla="*/ 314616 w 554856"/>
              <a:gd name="connsiteY0" fmla="*/ 256070 h 608519"/>
              <a:gd name="connsiteX1" fmla="*/ 262711 w 554856"/>
              <a:gd name="connsiteY1" fmla="*/ 307611 h 608519"/>
              <a:gd name="connsiteX2" fmla="*/ 241014 w 554856"/>
              <a:gd name="connsiteY2" fmla="*/ 285856 h 608519"/>
              <a:gd name="connsiteX3" fmla="*/ 218289 w 554856"/>
              <a:gd name="connsiteY3" fmla="*/ 308265 h 608519"/>
              <a:gd name="connsiteX4" fmla="*/ 239986 w 554856"/>
              <a:gd name="connsiteY4" fmla="*/ 330020 h 608519"/>
              <a:gd name="connsiteX5" fmla="*/ 262618 w 554856"/>
              <a:gd name="connsiteY5" fmla="*/ 352803 h 608519"/>
              <a:gd name="connsiteX6" fmla="*/ 285250 w 554856"/>
              <a:gd name="connsiteY6" fmla="*/ 330300 h 608519"/>
              <a:gd name="connsiteX7" fmla="*/ 337155 w 554856"/>
              <a:gd name="connsiteY7" fmla="*/ 278760 h 608519"/>
              <a:gd name="connsiteX8" fmla="*/ 261963 w 554856"/>
              <a:gd name="connsiteY8" fmla="*/ 129646 h 608519"/>
              <a:gd name="connsiteX9" fmla="*/ 293387 w 554856"/>
              <a:gd name="connsiteY9" fmla="*/ 129646 h 608519"/>
              <a:gd name="connsiteX10" fmla="*/ 304983 w 554856"/>
              <a:gd name="connsiteY10" fmla="*/ 141224 h 608519"/>
              <a:gd name="connsiteX11" fmla="*/ 304983 w 554856"/>
              <a:gd name="connsiteY11" fmla="*/ 167368 h 608519"/>
              <a:gd name="connsiteX12" fmla="*/ 355485 w 554856"/>
              <a:gd name="connsiteY12" fmla="*/ 188283 h 608519"/>
              <a:gd name="connsiteX13" fmla="*/ 373909 w 554856"/>
              <a:gd name="connsiteY13" fmla="*/ 169796 h 608519"/>
              <a:gd name="connsiteX14" fmla="*/ 390275 w 554856"/>
              <a:gd name="connsiteY14" fmla="*/ 169796 h 608519"/>
              <a:gd name="connsiteX15" fmla="*/ 412440 w 554856"/>
              <a:gd name="connsiteY15" fmla="*/ 192018 h 608519"/>
              <a:gd name="connsiteX16" fmla="*/ 412440 w 554856"/>
              <a:gd name="connsiteY16" fmla="*/ 208264 h 608519"/>
              <a:gd name="connsiteX17" fmla="*/ 394016 w 554856"/>
              <a:gd name="connsiteY17" fmla="*/ 226752 h 608519"/>
              <a:gd name="connsiteX18" fmla="*/ 414965 w 554856"/>
              <a:gd name="connsiteY18" fmla="*/ 277172 h 608519"/>
              <a:gd name="connsiteX19" fmla="*/ 441151 w 554856"/>
              <a:gd name="connsiteY19" fmla="*/ 277172 h 608519"/>
              <a:gd name="connsiteX20" fmla="*/ 452748 w 554856"/>
              <a:gd name="connsiteY20" fmla="*/ 288750 h 608519"/>
              <a:gd name="connsiteX21" fmla="*/ 452748 w 554856"/>
              <a:gd name="connsiteY21" fmla="*/ 320123 h 608519"/>
              <a:gd name="connsiteX22" fmla="*/ 441151 w 554856"/>
              <a:gd name="connsiteY22" fmla="*/ 331701 h 608519"/>
              <a:gd name="connsiteX23" fmla="*/ 414965 w 554856"/>
              <a:gd name="connsiteY23" fmla="*/ 331701 h 608519"/>
              <a:gd name="connsiteX24" fmla="*/ 394016 w 554856"/>
              <a:gd name="connsiteY24" fmla="*/ 382121 h 608519"/>
              <a:gd name="connsiteX25" fmla="*/ 412440 w 554856"/>
              <a:gd name="connsiteY25" fmla="*/ 400515 h 608519"/>
              <a:gd name="connsiteX26" fmla="*/ 412440 w 554856"/>
              <a:gd name="connsiteY26" fmla="*/ 416855 h 608519"/>
              <a:gd name="connsiteX27" fmla="*/ 390275 w 554856"/>
              <a:gd name="connsiteY27" fmla="*/ 438984 h 608519"/>
              <a:gd name="connsiteX28" fmla="*/ 373909 w 554856"/>
              <a:gd name="connsiteY28" fmla="*/ 438984 h 608519"/>
              <a:gd name="connsiteX29" fmla="*/ 355485 w 554856"/>
              <a:gd name="connsiteY29" fmla="*/ 420590 h 608519"/>
              <a:gd name="connsiteX30" fmla="*/ 304983 w 554856"/>
              <a:gd name="connsiteY30" fmla="*/ 441505 h 608519"/>
              <a:gd name="connsiteX31" fmla="*/ 304983 w 554856"/>
              <a:gd name="connsiteY31" fmla="*/ 467649 h 608519"/>
              <a:gd name="connsiteX32" fmla="*/ 293387 w 554856"/>
              <a:gd name="connsiteY32" fmla="*/ 479227 h 608519"/>
              <a:gd name="connsiteX33" fmla="*/ 261963 w 554856"/>
              <a:gd name="connsiteY33" fmla="*/ 479227 h 608519"/>
              <a:gd name="connsiteX34" fmla="*/ 250367 w 554856"/>
              <a:gd name="connsiteY34" fmla="*/ 467649 h 608519"/>
              <a:gd name="connsiteX35" fmla="*/ 250367 w 554856"/>
              <a:gd name="connsiteY35" fmla="*/ 441505 h 608519"/>
              <a:gd name="connsiteX36" fmla="*/ 199865 w 554856"/>
              <a:gd name="connsiteY36" fmla="*/ 420590 h 608519"/>
              <a:gd name="connsiteX37" fmla="*/ 181441 w 554856"/>
              <a:gd name="connsiteY37" fmla="*/ 438984 h 608519"/>
              <a:gd name="connsiteX38" fmla="*/ 165075 w 554856"/>
              <a:gd name="connsiteY38" fmla="*/ 438984 h 608519"/>
              <a:gd name="connsiteX39" fmla="*/ 142910 w 554856"/>
              <a:gd name="connsiteY39" fmla="*/ 416855 h 608519"/>
              <a:gd name="connsiteX40" fmla="*/ 142910 w 554856"/>
              <a:gd name="connsiteY40" fmla="*/ 400515 h 608519"/>
              <a:gd name="connsiteX41" fmla="*/ 161334 w 554856"/>
              <a:gd name="connsiteY41" fmla="*/ 382121 h 608519"/>
              <a:gd name="connsiteX42" fmla="*/ 140385 w 554856"/>
              <a:gd name="connsiteY42" fmla="*/ 331701 h 608519"/>
              <a:gd name="connsiteX43" fmla="*/ 114199 w 554856"/>
              <a:gd name="connsiteY43" fmla="*/ 331701 h 608519"/>
              <a:gd name="connsiteX44" fmla="*/ 102602 w 554856"/>
              <a:gd name="connsiteY44" fmla="*/ 320123 h 608519"/>
              <a:gd name="connsiteX45" fmla="*/ 102602 w 554856"/>
              <a:gd name="connsiteY45" fmla="*/ 288750 h 608519"/>
              <a:gd name="connsiteX46" fmla="*/ 114199 w 554856"/>
              <a:gd name="connsiteY46" fmla="*/ 277172 h 608519"/>
              <a:gd name="connsiteX47" fmla="*/ 140385 w 554856"/>
              <a:gd name="connsiteY47" fmla="*/ 277172 h 608519"/>
              <a:gd name="connsiteX48" fmla="*/ 161334 w 554856"/>
              <a:gd name="connsiteY48" fmla="*/ 226752 h 608519"/>
              <a:gd name="connsiteX49" fmla="*/ 142910 w 554856"/>
              <a:gd name="connsiteY49" fmla="*/ 208264 h 608519"/>
              <a:gd name="connsiteX50" fmla="*/ 142910 w 554856"/>
              <a:gd name="connsiteY50" fmla="*/ 192018 h 608519"/>
              <a:gd name="connsiteX51" fmla="*/ 165075 w 554856"/>
              <a:gd name="connsiteY51" fmla="*/ 169796 h 608519"/>
              <a:gd name="connsiteX52" fmla="*/ 181441 w 554856"/>
              <a:gd name="connsiteY52" fmla="*/ 169796 h 608519"/>
              <a:gd name="connsiteX53" fmla="*/ 199865 w 554856"/>
              <a:gd name="connsiteY53" fmla="*/ 188283 h 608519"/>
              <a:gd name="connsiteX54" fmla="*/ 250367 w 554856"/>
              <a:gd name="connsiteY54" fmla="*/ 167368 h 608519"/>
              <a:gd name="connsiteX55" fmla="*/ 250367 w 554856"/>
              <a:gd name="connsiteY55" fmla="*/ 141224 h 608519"/>
              <a:gd name="connsiteX56" fmla="*/ 261963 w 554856"/>
              <a:gd name="connsiteY56" fmla="*/ 129646 h 608519"/>
              <a:gd name="connsiteX57" fmla="*/ 440285 w 554856"/>
              <a:gd name="connsiteY57" fmla="*/ 80038 h 608519"/>
              <a:gd name="connsiteX58" fmla="*/ 554856 w 554856"/>
              <a:gd name="connsiteY58" fmla="*/ 304248 h 608519"/>
              <a:gd name="connsiteX59" fmla="*/ 277361 w 554856"/>
              <a:gd name="connsiteY59" fmla="*/ 581312 h 608519"/>
              <a:gd name="connsiteX60" fmla="*/ 277361 w 554856"/>
              <a:gd name="connsiteY60" fmla="*/ 605311 h 608519"/>
              <a:gd name="connsiteX61" fmla="*/ 272404 w 554856"/>
              <a:gd name="connsiteY61" fmla="*/ 607926 h 608519"/>
              <a:gd name="connsiteX62" fmla="*/ 207216 w 554856"/>
              <a:gd name="connsiteY62" fmla="*/ 563289 h 608519"/>
              <a:gd name="connsiteX63" fmla="*/ 207216 w 554856"/>
              <a:gd name="connsiteY63" fmla="*/ 558060 h 608519"/>
              <a:gd name="connsiteX64" fmla="*/ 272404 w 554856"/>
              <a:gd name="connsiteY64" fmla="*/ 513330 h 608519"/>
              <a:gd name="connsiteX65" fmla="*/ 277361 w 554856"/>
              <a:gd name="connsiteY65" fmla="*/ 515945 h 608519"/>
              <a:gd name="connsiteX66" fmla="*/ 277361 w 554856"/>
              <a:gd name="connsiteY66" fmla="*/ 539944 h 608519"/>
              <a:gd name="connsiteX67" fmla="*/ 513423 w 554856"/>
              <a:gd name="connsiteY67" fmla="*/ 304248 h 608519"/>
              <a:gd name="connsiteX68" fmla="*/ 415968 w 554856"/>
              <a:gd name="connsiteY68" fmla="*/ 113375 h 608519"/>
              <a:gd name="connsiteX69" fmla="*/ 282452 w 554856"/>
              <a:gd name="connsiteY69" fmla="*/ 594 h 608519"/>
              <a:gd name="connsiteX70" fmla="*/ 347640 w 554856"/>
              <a:gd name="connsiteY70" fmla="*/ 45229 h 608519"/>
              <a:gd name="connsiteX71" fmla="*/ 347640 w 554856"/>
              <a:gd name="connsiteY71" fmla="*/ 50551 h 608519"/>
              <a:gd name="connsiteX72" fmla="*/ 282452 w 554856"/>
              <a:gd name="connsiteY72" fmla="*/ 95279 h 608519"/>
              <a:gd name="connsiteX73" fmla="*/ 277402 w 554856"/>
              <a:gd name="connsiteY73" fmla="*/ 92665 h 608519"/>
              <a:gd name="connsiteX74" fmla="*/ 277402 w 554856"/>
              <a:gd name="connsiteY74" fmla="*/ 68573 h 608519"/>
              <a:gd name="connsiteX75" fmla="*/ 41339 w 554856"/>
              <a:gd name="connsiteY75" fmla="*/ 304259 h 608519"/>
              <a:gd name="connsiteX76" fmla="*/ 138888 w 554856"/>
              <a:gd name="connsiteY76" fmla="*/ 495123 h 608519"/>
              <a:gd name="connsiteX77" fmla="*/ 114571 w 554856"/>
              <a:gd name="connsiteY77" fmla="*/ 528552 h 608519"/>
              <a:gd name="connsiteX78" fmla="*/ 0 w 554856"/>
              <a:gd name="connsiteY78" fmla="*/ 304259 h 608519"/>
              <a:gd name="connsiteX79" fmla="*/ 277402 w 554856"/>
              <a:gd name="connsiteY79" fmla="*/ 27300 h 608519"/>
              <a:gd name="connsiteX80" fmla="*/ 277402 w 554856"/>
              <a:gd name="connsiteY80" fmla="*/ 3209 h 608519"/>
              <a:gd name="connsiteX81" fmla="*/ 282452 w 554856"/>
              <a:gd name="connsiteY81" fmla="*/ 594 h 608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</a:cxnLst>
            <a:rect l="l" t="t" r="r" b="b"/>
            <a:pathLst>
              <a:path w="554856" h="608519">
                <a:moveTo>
                  <a:pt x="314616" y="256070"/>
                </a:moveTo>
                <a:lnTo>
                  <a:pt x="262711" y="307611"/>
                </a:lnTo>
                <a:lnTo>
                  <a:pt x="241014" y="285856"/>
                </a:lnTo>
                <a:lnTo>
                  <a:pt x="218289" y="308265"/>
                </a:lnTo>
                <a:lnTo>
                  <a:pt x="239986" y="330020"/>
                </a:lnTo>
                <a:lnTo>
                  <a:pt x="262618" y="352803"/>
                </a:lnTo>
                <a:lnTo>
                  <a:pt x="285250" y="330300"/>
                </a:lnTo>
                <a:lnTo>
                  <a:pt x="337155" y="278760"/>
                </a:lnTo>
                <a:close/>
                <a:moveTo>
                  <a:pt x="261963" y="129646"/>
                </a:moveTo>
                <a:lnTo>
                  <a:pt x="293387" y="129646"/>
                </a:lnTo>
                <a:cubicBezTo>
                  <a:pt x="299840" y="129646"/>
                  <a:pt x="304983" y="134875"/>
                  <a:pt x="304983" y="141224"/>
                </a:cubicBezTo>
                <a:lnTo>
                  <a:pt x="304983" y="167368"/>
                </a:lnTo>
                <a:cubicBezTo>
                  <a:pt x="323314" y="170916"/>
                  <a:pt x="340428" y="178199"/>
                  <a:pt x="355485" y="188283"/>
                </a:cubicBezTo>
                <a:lnTo>
                  <a:pt x="373909" y="169796"/>
                </a:lnTo>
                <a:cubicBezTo>
                  <a:pt x="378398" y="165314"/>
                  <a:pt x="385786" y="165314"/>
                  <a:pt x="390275" y="169796"/>
                </a:cubicBezTo>
                <a:lnTo>
                  <a:pt x="412440" y="192018"/>
                </a:lnTo>
                <a:cubicBezTo>
                  <a:pt x="416929" y="196500"/>
                  <a:pt x="416929" y="203783"/>
                  <a:pt x="412440" y="208264"/>
                </a:cubicBezTo>
                <a:lnTo>
                  <a:pt x="394016" y="226752"/>
                </a:lnTo>
                <a:cubicBezTo>
                  <a:pt x="404117" y="241691"/>
                  <a:pt x="411318" y="258872"/>
                  <a:pt x="414965" y="277172"/>
                </a:cubicBezTo>
                <a:lnTo>
                  <a:pt x="441151" y="277172"/>
                </a:lnTo>
                <a:cubicBezTo>
                  <a:pt x="447604" y="277172"/>
                  <a:pt x="452748" y="282401"/>
                  <a:pt x="452748" y="288750"/>
                </a:cubicBezTo>
                <a:lnTo>
                  <a:pt x="452748" y="320123"/>
                </a:lnTo>
                <a:cubicBezTo>
                  <a:pt x="452748" y="326565"/>
                  <a:pt x="447511" y="331701"/>
                  <a:pt x="441151" y="331701"/>
                </a:cubicBezTo>
                <a:lnTo>
                  <a:pt x="414965" y="331701"/>
                </a:lnTo>
                <a:cubicBezTo>
                  <a:pt x="411318" y="350002"/>
                  <a:pt x="404117" y="366995"/>
                  <a:pt x="394016" y="382121"/>
                </a:cubicBezTo>
                <a:lnTo>
                  <a:pt x="412440" y="400515"/>
                </a:lnTo>
                <a:cubicBezTo>
                  <a:pt x="416929" y="404997"/>
                  <a:pt x="416929" y="412373"/>
                  <a:pt x="412440" y="416855"/>
                </a:cubicBezTo>
                <a:lnTo>
                  <a:pt x="390275" y="438984"/>
                </a:lnTo>
                <a:cubicBezTo>
                  <a:pt x="385786" y="443466"/>
                  <a:pt x="378398" y="443466"/>
                  <a:pt x="373909" y="438984"/>
                </a:cubicBezTo>
                <a:lnTo>
                  <a:pt x="355485" y="420590"/>
                </a:lnTo>
                <a:cubicBezTo>
                  <a:pt x="340522" y="430674"/>
                  <a:pt x="323314" y="437864"/>
                  <a:pt x="304983" y="441505"/>
                </a:cubicBezTo>
                <a:lnTo>
                  <a:pt x="304983" y="467649"/>
                </a:lnTo>
                <a:cubicBezTo>
                  <a:pt x="304983" y="474092"/>
                  <a:pt x="299746" y="479227"/>
                  <a:pt x="293387" y="479227"/>
                </a:cubicBezTo>
                <a:lnTo>
                  <a:pt x="261963" y="479227"/>
                </a:lnTo>
                <a:cubicBezTo>
                  <a:pt x="255510" y="479227"/>
                  <a:pt x="250367" y="473998"/>
                  <a:pt x="250367" y="467649"/>
                </a:cubicBezTo>
                <a:lnTo>
                  <a:pt x="250367" y="441505"/>
                </a:lnTo>
                <a:cubicBezTo>
                  <a:pt x="232036" y="437864"/>
                  <a:pt x="214922" y="430674"/>
                  <a:pt x="199865" y="420590"/>
                </a:cubicBezTo>
                <a:lnTo>
                  <a:pt x="181441" y="438984"/>
                </a:lnTo>
                <a:cubicBezTo>
                  <a:pt x="176952" y="443466"/>
                  <a:pt x="169564" y="443466"/>
                  <a:pt x="165075" y="438984"/>
                </a:cubicBezTo>
                <a:lnTo>
                  <a:pt x="142910" y="416855"/>
                </a:lnTo>
                <a:cubicBezTo>
                  <a:pt x="138421" y="412373"/>
                  <a:pt x="138421" y="404997"/>
                  <a:pt x="142910" y="400515"/>
                </a:cubicBezTo>
                <a:lnTo>
                  <a:pt x="161334" y="382121"/>
                </a:lnTo>
                <a:cubicBezTo>
                  <a:pt x="151233" y="367182"/>
                  <a:pt x="144032" y="350002"/>
                  <a:pt x="140385" y="331701"/>
                </a:cubicBezTo>
                <a:lnTo>
                  <a:pt x="114199" y="331701"/>
                </a:lnTo>
                <a:cubicBezTo>
                  <a:pt x="107746" y="331701"/>
                  <a:pt x="102602" y="326472"/>
                  <a:pt x="102602" y="320123"/>
                </a:cubicBezTo>
                <a:lnTo>
                  <a:pt x="102602" y="288750"/>
                </a:lnTo>
                <a:cubicBezTo>
                  <a:pt x="102602" y="282214"/>
                  <a:pt x="107839" y="277172"/>
                  <a:pt x="114199" y="277172"/>
                </a:cubicBezTo>
                <a:lnTo>
                  <a:pt x="140385" y="277172"/>
                </a:lnTo>
                <a:cubicBezTo>
                  <a:pt x="144032" y="258872"/>
                  <a:pt x="151233" y="241785"/>
                  <a:pt x="161334" y="226752"/>
                </a:cubicBezTo>
                <a:lnTo>
                  <a:pt x="142910" y="208264"/>
                </a:lnTo>
                <a:cubicBezTo>
                  <a:pt x="138421" y="203783"/>
                  <a:pt x="138421" y="196500"/>
                  <a:pt x="142910" y="192018"/>
                </a:cubicBezTo>
                <a:lnTo>
                  <a:pt x="165075" y="169796"/>
                </a:lnTo>
                <a:cubicBezTo>
                  <a:pt x="169564" y="165314"/>
                  <a:pt x="176952" y="165314"/>
                  <a:pt x="181441" y="169796"/>
                </a:cubicBezTo>
                <a:lnTo>
                  <a:pt x="199865" y="188283"/>
                </a:lnTo>
                <a:cubicBezTo>
                  <a:pt x="214828" y="178199"/>
                  <a:pt x="232036" y="170916"/>
                  <a:pt x="250367" y="167368"/>
                </a:cubicBezTo>
                <a:lnTo>
                  <a:pt x="250367" y="141224"/>
                </a:lnTo>
                <a:cubicBezTo>
                  <a:pt x="250367" y="134688"/>
                  <a:pt x="255604" y="129646"/>
                  <a:pt x="261963" y="129646"/>
                </a:cubicBezTo>
                <a:close/>
                <a:moveTo>
                  <a:pt x="440285" y="80038"/>
                </a:moveTo>
                <a:cubicBezTo>
                  <a:pt x="511927" y="131958"/>
                  <a:pt x="554856" y="215909"/>
                  <a:pt x="554856" y="304248"/>
                </a:cubicBezTo>
                <a:cubicBezTo>
                  <a:pt x="554856" y="457021"/>
                  <a:pt x="430371" y="581312"/>
                  <a:pt x="277361" y="581312"/>
                </a:cubicBezTo>
                <a:lnTo>
                  <a:pt x="277361" y="605311"/>
                </a:lnTo>
                <a:cubicBezTo>
                  <a:pt x="277361" y="607926"/>
                  <a:pt x="274555" y="609420"/>
                  <a:pt x="272404" y="607926"/>
                </a:cubicBezTo>
                <a:lnTo>
                  <a:pt x="207216" y="563289"/>
                </a:lnTo>
                <a:cubicBezTo>
                  <a:pt x="205345" y="561982"/>
                  <a:pt x="205345" y="559274"/>
                  <a:pt x="207216" y="558060"/>
                </a:cubicBezTo>
                <a:lnTo>
                  <a:pt x="272404" y="513330"/>
                </a:lnTo>
                <a:cubicBezTo>
                  <a:pt x="274555" y="511836"/>
                  <a:pt x="277361" y="513330"/>
                  <a:pt x="277361" y="515945"/>
                </a:cubicBezTo>
                <a:lnTo>
                  <a:pt x="277361" y="539944"/>
                </a:lnTo>
                <a:cubicBezTo>
                  <a:pt x="407551" y="539944"/>
                  <a:pt x="513423" y="434236"/>
                  <a:pt x="513423" y="304248"/>
                </a:cubicBezTo>
                <a:cubicBezTo>
                  <a:pt x="513423" y="229076"/>
                  <a:pt x="477041" y="157638"/>
                  <a:pt x="415968" y="113375"/>
                </a:cubicBezTo>
                <a:close/>
                <a:moveTo>
                  <a:pt x="282452" y="594"/>
                </a:moveTo>
                <a:lnTo>
                  <a:pt x="347640" y="45229"/>
                </a:lnTo>
                <a:cubicBezTo>
                  <a:pt x="349511" y="46536"/>
                  <a:pt x="349511" y="49337"/>
                  <a:pt x="347640" y="50551"/>
                </a:cubicBezTo>
                <a:lnTo>
                  <a:pt x="282452" y="95279"/>
                </a:lnTo>
                <a:cubicBezTo>
                  <a:pt x="280301" y="96773"/>
                  <a:pt x="277402" y="95279"/>
                  <a:pt x="277402" y="92665"/>
                </a:cubicBezTo>
                <a:lnTo>
                  <a:pt x="277402" y="68573"/>
                </a:lnTo>
                <a:cubicBezTo>
                  <a:pt x="147212" y="68573"/>
                  <a:pt x="41339" y="174277"/>
                  <a:pt x="41339" y="304259"/>
                </a:cubicBezTo>
                <a:cubicBezTo>
                  <a:pt x="41339" y="379521"/>
                  <a:pt x="77908" y="450862"/>
                  <a:pt x="138888" y="495123"/>
                </a:cubicBezTo>
                <a:lnTo>
                  <a:pt x="114571" y="528552"/>
                </a:lnTo>
                <a:cubicBezTo>
                  <a:pt x="42835" y="476634"/>
                  <a:pt x="0" y="392687"/>
                  <a:pt x="0" y="304259"/>
                </a:cubicBezTo>
                <a:cubicBezTo>
                  <a:pt x="0" y="151493"/>
                  <a:pt x="124391" y="27300"/>
                  <a:pt x="277402" y="27300"/>
                </a:cubicBezTo>
                <a:lnTo>
                  <a:pt x="277402" y="3209"/>
                </a:lnTo>
                <a:cubicBezTo>
                  <a:pt x="277402" y="594"/>
                  <a:pt x="280301" y="-900"/>
                  <a:pt x="282452" y="594"/>
                </a:cubicBezTo>
                <a:close/>
              </a:path>
            </a:pathLst>
          </a:cu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580" tIns="34290" rIns="68580" bIns="34290" rtlCol="0" anchor="ctr">
            <a:normAutofit fontScale="8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zh-CN" altLang="en-US" sz="1350">
              <a:solidFill>
                <a:srgbClr val="FFFFFF"/>
              </a:solidFill>
            </a:endParaRPr>
          </a:p>
        </p:txBody>
      </p:sp>
      <p:sp>
        <p:nvSpPr>
          <p:cNvPr id="38" name="ïṣḷíḋe"/>
          <p:cNvSpPr/>
          <p:nvPr/>
        </p:nvSpPr>
        <p:spPr>
          <a:xfrm>
            <a:off x="331490" y="2842911"/>
            <a:ext cx="353765" cy="353765"/>
          </a:xfrm>
          <a:prstGeom prst="ellipse">
            <a:avLst/>
          </a:prstGeom>
          <a:solidFill>
            <a:schemeClr val="bg1">
              <a:lumMod val="65000"/>
            </a:schemeClr>
          </a:solidFill>
          <a:ln w="190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580" tIns="34290" rIns="68580" bIns="34290" rtlCol="0" anchor="ctr">
            <a:normAutofit fontScale="925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zh-CN" altLang="en-US" sz="1350">
              <a:solidFill>
                <a:srgbClr val="FFFFFF"/>
              </a:solidFill>
            </a:endParaRPr>
          </a:p>
        </p:txBody>
      </p:sp>
      <p:sp>
        <p:nvSpPr>
          <p:cNvPr id="39" name="íṡḻídé"/>
          <p:cNvSpPr/>
          <p:nvPr/>
        </p:nvSpPr>
        <p:spPr>
          <a:xfrm>
            <a:off x="408964" y="2910771"/>
            <a:ext cx="198815" cy="218045"/>
          </a:xfrm>
          <a:custGeom>
            <a:avLst/>
            <a:gdLst>
              <a:gd name="connsiteX0" fmla="*/ 314616 w 554856"/>
              <a:gd name="connsiteY0" fmla="*/ 256070 h 608519"/>
              <a:gd name="connsiteX1" fmla="*/ 262711 w 554856"/>
              <a:gd name="connsiteY1" fmla="*/ 307611 h 608519"/>
              <a:gd name="connsiteX2" fmla="*/ 241014 w 554856"/>
              <a:gd name="connsiteY2" fmla="*/ 285856 h 608519"/>
              <a:gd name="connsiteX3" fmla="*/ 218289 w 554856"/>
              <a:gd name="connsiteY3" fmla="*/ 308265 h 608519"/>
              <a:gd name="connsiteX4" fmla="*/ 239986 w 554856"/>
              <a:gd name="connsiteY4" fmla="*/ 330020 h 608519"/>
              <a:gd name="connsiteX5" fmla="*/ 262618 w 554856"/>
              <a:gd name="connsiteY5" fmla="*/ 352803 h 608519"/>
              <a:gd name="connsiteX6" fmla="*/ 285250 w 554856"/>
              <a:gd name="connsiteY6" fmla="*/ 330300 h 608519"/>
              <a:gd name="connsiteX7" fmla="*/ 337155 w 554856"/>
              <a:gd name="connsiteY7" fmla="*/ 278760 h 608519"/>
              <a:gd name="connsiteX8" fmla="*/ 261963 w 554856"/>
              <a:gd name="connsiteY8" fmla="*/ 129646 h 608519"/>
              <a:gd name="connsiteX9" fmla="*/ 293387 w 554856"/>
              <a:gd name="connsiteY9" fmla="*/ 129646 h 608519"/>
              <a:gd name="connsiteX10" fmla="*/ 304983 w 554856"/>
              <a:gd name="connsiteY10" fmla="*/ 141224 h 608519"/>
              <a:gd name="connsiteX11" fmla="*/ 304983 w 554856"/>
              <a:gd name="connsiteY11" fmla="*/ 167368 h 608519"/>
              <a:gd name="connsiteX12" fmla="*/ 355485 w 554856"/>
              <a:gd name="connsiteY12" fmla="*/ 188283 h 608519"/>
              <a:gd name="connsiteX13" fmla="*/ 373909 w 554856"/>
              <a:gd name="connsiteY13" fmla="*/ 169796 h 608519"/>
              <a:gd name="connsiteX14" fmla="*/ 390275 w 554856"/>
              <a:gd name="connsiteY14" fmla="*/ 169796 h 608519"/>
              <a:gd name="connsiteX15" fmla="*/ 412440 w 554856"/>
              <a:gd name="connsiteY15" fmla="*/ 192018 h 608519"/>
              <a:gd name="connsiteX16" fmla="*/ 412440 w 554856"/>
              <a:gd name="connsiteY16" fmla="*/ 208264 h 608519"/>
              <a:gd name="connsiteX17" fmla="*/ 394016 w 554856"/>
              <a:gd name="connsiteY17" fmla="*/ 226752 h 608519"/>
              <a:gd name="connsiteX18" fmla="*/ 414965 w 554856"/>
              <a:gd name="connsiteY18" fmla="*/ 277172 h 608519"/>
              <a:gd name="connsiteX19" fmla="*/ 441151 w 554856"/>
              <a:gd name="connsiteY19" fmla="*/ 277172 h 608519"/>
              <a:gd name="connsiteX20" fmla="*/ 452748 w 554856"/>
              <a:gd name="connsiteY20" fmla="*/ 288750 h 608519"/>
              <a:gd name="connsiteX21" fmla="*/ 452748 w 554856"/>
              <a:gd name="connsiteY21" fmla="*/ 320123 h 608519"/>
              <a:gd name="connsiteX22" fmla="*/ 441151 w 554856"/>
              <a:gd name="connsiteY22" fmla="*/ 331701 h 608519"/>
              <a:gd name="connsiteX23" fmla="*/ 414965 w 554856"/>
              <a:gd name="connsiteY23" fmla="*/ 331701 h 608519"/>
              <a:gd name="connsiteX24" fmla="*/ 394016 w 554856"/>
              <a:gd name="connsiteY24" fmla="*/ 382121 h 608519"/>
              <a:gd name="connsiteX25" fmla="*/ 412440 w 554856"/>
              <a:gd name="connsiteY25" fmla="*/ 400515 h 608519"/>
              <a:gd name="connsiteX26" fmla="*/ 412440 w 554856"/>
              <a:gd name="connsiteY26" fmla="*/ 416855 h 608519"/>
              <a:gd name="connsiteX27" fmla="*/ 390275 w 554856"/>
              <a:gd name="connsiteY27" fmla="*/ 438984 h 608519"/>
              <a:gd name="connsiteX28" fmla="*/ 373909 w 554856"/>
              <a:gd name="connsiteY28" fmla="*/ 438984 h 608519"/>
              <a:gd name="connsiteX29" fmla="*/ 355485 w 554856"/>
              <a:gd name="connsiteY29" fmla="*/ 420590 h 608519"/>
              <a:gd name="connsiteX30" fmla="*/ 304983 w 554856"/>
              <a:gd name="connsiteY30" fmla="*/ 441505 h 608519"/>
              <a:gd name="connsiteX31" fmla="*/ 304983 w 554856"/>
              <a:gd name="connsiteY31" fmla="*/ 467649 h 608519"/>
              <a:gd name="connsiteX32" fmla="*/ 293387 w 554856"/>
              <a:gd name="connsiteY32" fmla="*/ 479227 h 608519"/>
              <a:gd name="connsiteX33" fmla="*/ 261963 w 554856"/>
              <a:gd name="connsiteY33" fmla="*/ 479227 h 608519"/>
              <a:gd name="connsiteX34" fmla="*/ 250367 w 554856"/>
              <a:gd name="connsiteY34" fmla="*/ 467649 h 608519"/>
              <a:gd name="connsiteX35" fmla="*/ 250367 w 554856"/>
              <a:gd name="connsiteY35" fmla="*/ 441505 h 608519"/>
              <a:gd name="connsiteX36" fmla="*/ 199865 w 554856"/>
              <a:gd name="connsiteY36" fmla="*/ 420590 h 608519"/>
              <a:gd name="connsiteX37" fmla="*/ 181441 w 554856"/>
              <a:gd name="connsiteY37" fmla="*/ 438984 h 608519"/>
              <a:gd name="connsiteX38" fmla="*/ 165075 w 554856"/>
              <a:gd name="connsiteY38" fmla="*/ 438984 h 608519"/>
              <a:gd name="connsiteX39" fmla="*/ 142910 w 554856"/>
              <a:gd name="connsiteY39" fmla="*/ 416855 h 608519"/>
              <a:gd name="connsiteX40" fmla="*/ 142910 w 554856"/>
              <a:gd name="connsiteY40" fmla="*/ 400515 h 608519"/>
              <a:gd name="connsiteX41" fmla="*/ 161334 w 554856"/>
              <a:gd name="connsiteY41" fmla="*/ 382121 h 608519"/>
              <a:gd name="connsiteX42" fmla="*/ 140385 w 554856"/>
              <a:gd name="connsiteY42" fmla="*/ 331701 h 608519"/>
              <a:gd name="connsiteX43" fmla="*/ 114199 w 554856"/>
              <a:gd name="connsiteY43" fmla="*/ 331701 h 608519"/>
              <a:gd name="connsiteX44" fmla="*/ 102602 w 554856"/>
              <a:gd name="connsiteY44" fmla="*/ 320123 h 608519"/>
              <a:gd name="connsiteX45" fmla="*/ 102602 w 554856"/>
              <a:gd name="connsiteY45" fmla="*/ 288750 h 608519"/>
              <a:gd name="connsiteX46" fmla="*/ 114199 w 554856"/>
              <a:gd name="connsiteY46" fmla="*/ 277172 h 608519"/>
              <a:gd name="connsiteX47" fmla="*/ 140385 w 554856"/>
              <a:gd name="connsiteY47" fmla="*/ 277172 h 608519"/>
              <a:gd name="connsiteX48" fmla="*/ 161334 w 554856"/>
              <a:gd name="connsiteY48" fmla="*/ 226752 h 608519"/>
              <a:gd name="connsiteX49" fmla="*/ 142910 w 554856"/>
              <a:gd name="connsiteY49" fmla="*/ 208264 h 608519"/>
              <a:gd name="connsiteX50" fmla="*/ 142910 w 554856"/>
              <a:gd name="connsiteY50" fmla="*/ 192018 h 608519"/>
              <a:gd name="connsiteX51" fmla="*/ 165075 w 554856"/>
              <a:gd name="connsiteY51" fmla="*/ 169796 h 608519"/>
              <a:gd name="connsiteX52" fmla="*/ 181441 w 554856"/>
              <a:gd name="connsiteY52" fmla="*/ 169796 h 608519"/>
              <a:gd name="connsiteX53" fmla="*/ 199865 w 554856"/>
              <a:gd name="connsiteY53" fmla="*/ 188283 h 608519"/>
              <a:gd name="connsiteX54" fmla="*/ 250367 w 554856"/>
              <a:gd name="connsiteY54" fmla="*/ 167368 h 608519"/>
              <a:gd name="connsiteX55" fmla="*/ 250367 w 554856"/>
              <a:gd name="connsiteY55" fmla="*/ 141224 h 608519"/>
              <a:gd name="connsiteX56" fmla="*/ 261963 w 554856"/>
              <a:gd name="connsiteY56" fmla="*/ 129646 h 608519"/>
              <a:gd name="connsiteX57" fmla="*/ 440285 w 554856"/>
              <a:gd name="connsiteY57" fmla="*/ 80038 h 608519"/>
              <a:gd name="connsiteX58" fmla="*/ 554856 w 554856"/>
              <a:gd name="connsiteY58" fmla="*/ 304248 h 608519"/>
              <a:gd name="connsiteX59" fmla="*/ 277361 w 554856"/>
              <a:gd name="connsiteY59" fmla="*/ 581312 h 608519"/>
              <a:gd name="connsiteX60" fmla="*/ 277361 w 554856"/>
              <a:gd name="connsiteY60" fmla="*/ 605311 h 608519"/>
              <a:gd name="connsiteX61" fmla="*/ 272404 w 554856"/>
              <a:gd name="connsiteY61" fmla="*/ 607926 h 608519"/>
              <a:gd name="connsiteX62" fmla="*/ 207216 w 554856"/>
              <a:gd name="connsiteY62" fmla="*/ 563289 h 608519"/>
              <a:gd name="connsiteX63" fmla="*/ 207216 w 554856"/>
              <a:gd name="connsiteY63" fmla="*/ 558060 h 608519"/>
              <a:gd name="connsiteX64" fmla="*/ 272404 w 554856"/>
              <a:gd name="connsiteY64" fmla="*/ 513330 h 608519"/>
              <a:gd name="connsiteX65" fmla="*/ 277361 w 554856"/>
              <a:gd name="connsiteY65" fmla="*/ 515945 h 608519"/>
              <a:gd name="connsiteX66" fmla="*/ 277361 w 554856"/>
              <a:gd name="connsiteY66" fmla="*/ 539944 h 608519"/>
              <a:gd name="connsiteX67" fmla="*/ 513423 w 554856"/>
              <a:gd name="connsiteY67" fmla="*/ 304248 h 608519"/>
              <a:gd name="connsiteX68" fmla="*/ 415968 w 554856"/>
              <a:gd name="connsiteY68" fmla="*/ 113375 h 608519"/>
              <a:gd name="connsiteX69" fmla="*/ 282452 w 554856"/>
              <a:gd name="connsiteY69" fmla="*/ 594 h 608519"/>
              <a:gd name="connsiteX70" fmla="*/ 347640 w 554856"/>
              <a:gd name="connsiteY70" fmla="*/ 45229 h 608519"/>
              <a:gd name="connsiteX71" fmla="*/ 347640 w 554856"/>
              <a:gd name="connsiteY71" fmla="*/ 50551 h 608519"/>
              <a:gd name="connsiteX72" fmla="*/ 282452 w 554856"/>
              <a:gd name="connsiteY72" fmla="*/ 95279 h 608519"/>
              <a:gd name="connsiteX73" fmla="*/ 277402 w 554856"/>
              <a:gd name="connsiteY73" fmla="*/ 92665 h 608519"/>
              <a:gd name="connsiteX74" fmla="*/ 277402 w 554856"/>
              <a:gd name="connsiteY74" fmla="*/ 68573 h 608519"/>
              <a:gd name="connsiteX75" fmla="*/ 41339 w 554856"/>
              <a:gd name="connsiteY75" fmla="*/ 304259 h 608519"/>
              <a:gd name="connsiteX76" fmla="*/ 138888 w 554856"/>
              <a:gd name="connsiteY76" fmla="*/ 495123 h 608519"/>
              <a:gd name="connsiteX77" fmla="*/ 114571 w 554856"/>
              <a:gd name="connsiteY77" fmla="*/ 528552 h 608519"/>
              <a:gd name="connsiteX78" fmla="*/ 0 w 554856"/>
              <a:gd name="connsiteY78" fmla="*/ 304259 h 608519"/>
              <a:gd name="connsiteX79" fmla="*/ 277402 w 554856"/>
              <a:gd name="connsiteY79" fmla="*/ 27300 h 608519"/>
              <a:gd name="connsiteX80" fmla="*/ 277402 w 554856"/>
              <a:gd name="connsiteY80" fmla="*/ 3209 h 608519"/>
              <a:gd name="connsiteX81" fmla="*/ 282452 w 554856"/>
              <a:gd name="connsiteY81" fmla="*/ 594 h 608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</a:cxnLst>
            <a:rect l="l" t="t" r="r" b="b"/>
            <a:pathLst>
              <a:path w="554856" h="608519">
                <a:moveTo>
                  <a:pt x="314616" y="256070"/>
                </a:moveTo>
                <a:lnTo>
                  <a:pt x="262711" y="307611"/>
                </a:lnTo>
                <a:lnTo>
                  <a:pt x="241014" y="285856"/>
                </a:lnTo>
                <a:lnTo>
                  <a:pt x="218289" y="308265"/>
                </a:lnTo>
                <a:lnTo>
                  <a:pt x="239986" y="330020"/>
                </a:lnTo>
                <a:lnTo>
                  <a:pt x="262618" y="352803"/>
                </a:lnTo>
                <a:lnTo>
                  <a:pt x="285250" y="330300"/>
                </a:lnTo>
                <a:lnTo>
                  <a:pt x="337155" y="278760"/>
                </a:lnTo>
                <a:close/>
                <a:moveTo>
                  <a:pt x="261963" y="129646"/>
                </a:moveTo>
                <a:lnTo>
                  <a:pt x="293387" y="129646"/>
                </a:lnTo>
                <a:cubicBezTo>
                  <a:pt x="299840" y="129646"/>
                  <a:pt x="304983" y="134875"/>
                  <a:pt x="304983" y="141224"/>
                </a:cubicBezTo>
                <a:lnTo>
                  <a:pt x="304983" y="167368"/>
                </a:lnTo>
                <a:cubicBezTo>
                  <a:pt x="323314" y="170916"/>
                  <a:pt x="340428" y="178199"/>
                  <a:pt x="355485" y="188283"/>
                </a:cubicBezTo>
                <a:lnTo>
                  <a:pt x="373909" y="169796"/>
                </a:lnTo>
                <a:cubicBezTo>
                  <a:pt x="378398" y="165314"/>
                  <a:pt x="385786" y="165314"/>
                  <a:pt x="390275" y="169796"/>
                </a:cubicBezTo>
                <a:lnTo>
                  <a:pt x="412440" y="192018"/>
                </a:lnTo>
                <a:cubicBezTo>
                  <a:pt x="416929" y="196500"/>
                  <a:pt x="416929" y="203783"/>
                  <a:pt x="412440" y="208264"/>
                </a:cubicBezTo>
                <a:lnTo>
                  <a:pt x="394016" y="226752"/>
                </a:lnTo>
                <a:cubicBezTo>
                  <a:pt x="404117" y="241691"/>
                  <a:pt x="411318" y="258872"/>
                  <a:pt x="414965" y="277172"/>
                </a:cubicBezTo>
                <a:lnTo>
                  <a:pt x="441151" y="277172"/>
                </a:lnTo>
                <a:cubicBezTo>
                  <a:pt x="447604" y="277172"/>
                  <a:pt x="452748" y="282401"/>
                  <a:pt x="452748" y="288750"/>
                </a:cubicBezTo>
                <a:lnTo>
                  <a:pt x="452748" y="320123"/>
                </a:lnTo>
                <a:cubicBezTo>
                  <a:pt x="452748" y="326565"/>
                  <a:pt x="447511" y="331701"/>
                  <a:pt x="441151" y="331701"/>
                </a:cubicBezTo>
                <a:lnTo>
                  <a:pt x="414965" y="331701"/>
                </a:lnTo>
                <a:cubicBezTo>
                  <a:pt x="411318" y="350002"/>
                  <a:pt x="404117" y="366995"/>
                  <a:pt x="394016" y="382121"/>
                </a:cubicBezTo>
                <a:lnTo>
                  <a:pt x="412440" y="400515"/>
                </a:lnTo>
                <a:cubicBezTo>
                  <a:pt x="416929" y="404997"/>
                  <a:pt x="416929" y="412373"/>
                  <a:pt x="412440" y="416855"/>
                </a:cubicBezTo>
                <a:lnTo>
                  <a:pt x="390275" y="438984"/>
                </a:lnTo>
                <a:cubicBezTo>
                  <a:pt x="385786" y="443466"/>
                  <a:pt x="378398" y="443466"/>
                  <a:pt x="373909" y="438984"/>
                </a:cubicBezTo>
                <a:lnTo>
                  <a:pt x="355485" y="420590"/>
                </a:lnTo>
                <a:cubicBezTo>
                  <a:pt x="340522" y="430674"/>
                  <a:pt x="323314" y="437864"/>
                  <a:pt x="304983" y="441505"/>
                </a:cubicBezTo>
                <a:lnTo>
                  <a:pt x="304983" y="467649"/>
                </a:lnTo>
                <a:cubicBezTo>
                  <a:pt x="304983" y="474092"/>
                  <a:pt x="299746" y="479227"/>
                  <a:pt x="293387" y="479227"/>
                </a:cubicBezTo>
                <a:lnTo>
                  <a:pt x="261963" y="479227"/>
                </a:lnTo>
                <a:cubicBezTo>
                  <a:pt x="255510" y="479227"/>
                  <a:pt x="250367" y="473998"/>
                  <a:pt x="250367" y="467649"/>
                </a:cubicBezTo>
                <a:lnTo>
                  <a:pt x="250367" y="441505"/>
                </a:lnTo>
                <a:cubicBezTo>
                  <a:pt x="232036" y="437864"/>
                  <a:pt x="214922" y="430674"/>
                  <a:pt x="199865" y="420590"/>
                </a:cubicBezTo>
                <a:lnTo>
                  <a:pt x="181441" y="438984"/>
                </a:lnTo>
                <a:cubicBezTo>
                  <a:pt x="176952" y="443466"/>
                  <a:pt x="169564" y="443466"/>
                  <a:pt x="165075" y="438984"/>
                </a:cubicBezTo>
                <a:lnTo>
                  <a:pt x="142910" y="416855"/>
                </a:lnTo>
                <a:cubicBezTo>
                  <a:pt x="138421" y="412373"/>
                  <a:pt x="138421" y="404997"/>
                  <a:pt x="142910" y="400515"/>
                </a:cubicBezTo>
                <a:lnTo>
                  <a:pt x="161334" y="382121"/>
                </a:lnTo>
                <a:cubicBezTo>
                  <a:pt x="151233" y="367182"/>
                  <a:pt x="144032" y="350002"/>
                  <a:pt x="140385" y="331701"/>
                </a:cubicBezTo>
                <a:lnTo>
                  <a:pt x="114199" y="331701"/>
                </a:lnTo>
                <a:cubicBezTo>
                  <a:pt x="107746" y="331701"/>
                  <a:pt x="102602" y="326472"/>
                  <a:pt x="102602" y="320123"/>
                </a:cubicBezTo>
                <a:lnTo>
                  <a:pt x="102602" y="288750"/>
                </a:lnTo>
                <a:cubicBezTo>
                  <a:pt x="102602" y="282214"/>
                  <a:pt x="107839" y="277172"/>
                  <a:pt x="114199" y="277172"/>
                </a:cubicBezTo>
                <a:lnTo>
                  <a:pt x="140385" y="277172"/>
                </a:lnTo>
                <a:cubicBezTo>
                  <a:pt x="144032" y="258872"/>
                  <a:pt x="151233" y="241785"/>
                  <a:pt x="161334" y="226752"/>
                </a:cubicBezTo>
                <a:lnTo>
                  <a:pt x="142910" y="208264"/>
                </a:lnTo>
                <a:cubicBezTo>
                  <a:pt x="138421" y="203783"/>
                  <a:pt x="138421" y="196500"/>
                  <a:pt x="142910" y="192018"/>
                </a:cubicBezTo>
                <a:lnTo>
                  <a:pt x="165075" y="169796"/>
                </a:lnTo>
                <a:cubicBezTo>
                  <a:pt x="169564" y="165314"/>
                  <a:pt x="176952" y="165314"/>
                  <a:pt x="181441" y="169796"/>
                </a:cubicBezTo>
                <a:lnTo>
                  <a:pt x="199865" y="188283"/>
                </a:lnTo>
                <a:cubicBezTo>
                  <a:pt x="214828" y="178199"/>
                  <a:pt x="232036" y="170916"/>
                  <a:pt x="250367" y="167368"/>
                </a:cubicBezTo>
                <a:lnTo>
                  <a:pt x="250367" y="141224"/>
                </a:lnTo>
                <a:cubicBezTo>
                  <a:pt x="250367" y="134688"/>
                  <a:pt x="255604" y="129646"/>
                  <a:pt x="261963" y="129646"/>
                </a:cubicBezTo>
                <a:close/>
                <a:moveTo>
                  <a:pt x="440285" y="80038"/>
                </a:moveTo>
                <a:cubicBezTo>
                  <a:pt x="511927" y="131958"/>
                  <a:pt x="554856" y="215909"/>
                  <a:pt x="554856" y="304248"/>
                </a:cubicBezTo>
                <a:cubicBezTo>
                  <a:pt x="554856" y="457021"/>
                  <a:pt x="430371" y="581312"/>
                  <a:pt x="277361" y="581312"/>
                </a:cubicBezTo>
                <a:lnTo>
                  <a:pt x="277361" y="605311"/>
                </a:lnTo>
                <a:cubicBezTo>
                  <a:pt x="277361" y="607926"/>
                  <a:pt x="274555" y="609420"/>
                  <a:pt x="272404" y="607926"/>
                </a:cubicBezTo>
                <a:lnTo>
                  <a:pt x="207216" y="563289"/>
                </a:lnTo>
                <a:cubicBezTo>
                  <a:pt x="205345" y="561982"/>
                  <a:pt x="205345" y="559274"/>
                  <a:pt x="207216" y="558060"/>
                </a:cubicBezTo>
                <a:lnTo>
                  <a:pt x="272404" y="513330"/>
                </a:lnTo>
                <a:cubicBezTo>
                  <a:pt x="274555" y="511836"/>
                  <a:pt x="277361" y="513330"/>
                  <a:pt x="277361" y="515945"/>
                </a:cubicBezTo>
                <a:lnTo>
                  <a:pt x="277361" y="539944"/>
                </a:lnTo>
                <a:cubicBezTo>
                  <a:pt x="407551" y="539944"/>
                  <a:pt x="513423" y="434236"/>
                  <a:pt x="513423" y="304248"/>
                </a:cubicBezTo>
                <a:cubicBezTo>
                  <a:pt x="513423" y="229076"/>
                  <a:pt x="477041" y="157638"/>
                  <a:pt x="415968" y="113375"/>
                </a:cubicBezTo>
                <a:close/>
                <a:moveTo>
                  <a:pt x="282452" y="594"/>
                </a:moveTo>
                <a:lnTo>
                  <a:pt x="347640" y="45229"/>
                </a:lnTo>
                <a:cubicBezTo>
                  <a:pt x="349511" y="46536"/>
                  <a:pt x="349511" y="49337"/>
                  <a:pt x="347640" y="50551"/>
                </a:cubicBezTo>
                <a:lnTo>
                  <a:pt x="282452" y="95279"/>
                </a:lnTo>
                <a:cubicBezTo>
                  <a:pt x="280301" y="96773"/>
                  <a:pt x="277402" y="95279"/>
                  <a:pt x="277402" y="92665"/>
                </a:cubicBezTo>
                <a:lnTo>
                  <a:pt x="277402" y="68573"/>
                </a:lnTo>
                <a:cubicBezTo>
                  <a:pt x="147212" y="68573"/>
                  <a:pt x="41339" y="174277"/>
                  <a:pt x="41339" y="304259"/>
                </a:cubicBezTo>
                <a:cubicBezTo>
                  <a:pt x="41339" y="379521"/>
                  <a:pt x="77908" y="450862"/>
                  <a:pt x="138888" y="495123"/>
                </a:cubicBezTo>
                <a:lnTo>
                  <a:pt x="114571" y="528552"/>
                </a:lnTo>
                <a:cubicBezTo>
                  <a:pt x="42835" y="476634"/>
                  <a:pt x="0" y="392687"/>
                  <a:pt x="0" y="304259"/>
                </a:cubicBezTo>
                <a:cubicBezTo>
                  <a:pt x="0" y="151493"/>
                  <a:pt x="124391" y="27300"/>
                  <a:pt x="277402" y="27300"/>
                </a:cubicBezTo>
                <a:lnTo>
                  <a:pt x="277402" y="3209"/>
                </a:lnTo>
                <a:cubicBezTo>
                  <a:pt x="277402" y="594"/>
                  <a:pt x="280301" y="-900"/>
                  <a:pt x="282452" y="594"/>
                </a:cubicBezTo>
                <a:close/>
              </a:path>
            </a:pathLst>
          </a:cu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580" tIns="34290" rIns="68580" bIns="34290" rtlCol="0" anchor="ctr">
            <a:normAutofit fontScale="8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zh-CN" altLang="en-US" sz="1350">
              <a:solidFill>
                <a:srgbClr val="FFFFFF"/>
              </a:solidFill>
            </a:endParaRPr>
          </a:p>
        </p:txBody>
      </p:sp>
      <p:grpSp>
        <p:nvGrpSpPr>
          <p:cNvPr id="41" name="îŝḷïḋê"/>
          <p:cNvGrpSpPr/>
          <p:nvPr/>
        </p:nvGrpSpPr>
        <p:grpSpPr>
          <a:xfrm>
            <a:off x="5904680" y="2209094"/>
            <a:ext cx="1903721" cy="2466411"/>
            <a:chOff x="4826853" y="2858252"/>
            <a:chExt cx="2538294" cy="3288548"/>
          </a:xfrm>
        </p:grpSpPr>
        <p:sp>
          <p:nvSpPr>
            <p:cNvPr id="82" name="íśľîḍê"/>
            <p:cNvSpPr/>
            <p:nvPr/>
          </p:nvSpPr>
          <p:spPr bwMode="auto">
            <a:xfrm>
              <a:off x="4826853" y="2858252"/>
              <a:ext cx="2538294" cy="2528560"/>
            </a:xfrm>
            <a:custGeom>
              <a:avLst/>
              <a:gdLst>
                <a:gd name="T0" fmla="*/ 2026 w 5033"/>
                <a:gd name="T1" fmla="*/ 4906 h 5021"/>
                <a:gd name="T2" fmla="*/ 1667 w 5033"/>
                <a:gd name="T3" fmla="*/ 4323 h 5021"/>
                <a:gd name="T4" fmla="*/ 1237 w 5033"/>
                <a:gd name="T5" fmla="*/ 4593 h 5021"/>
                <a:gd name="T6" fmla="*/ 476 w 5033"/>
                <a:gd name="T7" fmla="*/ 3854 h 5021"/>
                <a:gd name="T8" fmla="*/ 703 w 5033"/>
                <a:gd name="T9" fmla="*/ 3292 h 5021"/>
                <a:gd name="T10" fmla="*/ 141 w 5033"/>
                <a:gd name="T11" fmla="*/ 3077 h 5021"/>
                <a:gd name="T12" fmla="*/ 126 w 5033"/>
                <a:gd name="T13" fmla="*/ 2020 h 5021"/>
                <a:gd name="T14" fmla="*/ 681 w 5033"/>
                <a:gd name="T15" fmla="*/ 1780 h 5021"/>
                <a:gd name="T16" fmla="*/ 441 w 5033"/>
                <a:gd name="T17" fmla="*/ 1232 h 5021"/>
                <a:gd name="T18" fmla="*/ 1175 w 5033"/>
                <a:gd name="T19" fmla="*/ 476 h 5021"/>
                <a:gd name="T20" fmla="*/ 1598 w 5033"/>
                <a:gd name="T21" fmla="*/ 725 h 5021"/>
                <a:gd name="T22" fmla="*/ 1953 w 5033"/>
                <a:gd name="T23" fmla="*/ 140 h 5021"/>
                <a:gd name="T24" fmla="*/ 3005 w 5033"/>
                <a:gd name="T25" fmla="*/ 124 h 5021"/>
                <a:gd name="T26" fmla="*/ 3368 w 5033"/>
                <a:gd name="T27" fmla="*/ 696 h 5021"/>
                <a:gd name="T28" fmla="*/ 3794 w 5033"/>
                <a:gd name="T29" fmla="*/ 436 h 5021"/>
                <a:gd name="T30" fmla="*/ 4551 w 5033"/>
                <a:gd name="T31" fmla="*/ 1167 h 5021"/>
                <a:gd name="T32" fmla="*/ 4518 w 5033"/>
                <a:gd name="T33" fmla="*/ 1905 h 5021"/>
                <a:gd name="T34" fmla="*/ 4984 w 5033"/>
                <a:gd name="T35" fmla="*/ 2087 h 5021"/>
                <a:gd name="T36" fmla="*/ 4786 w 5033"/>
                <a:gd name="T37" fmla="*/ 3037 h 5021"/>
                <a:gd name="T38" fmla="*/ 4531 w 5033"/>
                <a:gd name="T39" fmla="*/ 3053 h 5021"/>
                <a:gd name="T40" fmla="*/ 4599 w 5033"/>
                <a:gd name="T41" fmla="*/ 3789 h 5021"/>
                <a:gd name="T42" fmla="*/ 3863 w 5033"/>
                <a:gd name="T43" fmla="*/ 4551 h 5021"/>
                <a:gd name="T44" fmla="*/ 3437 w 5033"/>
                <a:gd name="T45" fmla="*/ 4295 h 5021"/>
                <a:gd name="T46" fmla="*/ 3087 w 5033"/>
                <a:gd name="T47" fmla="*/ 4889 h 5021"/>
                <a:gd name="T48" fmla="*/ 1667 w 5033"/>
                <a:gd name="T49" fmla="*/ 4167 h 5021"/>
                <a:gd name="T50" fmla="*/ 2155 w 5033"/>
                <a:gd name="T51" fmla="*/ 4817 h 5021"/>
                <a:gd name="T52" fmla="*/ 2955 w 5033"/>
                <a:gd name="T53" fmla="*/ 4804 h 5021"/>
                <a:gd name="T54" fmla="*/ 3437 w 5033"/>
                <a:gd name="T55" fmla="*/ 4138 h 5021"/>
                <a:gd name="T56" fmla="*/ 3891 w 5033"/>
                <a:gd name="T57" fmla="*/ 4397 h 5021"/>
                <a:gd name="T58" fmla="*/ 4446 w 5033"/>
                <a:gd name="T59" fmla="*/ 3822 h 5021"/>
                <a:gd name="T60" fmla="*/ 4467 w 5033"/>
                <a:gd name="T61" fmla="*/ 2910 h 5021"/>
                <a:gd name="T62" fmla="*/ 4786 w 5033"/>
                <a:gd name="T63" fmla="*/ 2881 h 5021"/>
                <a:gd name="T64" fmla="*/ 4830 w 5033"/>
                <a:gd name="T65" fmla="*/ 2114 h 5021"/>
                <a:gd name="T66" fmla="*/ 4462 w 5033"/>
                <a:gd name="T67" fmla="*/ 2050 h 5021"/>
                <a:gd name="T68" fmla="*/ 4397 w 5033"/>
                <a:gd name="T69" fmla="*/ 1140 h 5021"/>
                <a:gd name="T70" fmla="*/ 3826 w 5033"/>
                <a:gd name="T71" fmla="*/ 589 h 5021"/>
                <a:gd name="T72" fmla="*/ 3368 w 5033"/>
                <a:gd name="T73" fmla="*/ 852 h 5021"/>
                <a:gd name="T74" fmla="*/ 2877 w 5033"/>
                <a:gd name="T75" fmla="*/ 213 h 5021"/>
                <a:gd name="T76" fmla="*/ 2084 w 5033"/>
                <a:gd name="T77" fmla="*/ 225 h 5021"/>
                <a:gd name="T78" fmla="*/ 1598 w 5033"/>
                <a:gd name="T79" fmla="*/ 881 h 5021"/>
                <a:gd name="T80" fmla="*/ 1148 w 5033"/>
                <a:gd name="T81" fmla="*/ 629 h 5021"/>
                <a:gd name="T82" fmla="*/ 593 w 5033"/>
                <a:gd name="T83" fmla="*/ 1199 h 5021"/>
                <a:gd name="T84" fmla="*/ 827 w 5033"/>
                <a:gd name="T85" fmla="*/ 1836 h 5021"/>
                <a:gd name="T86" fmla="*/ 215 w 5033"/>
                <a:gd name="T87" fmla="*/ 2148 h 5021"/>
                <a:gd name="T88" fmla="*/ 225 w 5033"/>
                <a:gd name="T89" fmla="*/ 2946 h 5021"/>
                <a:gd name="T90" fmla="*/ 846 w 5033"/>
                <a:gd name="T91" fmla="*/ 3228 h 5021"/>
                <a:gd name="T92" fmla="*/ 629 w 5033"/>
                <a:gd name="T93" fmla="*/ 3883 h 5021"/>
                <a:gd name="T94" fmla="*/ 1203 w 5033"/>
                <a:gd name="T95" fmla="*/ 4440 h 5021"/>
                <a:gd name="T96" fmla="*/ 1667 w 5033"/>
                <a:gd name="T97" fmla="*/ 4167 h 5021"/>
                <a:gd name="T98" fmla="*/ 2171 w 5033"/>
                <a:gd name="T99" fmla="*/ 1740 h 5021"/>
                <a:gd name="T100" fmla="*/ 2861 w 5033"/>
                <a:gd name="T101" fmla="*/ 3292 h 5021"/>
                <a:gd name="T102" fmla="*/ 2234 w 5033"/>
                <a:gd name="T103" fmla="*/ 1883 h 5021"/>
                <a:gd name="T104" fmla="*/ 2798 w 5033"/>
                <a:gd name="T105" fmla="*/ 3149 h 50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033" h="5021">
                  <a:moveTo>
                    <a:pt x="2519" y="5021"/>
                  </a:moveTo>
                  <a:cubicBezTo>
                    <a:pt x="2404" y="5021"/>
                    <a:pt x="2287" y="5013"/>
                    <a:pt x="2173" y="4997"/>
                  </a:cubicBezTo>
                  <a:cubicBezTo>
                    <a:pt x="2114" y="4989"/>
                    <a:pt x="2060" y="4955"/>
                    <a:pt x="2026" y="4906"/>
                  </a:cubicBezTo>
                  <a:cubicBezTo>
                    <a:pt x="1992" y="4857"/>
                    <a:pt x="1980" y="4795"/>
                    <a:pt x="1994" y="4736"/>
                  </a:cubicBezTo>
                  <a:cubicBezTo>
                    <a:pt x="2011" y="4664"/>
                    <a:pt x="2004" y="4590"/>
                    <a:pt x="1974" y="4523"/>
                  </a:cubicBezTo>
                  <a:cubicBezTo>
                    <a:pt x="1920" y="4401"/>
                    <a:pt x="1800" y="4323"/>
                    <a:pt x="1667" y="4323"/>
                  </a:cubicBezTo>
                  <a:cubicBezTo>
                    <a:pt x="1620" y="4323"/>
                    <a:pt x="1574" y="4333"/>
                    <a:pt x="1530" y="4352"/>
                  </a:cubicBezTo>
                  <a:cubicBezTo>
                    <a:pt x="1465" y="4381"/>
                    <a:pt x="1412" y="4429"/>
                    <a:pt x="1376" y="4491"/>
                  </a:cubicBezTo>
                  <a:cubicBezTo>
                    <a:pt x="1346" y="4543"/>
                    <a:pt x="1295" y="4580"/>
                    <a:pt x="1237" y="4593"/>
                  </a:cubicBezTo>
                  <a:cubicBezTo>
                    <a:pt x="1181" y="4606"/>
                    <a:pt x="1116" y="4594"/>
                    <a:pt x="1067" y="4559"/>
                  </a:cubicBezTo>
                  <a:cubicBezTo>
                    <a:pt x="857" y="4410"/>
                    <a:pt x="671" y="4230"/>
                    <a:pt x="515" y="4022"/>
                  </a:cubicBezTo>
                  <a:cubicBezTo>
                    <a:pt x="479" y="3974"/>
                    <a:pt x="465" y="3913"/>
                    <a:pt x="476" y="3854"/>
                  </a:cubicBezTo>
                  <a:cubicBezTo>
                    <a:pt x="487" y="3796"/>
                    <a:pt x="522" y="3744"/>
                    <a:pt x="573" y="3712"/>
                  </a:cubicBezTo>
                  <a:cubicBezTo>
                    <a:pt x="637" y="3672"/>
                    <a:pt x="684" y="3616"/>
                    <a:pt x="710" y="3549"/>
                  </a:cubicBezTo>
                  <a:cubicBezTo>
                    <a:pt x="742" y="3465"/>
                    <a:pt x="740" y="3374"/>
                    <a:pt x="703" y="3292"/>
                  </a:cubicBezTo>
                  <a:cubicBezTo>
                    <a:pt x="666" y="3210"/>
                    <a:pt x="600" y="3147"/>
                    <a:pt x="516" y="3115"/>
                  </a:cubicBezTo>
                  <a:cubicBezTo>
                    <a:pt x="452" y="3090"/>
                    <a:pt x="380" y="3086"/>
                    <a:pt x="311" y="3104"/>
                  </a:cubicBezTo>
                  <a:cubicBezTo>
                    <a:pt x="252" y="3119"/>
                    <a:pt x="190" y="3109"/>
                    <a:pt x="141" y="3077"/>
                  </a:cubicBezTo>
                  <a:cubicBezTo>
                    <a:pt x="90" y="3044"/>
                    <a:pt x="56" y="2992"/>
                    <a:pt x="46" y="2933"/>
                  </a:cubicBezTo>
                  <a:cubicBezTo>
                    <a:pt x="3" y="2681"/>
                    <a:pt x="0" y="2423"/>
                    <a:pt x="36" y="2166"/>
                  </a:cubicBezTo>
                  <a:cubicBezTo>
                    <a:pt x="45" y="2107"/>
                    <a:pt x="77" y="2054"/>
                    <a:pt x="126" y="2020"/>
                  </a:cubicBezTo>
                  <a:cubicBezTo>
                    <a:pt x="175" y="1986"/>
                    <a:pt x="237" y="1974"/>
                    <a:pt x="295" y="1987"/>
                  </a:cubicBezTo>
                  <a:cubicBezTo>
                    <a:pt x="365" y="2003"/>
                    <a:pt x="439" y="1995"/>
                    <a:pt x="504" y="1967"/>
                  </a:cubicBezTo>
                  <a:cubicBezTo>
                    <a:pt x="586" y="1930"/>
                    <a:pt x="649" y="1864"/>
                    <a:pt x="681" y="1780"/>
                  </a:cubicBezTo>
                  <a:cubicBezTo>
                    <a:pt x="713" y="1696"/>
                    <a:pt x="711" y="1605"/>
                    <a:pt x="675" y="1523"/>
                  </a:cubicBezTo>
                  <a:cubicBezTo>
                    <a:pt x="646" y="1459"/>
                    <a:pt x="600" y="1407"/>
                    <a:pt x="540" y="1371"/>
                  </a:cubicBezTo>
                  <a:cubicBezTo>
                    <a:pt x="489" y="1341"/>
                    <a:pt x="453" y="1290"/>
                    <a:pt x="441" y="1232"/>
                  </a:cubicBezTo>
                  <a:cubicBezTo>
                    <a:pt x="429" y="1173"/>
                    <a:pt x="441" y="1112"/>
                    <a:pt x="476" y="1064"/>
                  </a:cubicBezTo>
                  <a:cubicBezTo>
                    <a:pt x="624" y="854"/>
                    <a:pt x="804" y="670"/>
                    <a:pt x="1009" y="515"/>
                  </a:cubicBezTo>
                  <a:cubicBezTo>
                    <a:pt x="1056" y="480"/>
                    <a:pt x="1117" y="466"/>
                    <a:pt x="1175" y="476"/>
                  </a:cubicBezTo>
                  <a:cubicBezTo>
                    <a:pt x="1233" y="486"/>
                    <a:pt x="1285" y="521"/>
                    <a:pt x="1317" y="570"/>
                  </a:cubicBezTo>
                  <a:cubicBezTo>
                    <a:pt x="1357" y="631"/>
                    <a:pt x="1412" y="677"/>
                    <a:pt x="1478" y="702"/>
                  </a:cubicBezTo>
                  <a:cubicBezTo>
                    <a:pt x="1517" y="717"/>
                    <a:pt x="1557" y="725"/>
                    <a:pt x="1598" y="725"/>
                  </a:cubicBezTo>
                  <a:cubicBezTo>
                    <a:pt x="1737" y="725"/>
                    <a:pt x="1863" y="638"/>
                    <a:pt x="1912" y="509"/>
                  </a:cubicBezTo>
                  <a:cubicBezTo>
                    <a:pt x="1937" y="445"/>
                    <a:pt x="1941" y="376"/>
                    <a:pt x="1925" y="308"/>
                  </a:cubicBezTo>
                  <a:cubicBezTo>
                    <a:pt x="1910" y="251"/>
                    <a:pt x="1921" y="189"/>
                    <a:pt x="1953" y="140"/>
                  </a:cubicBezTo>
                  <a:cubicBezTo>
                    <a:pt x="1986" y="90"/>
                    <a:pt x="2038" y="56"/>
                    <a:pt x="2096" y="46"/>
                  </a:cubicBezTo>
                  <a:cubicBezTo>
                    <a:pt x="2345" y="4"/>
                    <a:pt x="2607" y="0"/>
                    <a:pt x="2859" y="35"/>
                  </a:cubicBezTo>
                  <a:cubicBezTo>
                    <a:pt x="2917" y="43"/>
                    <a:pt x="2971" y="75"/>
                    <a:pt x="3005" y="124"/>
                  </a:cubicBezTo>
                  <a:cubicBezTo>
                    <a:pt x="3039" y="172"/>
                    <a:pt x="3051" y="233"/>
                    <a:pt x="3039" y="291"/>
                  </a:cubicBezTo>
                  <a:cubicBezTo>
                    <a:pt x="3024" y="361"/>
                    <a:pt x="3032" y="432"/>
                    <a:pt x="3060" y="496"/>
                  </a:cubicBezTo>
                  <a:cubicBezTo>
                    <a:pt x="3114" y="618"/>
                    <a:pt x="3235" y="696"/>
                    <a:pt x="3368" y="696"/>
                  </a:cubicBezTo>
                  <a:cubicBezTo>
                    <a:pt x="3415" y="696"/>
                    <a:pt x="3461" y="686"/>
                    <a:pt x="3504" y="667"/>
                  </a:cubicBezTo>
                  <a:cubicBezTo>
                    <a:pt x="3567" y="639"/>
                    <a:pt x="3619" y="593"/>
                    <a:pt x="3655" y="534"/>
                  </a:cubicBezTo>
                  <a:cubicBezTo>
                    <a:pt x="3685" y="484"/>
                    <a:pt x="3736" y="448"/>
                    <a:pt x="3794" y="436"/>
                  </a:cubicBezTo>
                  <a:cubicBezTo>
                    <a:pt x="3855" y="423"/>
                    <a:pt x="3913" y="437"/>
                    <a:pt x="3961" y="470"/>
                  </a:cubicBezTo>
                  <a:cubicBezTo>
                    <a:pt x="4171" y="618"/>
                    <a:pt x="4355" y="797"/>
                    <a:pt x="4510" y="1001"/>
                  </a:cubicBezTo>
                  <a:cubicBezTo>
                    <a:pt x="4546" y="1048"/>
                    <a:pt x="4561" y="1109"/>
                    <a:pt x="4551" y="1167"/>
                  </a:cubicBezTo>
                  <a:cubicBezTo>
                    <a:pt x="4540" y="1226"/>
                    <a:pt x="4506" y="1278"/>
                    <a:pt x="4456" y="1310"/>
                  </a:cubicBezTo>
                  <a:cubicBezTo>
                    <a:pt x="4395" y="1349"/>
                    <a:pt x="4350" y="1405"/>
                    <a:pt x="4325" y="1470"/>
                  </a:cubicBezTo>
                  <a:cubicBezTo>
                    <a:pt x="4258" y="1643"/>
                    <a:pt x="4345" y="1838"/>
                    <a:pt x="4518" y="1905"/>
                  </a:cubicBezTo>
                  <a:cubicBezTo>
                    <a:pt x="4582" y="1929"/>
                    <a:pt x="4653" y="1933"/>
                    <a:pt x="4721" y="1916"/>
                  </a:cubicBezTo>
                  <a:cubicBezTo>
                    <a:pt x="4779" y="1902"/>
                    <a:pt x="4840" y="1912"/>
                    <a:pt x="4890" y="1944"/>
                  </a:cubicBezTo>
                  <a:cubicBezTo>
                    <a:pt x="4939" y="1977"/>
                    <a:pt x="4974" y="2029"/>
                    <a:pt x="4984" y="2087"/>
                  </a:cubicBezTo>
                  <a:cubicBezTo>
                    <a:pt x="5028" y="2339"/>
                    <a:pt x="5033" y="2597"/>
                    <a:pt x="4998" y="2852"/>
                  </a:cubicBezTo>
                  <a:cubicBezTo>
                    <a:pt x="4990" y="2911"/>
                    <a:pt x="4957" y="2965"/>
                    <a:pt x="4908" y="2999"/>
                  </a:cubicBezTo>
                  <a:cubicBezTo>
                    <a:pt x="4872" y="3024"/>
                    <a:pt x="4830" y="3037"/>
                    <a:pt x="4786" y="3037"/>
                  </a:cubicBezTo>
                  <a:lnTo>
                    <a:pt x="4786" y="3037"/>
                  </a:lnTo>
                  <a:cubicBezTo>
                    <a:pt x="4770" y="3037"/>
                    <a:pt x="4755" y="3036"/>
                    <a:pt x="4740" y="3032"/>
                  </a:cubicBezTo>
                  <a:cubicBezTo>
                    <a:pt x="4668" y="3016"/>
                    <a:pt x="4596" y="3024"/>
                    <a:pt x="4531" y="3053"/>
                  </a:cubicBezTo>
                  <a:cubicBezTo>
                    <a:pt x="4361" y="3128"/>
                    <a:pt x="4285" y="3327"/>
                    <a:pt x="4360" y="3497"/>
                  </a:cubicBezTo>
                  <a:cubicBezTo>
                    <a:pt x="4389" y="3561"/>
                    <a:pt x="4436" y="3614"/>
                    <a:pt x="4497" y="3650"/>
                  </a:cubicBezTo>
                  <a:cubicBezTo>
                    <a:pt x="4549" y="3680"/>
                    <a:pt x="4586" y="3731"/>
                    <a:pt x="4599" y="3789"/>
                  </a:cubicBezTo>
                  <a:cubicBezTo>
                    <a:pt x="4611" y="3847"/>
                    <a:pt x="4599" y="3909"/>
                    <a:pt x="4565" y="3958"/>
                  </a:cubicBezTo>
                  <a:cubicBezTo>
                    <a:pt x="4416" y="4169"/>
                    <a:pt x="4237" y="4355"/>
                    <a:pt x="4031" y="4511"/>
                  </a:cubicBezTo>
                  <a:cubicBezTo>
                    <a:pt x="3983" y="4547"/>
                    <a:pt x="3922" y="4562"/>
                    <a:pt x="3863" y="4551"/>
                  </a:cubicBezTo>
                  <a:cubicBezTo>
                    <a:pt x="3804" y="4540"/>
                    <a:pt x="3752" y="4505"/>
                    <a:pt x="3720" y="4454"/>
                  </a:cubicBezTo>
                  <a:cubicBezTo>
                    <a:pt x="3680" y="4390"/>
                    <a:pt x="3624" y="4343"/>
                    <a:pt x="3557" y="4317"/>
                  </a:cubicBezTo>
                  <a:cubicBezTo>
                    <a:pt x="3518" y="4302"/>
                    <a:pt x="3477" y="4295"/>
                    <a:pt x="3437" y="4295"/>
                  </a:cubicBezTo>
                  <a:cubicBezTo>
                    <a:pt x="3298" y="4295"/>
                    <a:pt x="3172" y="4381"/>
                    <a:pt x="3122" y="4511"/>
                  </a:cubicBezTo>
                  <a:cubicBezTo>
                    <a:pt x="3097" y="4576"/>
                    <a:pt x="3094" y="4648"/>
                    <a:pt x="3113" y="4718"/>
                  </a:cubicBezTo>
                  <a:cubicBezTo>
                    <a:pt x="3128" y="4776"/>
                    <a:pt x="3119" y="4838"/>
                    <a:pt x="3087" y="4889"/>
                  </a:cubicBezTo>
                  <a:cubicBezTo>
                    <a:pt x="3054" y="4939"/>
                    <a:pt x="3002" y="4974"/>
                    <a:pt x="2943" y="4984"/>
                  </a:cubicBezTo>
                  <a:cubicBezTo>
                    <a:pt x="2803" y="5008"/>
                    <a:pt x="2660" y="5021"/>
                    <a:pt x="2519" y="5021"/>
                  </a:cubicBezTo>
                  <a:close/>
                  <a:moveTo>
                    <a:pt x="1667" y="4167"/>
                  </a:moveTo>
                  <a:cubicBezTo>
                    <a:pt x="1861" y="4167"/>
                    <a:pt x="2038" y="4282"/>
                    <a:pt x="2117" y="4459"/>
                  </a:cubicBezTo>
                  <a:cubicBezTo>
                    <a:pt x="2161" y="4558"/>
                    <a:pt x="2171" y="4666"/>
                    <a:pt x="2146" y="4772"/>
                  </a:cubicBezTo>
                  <a:cubicBezTo>
                    <a:pt x="2142" y="4787"/>
                    <a:pt x="2146" y="4804"/>
                    <a:pt x="2155" y="4817"/>
                  </a:cubicBezTo>
                  <a:cubicBezTo>
                    <a:pt x="2164" y="4831"/>
                    <a:pt x="2178" y="4840"/>
                    <a:pt x="2195" y="4842"/>
                  </a:cubicBezTo>
                  <a:cubicBezTo>
                    <a:pt x="2434" y="4875"/>
                    <a:pt x="2679" y="4872"/>
                    <a:pt x="2916" y="4830"/>
                  </a:cubicBezTo>
                  <a:cubicBezTo>
                    <a:pt x="2932" y="4828"/>
                    <a:pt x="2946" y="4818"/>
                    <a:pt x="2955" y="4804"/>
                  </a:cubicBezTo>
                  <a:cubicBezTo>
                    <a:pt x="2964" y="4791"/>
                    <a:pt x="2966" y="4774"/>
                    <a:pt x="2962" y="4758"/>
                  </a:cubicBezTo>
                  <a:cubicBezTo>
                    <a:pt x="2934" y="4656"/>
                    <a:pt x="2940" y="4551"/>
                    <a:pt x="2977" y="4454"/>
                  </a:cubicBezTo>
                  <a:cubicBezTo>
                    <a:pt x="3049" y="4265"/>
                    <a:pt x="3234" y="4138"/>
                    <a:pt x="3437" y="4138"/>
                  </a:cubicBezTo>
                  <a:cubicBezTo>
                    <a:pt x="3497" y="4138"/>
                    <a:pt x="3556" y="4149"/>
                    <a:pt x="3613" y="4171"/>
                  </a:cubicBezTo>
                  <a:cubicBezTo>
                    <a:pt x="3712" y="4209"/>
                    <a:pt x="3794" y="4278"/>
                    <a:pt x="3852" y="4371"/>
                  </a:cubicBezTo>
                  <a:cubicBezTo>
                    <a:pt x="3861" y="4385"/>
                    <a:pt x="3875" y="4394"/>
                    <a:pt x="3891" y="4397"/>
                  </a:cubicBezTo>
                  <a:cubicBezTo>
                    <a:pt x="3907" y="4400"/>
                    <a:pt x="3924" y="4396"/>
                    <a:pt x="3937" y="4386"/>
                  </a:cubicBezTo>
                  <a:cubicBezTo>
                    <a:pt x="4130" y="4240"/>
                    <a:pt x="4298" y="4066"/>
                    <a:pt x="4437" y="3868"/>
                  </a:cubicBezTo>
                  <a:cubicBezTo>
                    <a:pt x="4446" y="3855"/>
                    <a:pt x="4450" y="3838"/>
                    <a:pt x="4446" y="3822"/>
                  </a:cubicBezTo>
                  <a:cubicBezTo>
                    <a:pt x="4443" y="3806"/>
                    <a:pt x="4433" y="3793"/>
                    <a:pt x="4419" y="3784"/>
                  </a:cubicBezTo>
                  <a:cubicBezTo>
                    <a:pt x="4329" y="3732"/>
                    <a:pt x="4260" y="3655"/>
                    <a:pt x="4218" y="3560"/>
                  </a:cubicBezTo>
                  <a:cubicBezTo>
                    <a:pt x="4107" y="3312"/>
                    <a:pt x="4219" y="3020"/>
                    <a:pt x="4467" y="2910"/>
                  </a:cubicBezTo>
                  <a:cubicBezTo>
                    <a:pt x="4563" y="2868"/>
                    <a:pt x="4670" y="2857"/>
                    <a:pt x="4774" y="2880"/>
                  </a:cubicBezTo>
                  <a:cubicBezTo>
                    <a:pt x="4777" y="2881"/>
                    <a:pt x="4782" y="2881"/>
                    <a:pt x="4786" y="2881"/>
                  </a:cubicBezTo>
                  <a:lnTo>
                    <a:pt x="4786" y="2881"/>
                  </a:lnTo>
                  <a:cubicBezTo>
                    <a:pt x="4798" y="2881"/>
                    <a:pt x="4810" y="2877"/>
                    <a:pt x="4820" y="2871"/>
                  </a:cubicBezTo>
                  <a:cubicBezTo>
                    <a:pt x="4833" y="2862"/>
                    <a:pt x="4841" y="2847"/>
                    <a:pt x="4844" y="2831"/>
                  </a:cubicBezTo>
                  <a:cubicBezTo>
                    <a:pt x="4876" y="2592"/>
                    <a:pt x="4871" y="2350"/>
                    <a:pt x="4830" y="2114"/>
                  </a:cubicBezTo>
                  <a:cubicBezTo>
                    <a:pt x="4827" y="2098"/>
                    <a:pt x="4818" y="2084"/>
                    <a:pt x="4805" y="2075"/>
                  </a:cubicBezTo>
                  <a:cubicBezTo>
                    <a:pt x="4791" y="2066"/>
                    <a:pt x="4775" y="2063"/>
                    <a:pt x="4759" y="2067"/>
                  </a:cubicBezTo>
                  <a:cubicBezTo>
                    <a:pt x="4660" y="2092"/>
                    <a:pt x="4556" y="2086"/>
                    <a:pt x="4462" y="2050"/>
                  </a:cubicBezTo>
                  <a:cubicBezTo>
                    <a:pt x="4209" y="1953"/>
                    <a:pt x="4082" y="1667"/>
                    <a:pt x="4179" y="1414"/>
                  </a:cubicBezTo>
                  <a:cubicBezTo>
                    <a:pt x="4216" y="1318"/>
                    <a:pt x="4283" y="1236"/>
                    <a:pt x="4371" y="1179"/>
                  </a:cubicBezTo>
                  <a:cubicBezTo>
                    <a:pt x="4385" y="1170"/>
                    <a:pt x="4394" y="1156"/>
                    <a:pt x="4397" y="1140"/>
                  </a:cubicBezTo>
                  <a:cubicBezTo>
                    <a:pt x="4400" y="1124"/>
                    <a:pt x="4396" y="1108"/>
                    <a:pt x="4386" y="1095"/>
                  </a:cubicBezTo>
                  <a:cubicBezTo>
                    <a:pt x="4241" y="904"/>
                    <a:pt x="4068" y="736"/>
                    <a:pt x="3871" y="598"/>
                  </a:cubicBezTo>
                  <a:cubicBezTo>
                    <a:pt x="3859" y="589"/>
                    <a:pt x="3842" y="585"/>
                    <a:pt x="3826" y="589"/>
                  </a:cubicBezTo>
                  <a:cubicBezTo>
                    <a:pt x="3810" y="592"/>
                    <a:pt x="3797" y="601"/>
                    <a:pt x="3788" y="615"/>
                  </a:cubicBezTo>
                  <a:cubicBezTo>
                    <a:pt x="3736" y="701"/>
                    <a:pt x="3660" y="769"/>
                    <a:pt x="3568" y="809"/>
                  </a:cubicBezTo>
                  <a:cubicBezTo>
                    <a:pt x="3504" y="838"/>
                    <a:pt x="3437" y="852"/>
                    <a:pt x="3368" y="852"/>
                  </a:cubicBezTo>
                  <a:cubicBezTo>
                    <a:pt x="3174" y="852"/>
                    <a:pt x="2997" y="737"/>
                    <a:pt x="2918" y="560"/>
                  </a:cubicBezTo>
                  <a:cubicBezTo>
                    <a:pt x="2876" y="465"/>
                    <a:pt x="2865" y="361"/>
                    <a:pt x="2886" y="259"/>
                  </a:cubicBezTo>
                  <a:cubicBezTo>
                    <a:pt x="2889" y="243"/>
                    <a:pt x="2886" y="226"/>
                    <a:pt x="2877" y="213"/>
                  </a:cubicBezTo>
                  <a:cubicBezTo>
                    <a:pt x="2868" y="200"/>
                    <a:pt x="2853" y="192"/>
                    <a:pt x="2837" y="189"/>
                  </a:cubicBezTo>
                  <a:cubicBezTo>
                    <a:pt x="2601" y="156"/>
                    <a:pt x="2356" y="160"/>
                    <a:pt x="2123" y="200"/>
                  </a:cubicBezTo>
                  <a:cubicBezTo>
                    <a:pt x="2107" y="203"/>
                    <a:pt x="2093" y="212"/>
                    <a:pt x="2084" y="225"/>
                  </a:cubicBezTo>
                  <a:cubicBezTo>
                    <a:pt x="2075" y="239"/>
                    <a:pt x="2072" y="255"/>
                    <a:pt x="2076" y="271"/>
                  </a:cubicBezTo>
                  <a:cubicBezTo>
                    <a:pt x="2100" y="369"/>
                    <a:pt x="2094" y="471"/>
                    <a:pt x="2058" y="564"/>
                  </a:cubicBezTo>
                  <a:cubicBezTo>
                    <a:pt x="1985" y="754"/>
                    <a:pt x="1801" y="881"/>
                    <a:pt x="1598" y="881"/>
                  </a:cubicBezTo>
                  <a:cubicBezTo>
                    <a:pt x="1538" y="881"/>
                    <a:pt x="1479" y="869"/>
                    <a:pt x="1422" y="848"/>
                  </a:cubicBezTo>
                  <a:cubicBezTo>
                    <a:pt x="1325" y="810"/>
                    <a:pt x="1244" y="744"/>
                    <a:pt x="1186" y="655"/>
                  </a:cubicBezTo>
                  <a:cubicBezTo>
                    <a:pt x="1178" y="642"/>
                    <a:pt x="1164" y="632"/>
                    <a:pt x="1148" y="629"/>
                  </a:cubicBezTo>
                  <a:cubicBezTo>
                    <a:pt x="1132" y="627"/>
                    <a:pt x="1115" y="631"/>
                    <a:pt x="1103" y="640"/>
                  </a:cubicBezTo>
                  <a:cubicBezTo>
                    <a:pt x="910" y="785"/>
                    <a:pt x="742" y="958"/>
                    <a:pt x="603" y="1154"/>
                  </a:cubicBezTo>
                  <a:cubicBezTo>
                    <a:pt x="594" y="1167"/>
                    <a:pt x="590" y="1183"/>
                    <a:pt x="593" y="1199"/>
                  </a:cubicBezTo>
                  <a:cubicBezTo>
                    <a:pt x="597" y="1215"/>
                    <a:pt x="607" y="1229"/>
                    <a:pt x="620" y="1237"/>
                  </a:cubicBezTo>
                  <a:cubicBezTo>
                    <a:pt x="708" y="1289"/>
                    <a:pt x="776" y="1366"/>
                    <a:pt x="817" y="1459"/>
                  </a:cubicBezTo>
                  <a:cubicBezTo>
                    <a:pt x="871" y="1579"/>
                    <a:pt x="874" y="1713"/>
                    <a:pt x="827" y="1836"/>
                  </a:cubicBezTo>
                  <a:cubicBezTo>
                    <a:pt x="780" y="1959"/>
                    <a:pt x="687" y="2056"/>
                    <a:pt x="567" y="2109"/>
                  </a:cubicBezTo>
                  <a:cubicBezTo>
                    <a:pt x="471" y="2151"/>
                    <a:pt x="364" y="2162"/>
                    <a:pt x="261" y="2139"/>
                  </a:cubicBezTo>
                  <a:cubicBezTo>
                    <a:pt x="244" y="2136"/>
                    <a:pt x="228" y="2139"/>
                    <a:pt x="215" y="2148"/>
                  </a:cubicBezTo>
                  <a:cubicBezTo>
                    <a:pt x="202" y="2157"/>
                    <a:pt x="193" y="2172"/>
                    <a:pt x="191" y="2188"/>
                  </a:cubicBezTo>
                  <a:cubicBezTo>
                    <a:pt x="156" y="2429"/>
                    <a:pt x="159" y="2670"/>
                    <a:pt x="200" y="2906"/>
                  </a:cubicBezTo>
                  <a:cubicBezTo>
                    <a:pt x="202" y="2923"/>
                    <a:pt x="212" y="2937"/>
                    <a:pt x="225" y="2946"/>
                  </a:cubicBezTo>
                  <a:cubicBezTo>
                    <a:pt x="239" y="2954"/>
                    <a:pt x="256" y="2957"/>
                    <a:pt x="272" y="2953"/>
                  </a:cubicBezTo>
                  <a:cubicBezTo>
                    <a:pt x="371" y="2927"/>
                    <a:pt x="477" y="2932"/>
                    <a:pt x="572" y="2969"/>
                  </a:cubicBezTo>
                  <a:cubicBezTo>
                    <a:pt x="695" y="3016"/>
                    <a:pt x="792" y="3108"/>
                    <a:pt x="846" y="3228"/>
                  </a:cubicBezTo>
                  <a:cubicBezTo>
                    <a:pt x="899" y="3348"/>
                    <a:pt x="902" y="3482"/>
                    <a:pt x="855" y="3605"/>
                  </a:cubicBezTo>
                  <a:cubicBezTo>
                    <a:pt x="817" y="3704"/>
                    <a:pt x="748" y="3787"/>
                    <a:pt x="655" y="3844"/>
                  </a:cubicBezTo>
                  <a:cubicBezTo>
                    <a:pt x="642" y="3853"/>
                    <a:pt x="632" y="3867"/>
                    <a:pt x="629" y="3883"/>
                  </a:cubicBezTo>
                  <a:cubicBezTo>
                    <a:pt x="626" y="3899"/>
                    <a:pt x="630" y="3915"/>
                    <a:pt x="640" y="3928"/>
                  </a:cubicBezTo>
                  <a:cubicBezTo>
                    <a:pt x="786" y="4123"/>
                    <a:pt x="960" y="4292"/>
                    <a:pt x="1157" y="4431"/>
                  </a:cubicBezTo>
                  <a:cubicBezTo>
                    <a:pt x="1170" y="4440"/>
                    <a:pt x="1187" y="4444"/>
                    <a:pt x="1203" y="4440"/>
                  </a:cubicBezTo>
                  <a:cubicBezTo>
                    <a:pt x="1219" y="4437"/>
                    <a:pt x="1233" y="4427"/>
                    <a:pt x="1241" y="4413"/>
                  </a:cubicBezTo>
                  <a:cubicBezTo>
                    <a:pt x="1294" y="4322"/>
                    <a:pt x="1372" y="4252"/>
                    <a:pt x="1467" y="4209"/>
                  </a:cubicBezTo>
                  <a:cubicBezTo>
                    <a:pt x="1530" y="4181"/>
                    <a:pt x="1598" y="4167"/>
                    <a:pt x="1667" y="4167"/>
                  </a:cubicBezTo>
                  <a:close/>
                  <a:moveTo>
                    <a:pt x="2517" y="3365"/>
                  </a:moveTo>
                  <a:cubicBezTo>
                    <a:pt x="2181" y="3365"/>
                    <a:pt x="1876" y="3167"/>
                    <a:pt x="1740" y="2861"/>
                  </a:cubicBezTo>
                  <a:cubicBezTo>
                    <a:pt x="1550" y="2433"/>
                    <a:pt x="1743" y="1930"/>
                    <a:pt x="2171" y="1740"/>
                  </a:cubicBezTo>
                  <a:cubicBezTo>
                    <a:pt x="2281" y="1691"/>
                    <a:pt x="2397" y="1667"/>
                    <a:pt x="2516" y="1667"/>
                  </a:cubicBezTo>
                  <a:cubicBezTo>
                    <a:pt x="2851" y="1667"/>
                    <a:pt x="3156" y="1865"/>
                    <a:pt x="3292" y="2171"/>
                  </a:cubicBezTo>
                  <a:cubicBezTo>
                    <a:pt x="3482" y="2599"/>
                    <a:pt x="3289" y="3101"/>
                    <a:pt x="2861" y="3292"/>
                  </a:cubicBezTo>
                  <a:cubicBezTo>
                    <a:pt x="2752" y="3341"/>
                    <a:pt x="2636" y="3365"/>
                    <a:pt x="2517" y="3365"/>
                  </a:cubicBezTo>
                  <a:close/>
                  <a:moveTo>
                    <a:pt x="2516" y="1823"/>
                  </a:moveTo>
                  <a:cubicBezTo>
                    <a:pt x="2419" y="1823"/>
                    <a:pt x="2324" y="1843"/>
                    <a:pt x="2234" y="1883"/>
                  </a:cubicBezTo>
                  <a:cubicBezTo>
                    <a:pt x="1885" y="2038"/>
                    <a:pt x="1728" y="2449"/>
                    <a:pt x="1883" y="2798"/>
                  </a:cubicBezTo>
                  <a:cubicBezTo>
                    <a:pt x="1994" y="3048"/>
                    <a:pt x="2243" y="3209"/>
                    <a:pt x="2517" y="3209"/>
                  </a:cubicBezTo>
                  <a:cubicBezTo>
                    <a:pt x="2614" y="3209"/>
                    <a:pt x="2708" y="3189"/>
                    <a:pt x="2798" y="3149"/>
                  </a:cubicBezTo>
                  <a:cubicBezTo>
                    <a:pt x="3147" y="2994"/>
                    <a:pt x="3305" y="2583"/>
                    <a:pt x="3149" y="2234"/>
                  </a:cubicBezTo>
                  <a:cubicBezTo>
                    <a:pt x="3038" y="1984"/>
                    <a:pt x="2789" y="1823"/>
                    <a:pt x="2516" y="1823"/>
                  </a:cubicBezTo>
                  <a:close/>
                </a:path>
              </a:pathLst>
            </a:custGeom>
            <a:solidFill>
              <a:srgbClr val="FCE227"/>
            </a:solidFill>
            <a:ln>
              <a:noFill/>
            </a:ln>
          </p:spPr>
          <p:txBody>
            <a:bodyPr wrap="square" lIns="68580" tIns="34290" rIns="68580" bIns="3429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zh-CN" altLang="en-US" sz="1350">
                <a:solidFill>
                  <a:srgbClr val="000000"/>
                </a:solidFill>
              </a:endParaRPr>
            </a:p>
          </p:txBody>
        </p:sp>
        <p:grpSp>
          <p:nvGrpSpPr>
            <p:cNvPr id="83" name="î$ľiḋe"/>
            <p:cNvGrpSpPr/>
            <p:nvPr/>
          </p:nvGrpSpPr>
          <p:grpSpPr>
            <a:xfrm>
              <a:off x="4900613" y="3208337"/>
              <a:ext cx="2390775" cy="2938463"/>
              <a:chOff x="4900613" y="3208337"/>
              <a:chExt cx="2390775" cy="2938463"/>
            </a:xfrm>
          </p:grpSpPr>
          <p:sp>
            <p:nvSpPr>
              <p:cNvPr id="84" name="ïs1iḑé"/>
              <p:cNvSpPr/>
              <p:nvPr/>
            </p:nvSpPr>
            <p:spPr bwMode="auto">
              <a:xfrm>
                <a:off x="5805488" y="5937250"/>
                <a:ext cx="581025" cy="209550"/>
              </a:xfrm>
              <a:custGeom>
                <a:avLst/>
                <a:gdLst>
                  <a:gd name="connsiteX0" fmla="*/ 0 w 581025"/>
                  <a:gd name="connsiteY0" fmla="*/ 0 h 209550"/>
                  <a:gd name="connsiteX1" fmla="*/ 581025 w 581025"/>
                  <a:gd name="connsiteY1" fmla="*/ 0 h 209550"/>
                  <a:gd name="connsiteX2" fmla="*/ 0 w 581025"/>
                  <a:gd name="connsiteY2" fmla="*/ 0 h 209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81025" h="209550">
                    <a:moveTo>
                      <a:pt x="0" y="0"/>
                    </a:moveTo>
                    <a:cubicBezTo>
                      <a:pt x="0" y="0"/>
                      <a:pt x="0" y="0"/>
                      <a:pt x="581025" y="0"/>
                    </a:cubicBezTo>
                    <a:cubicBezTo>
                      <a:pt x="296969" y="471488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4D4D4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68580" tIns="34290" rIns="68580" bIns="34290" anchor="ctr">
                <a:normAutofit fontScale="55000" lnSpcReduction="20000"/>
              </a:bodyPr>
              <a:lstStyle/>
              <a:p>
                <a:pPr algn="ctr"/>
                <a:endParaRPr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5" name="iṧliḑê"/>
              <p:cNvSpPr/>
              <p:nvPr/>
            </p:nvSpPr>
            <p:spPr bwMode="auto">
              <a:xfrm>
                <a:off x="4900613" y="3208337"/>
                <a:ext cx="2390775" cy="2271713"/>
              </a:xfrm>
              <a:custGeom>
                <a:avLst/>
                <a:gdLst>
                  <a:gd name="T0" fmla="*/ 185 w 370"/>
                  <a:gd name="T1" fmla="*/ 0 h 352"/>
                  <a:gd name="T2" fmla="*/ 73 w 370"/>
                  <a:gd name="T3" fmla="*/ 239 h 352"/>
                  <a:gd name="T4" fmla="*/ 122 w 370"/>
                  <a:gd name="T5" fmla="*/ 338 h 352"/>
                  <a:gd name="T6" fmla="*/ 185 w 370"/>
                  <a:gd name="T7" fmla="*/ 352 h 352"/>
                  <a:gd name="T8" fmla="*/ 249 w 370"/>
                  <a:gd name="T9" fmla="*/ 338 h 352"/>
                  <a:gd name="T10" fmla="*/ 298 w 370"/>
                  <a:gd name="T11" fmla="*/ 239 h 352"/>
                  <a:gd name="T12" fmla="*/ 185 w 370"/>
                  <a:gd name="T13" fmla="*/ 0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70" h="352">
                    <a:moveTo>
                      <a:pt x="185" y="0"/>
                    </a:moveTo>
                    <a:cubicBezTo>
                      <a:pt x="47" y="0"/>
                      <a:pt x="0" y="152"/>
                      <a:pt x="73" y="239"/>
                    </a:cubicBezTo>
                    <a:cubicBezTo>
                      <a:pt x="145" y="325"/>
                      <a:pt x="122" y="338"/>
                      <a:pt x="122" y="338"/>
                    </a:cubicBezTo>
                    <a:cubicBezTo>
                      <a:pt x="155" y="351"/>
                      <a:pt x="185" y="352"/>
                      <a:pt x="185" y="352"/>
                    </a:cubicBezTo>
                    <a:cubicBezTo>
                      <a:pt x="185" y="352"/>
                      <a:pt x="215" y="351"/>
                      <a:pt x="249" y="338"/>
                    </a:cubicBezTo>
                    <a:cubicBezTo>
                      <a:pt x="249" y="338"/>
                      <a:pt x="225" y="325"/>
                      <a:pt x="298" y="239"/>
                    </a:cubicBezTo>
                    <a:cubicBezTo>
                      <a:pt x="370" y="152"/>
                      <a:pt x="324" y="0"/>
                      <a:pt x="185" y="0"/>
                    </a:cubicBezTo>
                  </a:path>
                </a:pathLst>
              </a:custGeom>
              <a:solidFill>
                <a:srgbClr val="FCE227"/>
              </a:solidFill>
              <a:ln w="76200">
                <a:solidFill>
                  <a:schemeClr val="bg1"/>
                </a:solidFill>
                <a:round/>
              </a:ln>
            </p:spPr>
            <p:txBody>
              <a:bodyPr wrap="square" lIns="68580" tIns="34290" rIns="68580" bIns="34290" anchor="ctr">
                <a:normAutofit/>
              </a:bodyPr>
              <a:lstStyle/>
              <a:p>
                <a:pPr algn="ctr"/>
                <a:endParaRPr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6" name="í$ḻïďè"/>
              <p:cNvSpPr/>
              <p:nvPr/>
            </p:nvSpPr>
            <p:spPr bwMode="auto">
              <a:xfrm>
                <a:off x="5934075" y="3633787"/>
                <a:ext cx="1112838" cy="1793875"/>
              </a:xfrm>
              <a:custGeom>
                <a:avLst/>
                <a:gdLst>
                  <a:gd name="T0" fmla="*/ 60 w 172"/>
                  <a:gd name="T1" fmla="*/ 205 h 278"/>
                  <a:gd name="T2" fmla="*/ 0 w 172"/>
                  <a:gd name="T3" fmla="*/ 226 h 278"/>
                  <a:gd name="T4" fmla="*/ 0 w 172"/>
                  <a:gd name="T5" fmla="*/ 226 h 278"/>
                  <a:gd name="T6" fmla="*/ 17 w 172"/>
                  <a:gd name="T7" fmla="*/ 277 h 278"/>
                  <a:gd name="T8" fmla="*/ 33 w 172"/>
                  <a:gd name="T9" fmla="*/ 278 h 278"/>
                  <a:gd name="T10" fmla="*/ 58 w 172"/>
                  <a:gd name="T11" fmla="*/ 275 h 278"/>
                  <a:gd name="T12" fmla="*/ 60 w 172"/>
                  <a:gd name="T13" fmla="*/ 205 h 278"/>
                  <a:gd name="T14" fmla="*/ 130 w 172"/>
                  <a:gd name="T15" fmla="*/ 0 h 278"/>
                  <a:gd name="T16" fmla="*/ 63 w 172"/>
                  <a:gd name="T17" fmla="*/ 204 h 278"/>
                  <a:gd name="T18" fmla="*/ 60 w 172"/>
                  <a:gd name="T19" fmla="*/ 274 h 278"/>
                  <a:gd name="T20" fmla="*/ 73 w 172"/>
                  <a:gd name="T21" fmla="*/ 269 h 278"/>
                  <a:gd name="T22" fmla="*/ 88 w 172"/>
                  <a:gd name="T23" fmla="*/ 215 h 278"/>
                  <a:gd name="T24" fmla="*/ 153 w 172"/>
                  <a:gd name="T25" fmla="*/ 113 h 278"/>
                  <a:gd name="T26" fmla="*/ 130 w 172"/>
                  <a:gd name="T27" fmla="*/ 0 h 2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72" h="278">
                    <a:moveTo>
                      <a:pt x="60" y="205"/>
                    </a:moveTo>
                    <a:cubicBezTo>
                      <a:pt x="31" y="225"/>
                      <a:pt x="3" y="226"/>
                      <a:pt x="0" y="226"/>
                    </a:cubicBezTo>
                    <a:cubicBezTo>
                      <a:pt x="0" y="226"/>
                      <a:pt x="0" y="226"/>
                      <a:pt x="0" y="226"/>
                    </a:cubicBezTo>
                    <a:cubicBezTo>
                      <a:pt x="22" y="246"/>
                      <a:pt x="17" y="277"/>
                      <a:pt x="17" y="277"/>
                    </a:cubicBezTo>
                    <a:cubicBezTo>
                      <a:pt x="23" y="278"/>
                      <a:pt x="28" y="278"/>
                      <a:pt x="33" y="278"/>
                    </a:cubicBezTo>
                    <a:cubicBezTo>
                      <a:pt x="43" y="278"/>
                      <a:pt x="51" y="277"/>
                      <a:pt x="58" y="275"/>
                    </a:cubicBezTo>
                    <a:cubicBezTo>
                      <a:pt x="60" y="205"/>
                      <a:pt x="60" y="205"/>
                      <a:pt x="60" y="205"/>
                    </a:cubicBezTo>
                    <a:moveTo>
                      <a:pt x="130" y="0"/>
                    </a:moveTo>
                    <a:cubicBezTo>
                      <a:pt x="137" y="122"/>
                      <a:pt x="99" y="178"/>
                      <a:pt x="63" y="204"/>
                    </a:cubicBezTo>
                    <a:cubicBezTo>
                      <a:pt x="60" y="274"/>
                      <a:pt x="60" y="274"/>
                      <a:pt x="60" y="274"/>
                    </a:cubicBezTo>
                    <a:cubicBezTo>
                      <a:pt x="69" y="272"/>
                      <a:pt x="73" y="269"/>
                      <a:pt x="73" y="269"/>
                    </a:cubicBezTo>
                    <a:cubicBezTo>
                      <a:pt x="73" y="269"/>
                      <a:pt x="70" y="243"/>
                      <a:pt x="88" y="215"/>
                    </a:cubicBezTo>
                    <a:cubicBezTo>
                      <a:pt x="96" y="203"/>
                      <a:pt x="140" y="161"/>
                      <a:pt x="153" y="113"/>
                    </a:cubicBezTo>
                    <a:cubicBezTo>
                      <a:pt x="172" y="38"/>
                      <a:pt x="130" y="0"/>
                      <a:pt x="130" y="0"/>
                    </a:cubicBezTo>
                  </a:path>
                </a:pathLst>
              </a:custGeom>
              <a:solidFill>
                <a:srgbClr val="F9C80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68580" tIns="34290" rIns="68580" bIns="34290" anchor="ctr">
                <a:normAutofit/>
              </a:bodyPr>
              <a:lstStyle/>
              <a:p>
                <a:pPr algn="ctr"/>
                <a:endParaRPr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7" name="iśḷïďe"/>
              <p:cNvSpPr/>
              <p:nvPr/>
            </p:nvSpPr>
            <p:spPr bwMode="auto">
              <a:xfrm>
                <a:off x="5197475" y="4124325"/>
                <a:ext cx="446088" cy="646113"/>
              </a:xfrm>
              <a:custGeom>
                <a:avLst/>
                <a:gdLst>
                  <a:gd name="T0" fmla="*/ 5 w 69"/>
                  <a:gd name="T1" fmla="*/ 0 h 100"/>
                  <a:gd name="T2" fmla="*/ 59 w 69"/>
                  <a:gd name="T3" fmla="*/ 100 h 100"/>
                  <a:gd name="T4" fmla="*/ 69 w 69"/>
                  <a:gd name="T5" fmla="*/ 79 h 100"/>
                  <a:gd name="T6" fmla="*/ 5 w 69"/>
                  <a:gd name="T7" fmla="*/ 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9" h="100">
                    <a:moveTo>
                      <a:pt x="5" y="0"/>
                    </a:moveTo>
                    <a:cubicBezTo>
                      <a:pt x="0" y="76"/>
                      <a:pt x="59" y="100"/>
                      <a:pt x="59" y="100"/>
                    </a:cubicBezTo>
                    <a:cubicBezTo>
                      <a:pt x="69" y="79"/>
                      <a:pt x="69" y="79"/>
                      <a:pt x="69" y="79"/>
                    </a:cubicBezTo>
                    <a:cubicBezTo>
                      <a:pt x="26" y="60"/>
                      <a:pt x="5" y="0"/>
                      <a:pt x="5" y="0"/>
                    </a:cubicBezTo>
                  </a:path>
                </a:pathLst>
              </a:custGeom>
              <a:solidFill>
                <a:srgbClr val="FDF06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68580" tIns="34290" rIns="68580" bIns="34290" anchor="ctr">
                <a:normAutofit/>
              </a:bodyPr>
              <a:lstStyle/>
              <a:p>
                <a:pPr algn="ctr"/>
                <a:endParaRPr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8" name="ïşlide"/>
              <p:cNvSpPr/>
              <p:nvPr/>
            </p:nvSpPr>
            <p:spPr bwMode="auto">
              <a:xfrm>
                <a:off x="5372100" y="3448050"/>
                <a:ext cx="549275" cy="644525"/>
              </a:xfrm>
              <a:custGeom>
                <a:avLst/>
                <a:gdLst>
                  <a:gd name="T0" fmla="*/ 62 w 85"/>
                  <a:gd name="T1" fmla="*/ 0 h 100"/>
                  <a:gd name="T2" fmla="*/ 15 w 85"/>
                  <a:gd name="T3" fmla="*/ 31 h 100"/>
                  <a:gd name="T4" fmla="*/ 0 w 85"/>
                  <a:gd name="T5" fmla="*/ 73 h 100"/>
                  <a:gd name="T6" fmla="*/ 10 w 85"/>
                  <a:gd name="T7" fmla="*/ 96 h 100"/>
                  <a:gd name="T8" fmla="*/ 23 w 85"/>
                  <a:gd name="T9" fmla="*/ 100 h 100"/>
                  <a:gd name="T10" fmla="*/ 69 w 85"/>
                  <a:gd name="T11" fmla="*/ 69 h 100"/>
                  <a:gd name="T12" fmla="*/ 85 w 85"/>
                  <a:gd name="T13" fmla="*/ 27 h 100"/>
                  <a:gd name="T14" fmla="*/ 75 w 85"/>
                  <a:gd name="T15" fmla="*/ 4 h 100"/>
                  <a:gd name="T16" fmla="*/ 62 w 85"/>
                  <a:gd name="T17" fmla="*/ 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5" h="100">
                    <a:moveTo>
                      <a:pt x="62" y="0"/>
                    </a:moveTo>
                    <a:cubicBezTo>
                      <a:pt x="47" y="0"/>
                      <a:pt x="29" y="12"/>
                      <a:pt x="15" y="31"/>
                    </a:cubicBezTo>
                    <a:cubicBezTo>
                      <a:pt x="5" y="45"/>
                      <a:pt x="0" y="60"/>
                      <a:pt x="0" y="73"/>
                    </a:cubicBezTo>
                    <a:cubicBezTo>
                      <a:pt x="0" y="83"/>
                      <a:pt x="3" y="91"/>
                      <a:pt x="10" y="96"/>
                    </a:cubicBezTo>
                    <a:cubicBezTo>
                      <a:pt x="14" y="98"/>
                      <a:pt x="18" y="100"/>
                      <a:pt x="23" y="100"/>
                    </a:cubicBezTo>
                    <a:cubicBezTo>
                      <a:pt x="37" y="100"/>
                      <a:pt x="56" y="88"/>
                      <a:pt x="69" y="69"/>
                    </a:cubicBezTo>
                    <a:cubicBezTo>
                      <a:pt x="79" y="55"/>
                      <a:pt x="85" y="40"/>
                      <a:pt x="85" y="27"/>
                    </a:cubicBezTo>
                    <a:cubicBezTo>
                      <a:pt x="85" y="17"/>
                      <a:pt x="81" y="9"/>
                      <a:pt x="75" y="4"/>
                    </a:cubicBezTo>
                    <a:cubicBezTo>
                      <a:pt x="71" y="2"/>
                      <a:pt x="67" y="0"/>
                      <a:pt x="62" y="0"/>
                    </a:cubicBezTo>
                  </a:path>
                </a:pathLst>
              </a:custGeom>
              <a:solidFill>
                <a:srgbClr val="FEF79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68580" tIns="34290" rIns="68580" bIns="34290" anchor="ctr">
                <a:normAutofit/>
              </a:bodyPr>
              <a:lstStyle/>
              <a:p>
                <a:pPr algn="ctr"/>
                <a:endParaRPr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9" name="ï$ļiḓé"/>
              <p:cNvSpPr/>
              <p:nvPr/>
            </p:nvSpPr>
            <p:spPr bwMode="auto">
              <a:xfrm>
                <a:off x="5811838" y="4667250"/>
                <a:ext cx="530225" cy="889000"/>
              </a:xfrm>
              <a:custGeom>
                <a:avLst/>
                <a:gdLst>
                  <a:gd name="T0" fmla="*/ 11 w 82"/>
                  <a:gd name="T1" fmla="*/ 129 h 138"/>
                  <a:gd name="T2" fmla="*/ 12 w 82"/>
                  <a:gd name="T3" fmla="*/ 129 h 138"/>
                  <a:gd name="T4" fmla="*/ 2 w 82"/>
                  <a:gd name="T5" fmla="*/ 21 h 138"/>
                  <a:gd name="T6" fmla="*/ 1 w 82"/>
                  <a:gd name="T7" fmla="*/ 22 h 138"/>
                  <a:gd name="T8" fmla="*/ 0 w 82"/>
                  <a:gd name="T9" fmla="*/ 22 h 138"/>
                  <a:gd name="T10" fmla="*/ 28 w 82"/>
                  <a:gd name="T11" fmla="*/ 35 h 138"/>
                  <a:gd name="T12" fmla="*/ 45 w 82"/>
                  <a:gd name="T13" fmla="*/ 29 h 138"/>
                  <a:gd name="T14" fmla="*/ 53 w 82"/>
                  <a:gd name="T15" fmla="*/ 16 h 138"/>
                  <a:gd name="T16" fmla="*/ 48 w 82"/>
                  <a:gd name="T17" fmla="*/ 5 h 138"/>
                  <a:gd name="T18" fmla="*/ 36 w 82"/>
                  <a:gd name="T19" fmla="*/ 0 h 138"/>
                  <a:gd name="T20" fmla="*/ 31 w 82"/>
                  <a:gd name="T21" fmla="*/ 2 h 138"/>
                  <a:gd name="T22" fmla="*/ 24 w 82"/>
                  <a:gd name="T23" fmla="*/ 17 h 138"/>
                  <a:gd name="T24" fmla="*/ 30 w 82"/>
                  <a:gd name="T25" fmla="*/ 33 h 138"/>
                  <a:gd name="T26" fmla="*/ 52 w 82"/>
                  <a:gd name="T27" fmla="*/ 40 h 138"/>
                  <a:gd name="T28" fmla="*/ 53 w 82"/>
                  <a:gd name="T29" fmla="*/ 40 h 138"/>
                  <a:gd name="T30" fmla="*/ 78 w 82"/>
                  <a:gd name="T31" fmla="*/ 31 h 138"/>
                  <a:gd name="T32" fmla="*/ 82 w 82"/>
                  <a:gd name="T33" fmla="*/ 22 h 138"/>
                  <a:gd name="T34" fmla="*/ 81 w 82"/>
                  <a:gd name="T35" fmla="*/ 22 h 138"/>
                  <a:gd name="T36" fmla="*/ 80 w 82"/>
                  <a:gd name="T37" fmla="*/ 22 h 138"/>
                  <a:gd name="T38" fmla="*/ 77 w 82"/>
                  <a:gd name="T39" fmla="*/ 129 h 138"/>
                  <a:gd name="T40" fmla="*/ 78 w 82"/>
                  <a:gd name="T41" fmla="*/ 129 h 138"/>
                  <a:gd name="T42" fmla="*/ 77 w 82"/>
                  <a:gd name="T43" fmla="*/ 129 h 138"/>
                  <a:gd name="T44" fmla="*/ 76 w 82"/>
                  <a:gd name="T45" fmla="*/ 129 h 138"/>
                  <a:gd name="T46" fmla="*/ 46 w 82"/>
                  <a:gd name="T47" fmla="*/ 136 h 138"/>
                  <a:gd name="T48" fmla="*/ 11 w 82"/>
                  <a:gd name="T49" fmla="*/ 128 h 138"/>
                  <a:gd name="T50" fmla="*/ 11 w 82"/>
                  <a:gd name="T51" fmla="*/ 129 h 138"/>
                  <a:gd name="T52" fmla="*/ 12 w 82"/>
                  <a:gd name="T53" fmla="*/ 129 h 138"/>
                  <a:gd name="T54" fmla="*/ 11 w 82"/>
                  <a:gd name="T55" fmla="*/ 129 h 138"/>
                  <a:gd name="T56" fmla="*/ 10 w 82"/>
                  <a:gd name="T57" fmla="*/ 130 h 138"/>
                  <a:gd name="T58" fmla="*/ 46 w 82"/>
                  <a:gd name="T59" fmla="*/ 138 h 138"/>
                  <a:gd name="T60" fmla="*/ 78 w 82"/>
                  <a:gd name="T61" fmla="*/ 130 h 138"/>
                  <a:gd name="T62" fmla="*/ 79 w 82"/>
                  <a:gd name="T63" fmla="*/ 130 h 138"/>
                  <a:gd name="T64" fmla="*/ 82 w 82"/>
                  <a:gd name="T65" fmla="*/ 22 h 138"/>
                  <a:gd name="T66" fmla="*/ 80 w 82"/>
                  <a:gd name="T67" fmla="*/ 21 h 138"/>
                  <a:gd name="T68" fmla="*/ 80 w 82"/>
                  <a:gd name="T69" fmla="*/ 22 h 138"/>
                  <a:gd name="T70" fmla="*/ 75 w 82"/>
                  <a:gd name="T71" fmla="*/ 30 h 138"/>
                  <a:gd name="T72" fmla="*/ 53 w 82"/>
                  <a:gd name="T73" fmla="*/ 38 h 138"/>
                  <a:gd name="T74" fmla="*/ 52 w 82"/>
                  <a:gd name="T75" fmla="*/ 38 h 138"/>
                  <a:gd name="T76" fmla="*/ 31 w 82"/>
                  <a:gd name="T77" fmla="*/ 31 h 138"/>
                  <a:gd name="T78" fmla="*/ 26 w 82"/>
                  <a:gd name="T79" fmla="*/ 17 h 138"/>
                  <a:gd name="T80" fmla="*/ 32 w 82"/>
                  <a:gd name="T81" fmla="*/ 3 h 138"/>
                  <a:gd name="T82" fmla="*/ 36 w 82"/>
                  <a:gd name="T83" fmla="*/ 2 h 138"/>
                  <a:gd name="T84" fmla="*/ 46 w 82"/>
                  <a:gd name="T85" fmla="*/ 6 h 138"/>
                  <a:gd name="T86" fmla="*/ 51 w 82"/>
                  <a:gd name="T87" fmla="*/ 16 h 138"/>
                  <a:gd name="T88" fmla="*/ 44 w 82"/>
                  <a:gd name="T89" fmla="*/ 28 h 138"/>
                  <a:gd name="T90" fmla="*/ 28 w 82"/>
                  <a:gd name="T91" fmla="*/ 33 h 138"/>
                  <a:gd name="T92" fmla="*/ 10 w 82"/>
                  <a:gd name="T93" fmla="*/ 27 h 138"/>
                  <a:gd name="T94" fmla="*/ 4 w 82"/>
                  <a:gd name="T95" fmla="*/ 23 h 138"/>
                  <a:gd name="T96" fmla="*/ 2 w 82"/>
                  <a:gd name="T97" fmla="*/ 21 h 138"/>
                  <a:gd name="T98" fmla="*/ 2 w 82"/>
                  <a:gd name="T99" fmla="*/ 21 h 138"/>
                  <a:gd name="T100" fmla="*/ 0 w 82"/>
                  <a:gd name="T101" fmla="*/ 19 h 138"/>
                  <a:gd name="T102" fmla="*/ 10 w 82"/>
                  <a:gd name="T103" fmla="*/ 129 h 138"/>
                  <a:gd name="T104" fmla="*/ 10 w 82"/>
                  <a:gd name="T105" fmla="*/ 130 h 138"/>
                  <a:gd name="T106" fmla="*/ 11 w 82"/>
                  <a:gd name="T107" fmla="*/ 129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82" h="138">
                    <a:moveTo>
                      <a:pt x="11" y="129"/>
                    </a:moveTo>
                    <a:cubicBezTo>
                      <a:pt x="12" y="129"/>
                      <a:pt x="12" y="129"/>
                      <a:pt x="12" y="129"/>
                    </a:cubicBezTo>
                    <a:cubicBezTo>
                      <a:pt x="2" y="21"/>
                      <a:pt x="2" y="21"/>
                      <a:pt x="2" y="21"/>
                    </a:cubicBezTo>
                    <a:cubicBezTo>
                      <a:pt x="1" y="22"/>
                      <a:pt x="1" y="22"/>
                      <a:pt x="1" y="22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0" y="22"/>
                      <a:pt x="13" y="35"/>
                      <a:pt x="28" y="35"/>
                    </a:cubicBezTo>
                    <a:cubicBezTo>
                      <a:pt x="34" y="35"/>
                      <a:pt x="39" y="33"/>
                      <a:pt x="45" y="29"/>
                    </a:cubicBezTo>
                    <a:cubicBezTo>
                      <a:pt x="51" y="25"/>
                      <a:pt x="53" y="20"/>
                      <a:pt x="53" y="16"/>
                    </a:cubicBezTo>
                    <a:cubicBezTo>
                      <a:pt x="53" y="11"/>
                      <a:pt x="51" y="7"/>
                      <a:pt x="48" y="5"/>
                    </a:cubicBezTo>
                    <a:cubicBezTo>
                      <a:pt x="44" y="2"/>
                      <a:pt x="40" y="0"/>
                      <a:pt x="36" y="0"/>
                    </a:cubicBezTo>
                    <a:cubicBezTo>
                      <a:pt x="34" y="0"/>
                      <a:pt x="32" y="1"/>
                      <a:pt x="31" y="2"/>
                    </a:cubicBezTo>
                    <a:cubicBezTo>
                      <a:pt x="27" y="4"/>
                      <a:pt x="24" y="11"/>
                      <a:pt x="24" y="17"/>
                    </a:cubicBezTo>
                    <a:cubicBezTo>
                      <a:pt x="24" y="23"/>
                      <a:pt x="26" y="28"/>
                      <a:pt x="30" y="33"/>
                    </a:cubicBezTo>
                    <a:cubicBezTo>
                      <a:pt x="35" y="37"/>
                      <a:pt x="42" y="40"/>
                      <a:pt x="52" y="40"/>
                    </a:cubicBezTo>
                    <a:cubicBezTo>
                      <a:pt x="53" y="40"/>
                      <a:pt x="53" y="40"/>
                      <a:pt x="53" y="40"/>
                    </a:cubicBezTo>
                    <a:cubicBezTo>
                      <a:pt x="66" y="40"/>
                      <a:pt x="74" y="35"/>
                      <a:pt x="78" y="31"/>
                    </a:cubicBezTo>
                    <a:cubicBezTo>
                      <a:pt x="82" y="26"/>
                      <a:pt x="82" y="22"/>
                      <a:pt x="82" y="22"/>
                    </a:cubicBezTo>
                    <a:cubicBezTo>
                      <a:pt x="81" y="22"/>
                      <a:pt x="81" y="22"/>
                      <a:pt x="81" y="22"/>
                    </a:cubicBezTo>
                    <a:cubicBezTo>
                      <a:pt x="80" y="22"/>
                      <a:pt x="80" y="22"/>
                      <a:pt x="80" y="22"/>
                    </a:cubicBezTo>
                    <a:cubicBezTo>
                      <a:pt x="77" y="129"/>
                      <a:pt x="77" y="129"/>
                      <a:pt x="77" y="129"/>
                    </a:cubicBezTo>
                    <a:cubicBezTo>
                      <a:pt x="78" y="129"/>
                      <a:pt x="78" y="129"/>
                      <a:pt x="78" y="129"/>
                    </a:cubicBezTo>
                    <a:cubicBezTo>
                      <a:pt x="77" y="129"/>
                      <a:pt x="77" y="129"/>
                      <a:pt x="77" y="129"/>
                    </a:cubicBezTo>
                    <a:cubicBezTo>
                      <a:pt x="76" y="129"/>
                      <a:pt x="76" y="129"/>
                      <a:pt x="76" y="129"/>
                    </a:cubicBezTo>
                    <a:cubicBezTo>
                      <a:pt x="74" y="130"/>
                      <a:pt x="63" y="136"/>
                      <a:pt x="46" y="136"/>
                    </a:cubicBezTo>
                    <a:cubicBezTo>
                      <a:pt x="36" y="136"/>
                      <a:pt x="24" y="134"/>
                      <a:pt x="11" y="128"/>
                    </a:cubicBezTo>
                    <a:cubicBezTo>
                      <a:pt x="11" y="129"/>
                      <a:pt x="11" y="129"/>
                      <a:pt x="11" y="129"/>
                    </a:cubicBezTo>
                    <a:cubicBezTo>
                      <a:pt x="12" y="129"/>
                      <a:pt x="12" y="129"/>
                      <a:pt x="12" y="129"/>
                    </a:cubicBezTo>
                    <a:cubicBezTo>
                      <a:pt x="11" y="129"/>
                      <a:pt x="11" y="129"/>
                      <a:pt x="11" y="129"/>
                    </a:cubicBezTo>
                    <a:cubicBezTo>
                      <a:pt x="10" y="130"/>
                      <a:pt x="10" y="130"/>
                      <a:pt x="10" y="130"/>
                    </a:cubicBezTo>
                    <a:cubicBezTo>
                      <a:pt x="23" y="136"/>
                      <a:pt x="36" y="138"/>
                      <a:pt x="46" y="138"/>
                    </a:cubicBezTo>
                    <a:cubicBezTo>
                      <a:pt x="66" y="138"/>
                      <a:pt x="78" y="130"/>
                      <a:pt x="78" y="130"/>
                    </a:cubicBezTo>
                    <a:cubicBezTo>
                      <a:pt x="79" y="130"/>
                      <a:pt x="79" y="130"/>
                      <a:pt x="79" y="130"/>
                    </a:cubicBezTo>
                    <a:cubicBezTo>
                      <a:pt x="82" y="22"/>
                      <a:pt x="82" y="22"/>
                      <a:pt x="82" y="22"/>
                    </a:cubicBezTo>
                    <a:cubicBezTo>
                      <a:pt x="80" y="21"/>
                      <a:pt x="80" y="21"/>
                      <a:pt x="80" y="21"/>
                    </a:cubicBezTo>
                    <a:cubicBezTo>
                      <a:pt x="80" y="22"/>
                      <a:pt x="80" y="22"/>
                      <a:pt x="80" y="22"/>
                    </a:cubicBezTo>
                    <a:cubicBezTo>
                      <a:pt x="80" y="22"/>
                      <a:pt x="79" y="26"/>
                      <a:pt x="75" y="30"/>
                    </a:cubicBezTo>
                    <a:cubicBezTo>
                      <a:pt x="72" y="34"/>
                      <a:pt x="65" y="38"/>
                      <a:pt x="53" y="38"/>
                    </a:cubicBezTo>
                    <a:cubicBezTo>
                      <a:pt x="52" y="38"/>
                      <a:pt x="52" y="38"/>
                      <a:pt x="52" y="38"/>
                    </a:cubicBezTo>
                    <a:cubicBezTo>
                      <a:pt x="42" y="38"/>
                      <a:pt x="36" y="35"/>
                      <a:pt x="31" y="31"/>
                    </a:cubicBezTo>
                    <a:cubicBezTo>
                      <a:pt x="27" y="27"/>
                      <a:pt x="26" y="22"/>
                      <a:pt x="26" y="17"/>
                    </a:cubicBezTo>
                    <a:cubicBezTo>
                      <a:pt x="26" y="11"/>
                      <a:pt x="29" y="5"/>
                      <a:pt x="32" y="3"/>
                    </a:cubicBezTo>
                    <a:cubicBezTo>
                      <a:pt x="33" y="3"/>
                      <a:pt x="34" y="2"/>
                      <a:pt x="36" y="2"/>
                    </a:cubicBezTo>
                    <a:cubicBezTo>
                      <a:pt x="39" y="2"/>
                      <a:pt x="43" y="4"/>
                      <a:pt x="46" y="6"/>
                    </a:cubicBezTo>
                    <a:cubicBezTo>
                      <a:pt x="49" y="9"/>
                      <a:pt x="51" y="12"/>
                      <a:pt x="51" y="16"/>
                    </a:cubicBezTo>
                    <a:cubicBezTo>
                      <a:pt x="51" y="19"/>
                      <a:pt x="49" y="23"/>
                      <a:pt x="44" y="28"/>
                    </a:cubicBezTo>
                    <a:cubicBezTo>
                      <a:pt x="38" y="32"/>
                      <a:pt x="33" y="33"/>
                      <a:pt x="28" y="33"/>
                    </a:cubicBezTo>
                    <a:cubicBezTo>
                      <a:pt x="21" y="33"/>
                      <a:pt x="14" y="30"/>
                      <a:pt x="10" y="27"/>
                    </a:cubicBezTo>
                    <a:cubicBezTo>
                      <a:pt x="7" y="25"/>
                      <a:pt x="5" y="24"/>
                      <a:pt x="4" y="23"/>
                    </a:cubicBezTo>
                    <a:cubicBezTo>
                      <a:pt x="3" y="22"/>
                      <a:pt x="3" y="22"/>
                      <a:pt x="2" y="21"/>
                    </a:cubicBezTo>
                    <a:cubicBezTo>
                      <a:pt x="2" y="21"/>
                      <a:pt x="2" y="21"/>
                      <a:pt x="2" y="21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10" y="129"/>
                      <a:pt x="10" y="129"/>
                      <a:pt x="10" y="129"/>
                    </a:cubicBezTo>
                    <a:cubicBezTo>
                      <a:pt x="10" y="130"/>
                      <a:pt x="10" y="130"/>
                      <a:pt x="10" y="130"/>
                    </a:cubicBezTo>
                    <a:cubicBezTo>
                      <a:pt x="11" y="129"/>
                      <a:pt x="11" y="129"/>
                      <a:pt x="11" y="129"/>
                    </a:cubicBezTo>
                  </a:path>
                </a:pathLst>
              </a:custGeom>
              <a:solidFill>
                <a:srgbClr val="99830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68580" tIns="34290" rIns="68580" bIns="34290" anchor="ctr">
                <a:normAutofit/>
              </a:bodyPr>
              <a:lstStyle/>
              <a:p>
                <a:pPr algn="ctr"/>
                <a:endParaRPr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0" name="ïṥḷïďe"/>
              <p:cNvSpPr/>
              <p:nvPr/>
            </p:nvSpPr>
            <p:spPr bwMode="auto">
              <a:xfrm>
                <a:off x="5643563" y="5389562"/>
                <a:ext cx="904875" cy="585788"/>
              </a:xfrm>
              <a:custGeom>
                <a:avLst/>
                <a:gdLst>
                  <a:gd name="T0" fmla="*/ 134 w 140"/>
                  <a:gd name="T1" fmla="*/ 0 h 91"/>
                  <a:gd name="T2" fmla="*/ 7 w 140"/>
                  <a:gd name="T3" fmla="*/ 0 h 91"/>
                  <a:gd name="T4" fmla="*/ 7 w 140"/>
                  <a:gd name="T5" fmla="*/ 73 h 91"/>
                  <a:gd name="T6" fmla="*/ 70 w 140"/>
                  <a:gd name="T7" fmla="*/ 91 h 91"/>
                  <a:gd name="T8" fmla="*/ 134 w 140"/>
                  <a:gd name="T9" fmla="*/ 73 h 91"/>
                  <a:gd name="T10" fmla="*/ 134 w 140"/>
                  <a:gd name="T11" fmla="*/ 0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0" h="91">
                    <a:moveTo>
                      <a:pt x="134" y="0"/>
                    </a:moveTo>
                    <a:cubicBezTo>
                      <a:pt x="99" y="15"/>
                      <a:pt x="41" y="15"/>
                      <a:pt x="7" y="0"/>
                    </a:cubicBezTo>
                    <a:cubicBezTo>
                      <a:pt x="7" y="0"/>
                      <a:pt x="0" y="60"/>
                      <a:pt x="7" y="73"/>
                    </a:cubicBezTo>
                    <a:cubicBezTo>
                      <a:pt x="13" y="86"/>
                      <a:pt x="50" y="91"/>
                      <a:pt x="70" y="91"/>
                    </a:cubicBezTo>
                    <a:cubicBezTo>
                      <a:pt x="90" y="91"/>
                      <a:pt x="127" y="86"/>
                      <a:pt x="134" y="73"/>
                    </a:cubicBezTo>
                    <a:cubicBezTo>
                      <a:pt x="140" y="60"/>
                      <a:pt x="134" y="0"/>
                      <a:pt x="134" y="0"/>
                    </a:cubicBezTo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68580" tIns="34290" rIns="68580" bIns="34290" anchor="ctr">
                <a:normAutofit/>
              </a:bodyPr>
              <a:lstStyle/>
              <a:p>
                <a:pPr algn="ctr"/>
                <a:endParaRPr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1" name="íṣḻiďê"/>
              <p:cNvSpPr/>
              <p:nvPr/>
            </p:nvSpPr>
            <p:spPr bwMode="auto">
              <a:xfrm>
                <a:off x="5668963" y="5389562"/>
                <a:ext cx="854075" cy="585788"/>
              </a:xfrm>
              <a:custGeom>
                <a:avLst/>
                <a:gdLst>
                  <a:gd name="T0" fmla="*/ 34 w 132"/>
                  <a:gd name="T1" fmla="*/ 82 h 91"/>
                  <a:gd name="T2" fmla="*/ 6 w 132"/>
                  <a:gd name="T3" fmla="*/ 68 h 91"/>
                  <a:gd name="T4" fmla="*/ 6 w 132"/>
                  <a:gd name="T5" fmla="*/ 11 h 91"/>
                  <a:gd name="T6" fmla="*/ 34 w 132"/>
                  <a:gd name="T7" fmla="*/ 18 h 91"/>
                  <a:gd name="T8" fmla="*/ 34 w 132"/>
                  <a:gd name="T9" fmla="*/ 82 h 91"/>
                  <a:gd name="T10" fmla="*/ 65 w 132"/>
                  <a:gd name="T11" fmla="*/ 20 h 91"/>
                  <a:gd name="T12" fmla="*/ 124 w 132"/>
                  <a:gd name="T13" fmla="*/ 10 h 91"/>
                  <a:gd name="T14" fmla="*/ 126 w 132"/>
                  <a:gd name="T15" fmla="*/ 62 h 91"/>
                  <a:gd name="T16" fmla="*/ 76 w 132"/>
                  <a:gd name="T17" fmla="*/ 85 h 91"/>
                  <a:gd name="T18" fmla="*/ 60 w 132"/>
                  <a:gd name="T19" fmla="*/ 84 h 91"/>
                  <a:gd name="T20" fmla="*/ 60 w 132"/>
                  <a:gd name="T21" fmla="*/ 20 h 91"/>
                  <a:gd name="T22" fmla="*/ 65 w 132"/>
                  <a:gd name="T23" fmla="*/ 20 h 91"/>
                  <a:gd name="T24" fmla="*/ 130 w 132"/>
                  <a:gd name="T25" fmla="*/ 0 h 91"/>
                  <a:gd name="T26" fmla="*/ 130 w 132"/>
                  <a:gd name="T27" fmla="*/ 0 h 91"/>
                  <a:gd name="T28" fmla="*/ 130 w 132"/>
                  <a:gd name="T29" fmla="*/ 0 h 91"/>
                  <a:gd name="T30" fmla="*/ 101 w 132"/>
                  <a:gd name="T31" fmla="*/ 8 h 91"/>
                  <a:gd name="T32" fmla="*/ 99 w 132"/>
                  <a:gd name="T33" fmla="*/ 9 h 91"/>
                  <a:gd name="T34" fmla="*/ 66 w 132"/>
                  <a:gd name="T35" fmla="*/ 11 h 91"/>
                  <a:gd name="T36" fmla="*/ 33 w 132"/>
                  <a:gd name="T37" fmla="*/ 9 h 91"/>
                  <a:gd name="T38" fmla="*/ 31 w 132"/>
                  <a:gd name="T39" fmla="*/ 8 h 91"/>
                  <a:gd name="T40" fmla="*/ 20 w 132"/>
                  <a:gd name="T41" fmla="*/ 6 h 91"/>
                  <a:gd name="T42" fmla="*/ 3 w 132"/>
                  <a:gd name="T43" fmla="*/ 0 h 91"/>
                  <a:gd name="T44" fmla="*/ 3 w 132"/>
                  <a:gd name="T45" fmla="*/ 0 h 91"/>
                  <a:gd name="T46" fmla="*/ 3 w 132"/>
                  <a:gd name="T47" fmla="*/ 0 h 91"/>
                  <a:gd name="T48" fmla="*/ 0 w 132"/>
                  <a:gd name="T49" fmla="*/ 49 h 91"/>
                  <a:gd name="T50" fmla="*/ 3 w 132"/>
                  <a:gd name="T51" fmla="*/ 73 h 91"/>
                  <a:gd name="T52" fmla="*/ 66 w 132"/>
                  <a:gd name="T53" fmla="*/ 91 h 91"/>
                  <a:gd name="T54" fmla="*/ 130 w 132"/>
                  <a:gd name="T55" fmla="*/ 73 h 91"/>
                  <a:gd name="T56" fmla="*/ 132 w 132"/>
                  <a:gd name="T57" fmla="*/ 49 h 91"/>
                  <a:gd name="T58" fmla="*/ 130 w 132"/>
                  <a:gd name="T59" fmla="*/ 0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132" h="91">
                    <a:moveTo>
                      <a:pt x="34" y="82"/>
                    </a:moveTo>
                    <a:cubicBezTo>
                      <a:pt x="34" y="82"/>
                      <a:pt x="12" y="82"/>
                      <a:pt x="6" y="68"/>
                    </a:cubicBezTo>
                    <a:cubicBezTo>
                      <a:pt x="2" y="56"/>
                      <a:pt x="6" y="11"/>
                      <a:pt x="6" y="11"/>
                    </a:cubicBezTo>
                    <a:cubicBezTo>
                      <a:pt x="6" y="11"/>
                      <a:pt x="20" y="17"/>
                      <a:pt x="34" y="18"/>
                    </a:cubicBezTo>
                    <a:cubicBezTo>
                      <a:pt x="34" y="82"/>
                      <a:pt x="34" y="82"/>
                      <a:pt x="34" y="82"/>
                    </a:cubicBezTo>
                    <a:moveTo>
                      <a:pt x="65" y="20"/>
                    </a:moveTo>
                    <a:cubicBezTo>
                      <a:pt x="76" y="20"/>
                      <a:pt x="107" y="19"/>
                      <a:pt x="124" y="10"/>
                    </a:cubicBezTo>
                    <a:cubicBezTo>
                      <a:pt x="124" y="10"/>
                      <a:pt x="127" y="48"/>
                      <a:pt x="126" y="62"/>
                    </a:cubicBezTo>
                    <a:cubicBezTo>
                      <a:pt x="125" y="75"/>
                      <a:pt x="105" y="85"/>
                      <a:pt x="76" y="85"/>
                    </a:cubicBezTo>
                    <a:cubicBezTo>
                      <a:pt x="71" y="85"/>
                      <a:pt x="65" y="85"/>
                      <a:pt x="60" y="84"/>
                    </a:cubicBezTo>
                    <a:cubicBezTo>
                      <a:pt x="60" y="20"/>
                      <a:pt x="60" y="20"/>
                      <a:pt x="60" y="20"/>
                    </a:cubicBezTo>
                    <a:cubicBezTo>
                      <a:pt x="60" y="20"/>
                      <a:pt x="62" y="20"/>
                      <a:pt x="65" y="20"/>
                    </a:cubicBezTo>
                    <a:moveTo>
                      <a:pt x="130" y="0"/>
                    </a:moveTo>
                    <a:cubicBezTo>
                      <a:pt x="130" y="0"/>
                      <a:pt x="130" y="0"/>
                      <a:pt x="130" y="0"/>
                    </a:cubicBezTo>
                    <a:cubicBezTo>
                      <a:pt x="130" y="0"/>
                      <a:pt x="130" y="0"/>
                      <a:pt x="130" y="0"/>
                    </a:cubicBezTo>
                    <a:cubicBezTo>
                      <a:pt x="121" y="4"/>
                      <a:pt x="111" y="7"/>
                      <a:pt x="101" y="8"/>
                    </a:cubicBezTo>
                    <a:cubicBezTo>
                      <a:pt x="100" y="9"/>
                      <a:pt x="100" y="9"/>
                      <a:pt x="99" y="9"/>
                    </a:cubicBezTo>
                    <a:cubicBezTo>
                      <a:pt x="88" y="10"/>
                      <a:pt x="77" y="11"/>
                      <a:pt x="66" y="11"/>
                    </a:cubicBezTo>
                    <a:cubicBezTo>
                      <a:pt x="55" y="11"/>
                      <a:pt x="43" y="10"/>
                      <a:pt x="33" y="9"/>
                    </a:cubicBezTo>
                    <a:cubicBezTo>
                      <a:pt x="32" y="9"/>
                      <a:pt x="31" y="8"/>
                      <a:pt x="31" y="8"/>
                    </a:cubicBezTo>
                    <a:cubicBezTo>
                      <a:pt x="27" y="8"/>
                      <a:pt x="23" y="7"/>
                      <a:pt x="20" y="6"/>
                    </a:cubicBezTo>
                    <a:cubicBezTo>
                      <a:pt x="14" y="4"/>
                      <a:pt x="8" y="2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0" y="27"/>
                      <a:pt x="0" y="49"/>
                    </a:cubicBezTo>
                    <a:cubicBezTo>
                      <a:pt x="0" y="59"/>
                      <a:pt x="1" y="69"/>
                      <a:pt x="3" y="73"/>
                    </a:cubicBezTo>
                    <a:cubicBezTo>
                      <a:pt x="9" y="86"/>
                      <a:pt x="46" y="91"/>
                      <a:pt x="66" y="91"/>
                    </a:cubicBezTo>
                    <a:cubicBezTo>
                      <a:pt x="86" y="91"/>
                      <a:pt x="123" y="86"/>
                      <a:pt x="130" y="73"/>
                    </a:cubicBezTo>
                    <a:cubicBezTo>
                      <a:pt x="132" y="69"/>
                      <a:pt x="132" y="59"/>
                      <a:pt x="132" y="49"/>
                    </a:cubicBezTo>
                    <a:cubicBezTo>
                      <a:pt x="132" y="27"/>
                      <a:pt x="130" y="0"/>
                      <a:pt x="130" y="0"/>
                    </a:cubicBezTo>
                  </a:path>
                </a:pathLst>
              </a:custGeom>
              <a:solidFill>
                <a:srgbClr val="8A8A8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68580" tIns="34290" rIns="68580" bIns="34290" anchor="ctr">
                <a:normAutofit/>
              </a:bodyPr>
              <a:lstStyle/>
              <a:p>
                <a:pPr algn="ctr"/>
                <a:endParaRPr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2" name="iŝliḑe"/>
              <p:cNvSpPr/>
              <p:nvPr/>
            </p:nvSpPr>
            <p:spPr bwMode="auto">
              <a:xfrm>
                <a:off x="6057900" y="5453062"/>
                <a:ext cx="433388" cy="484188"/>
              </a:xfrm>
              <a:custGeom>
                <a:avLst/>
                <a:gdLst>
                  <a:gd name="T0" fmla="*/ 64 w 67"/>
                  <a:gd name="T1" fmla="*/ 0 h 75"/>
                  <a:gd name="T2" fmla="*/ 5 w 67"/>
                  <a:gd name="T3" fmla="*/ 10 h 75"/>
                  <a:gd name="T4" fmla="*/ 0 w 67"/>
                  <a:gd name="T5" fmla="*/ 10 h 75"/>
                  <a:gd name="T6" fmla="*/ 0 w 67"/>
                  <a:gd name="T7" fmla="*/ 74 h 75"/>
                  <a:gd name="T8" fmla="*/ 16 w 67"/>
                  <a:gd name="T9" fmla="*/ 75 h 75"/>
                  <a:gd name="T10" fmla="*/ 66 w 67"/>
                  <a:gd name="T11" fmla="*/ 52 h 75"/>
                  <a:gd name="T12" fmla="*/ 64 w 67"/>
                  <a:gd name="T1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7" h="75">
                    <a:moveTo>
                      <a:pt x="64" y="0"/>
                    </a:moveTo>
                    <a:cubicBezTo>
                      <a:pt x="47" y="9"/>
                      <a:pt x="16" y="10"/>
                      <a:pt x="5" y="10"/>
                    </a:cubicBezTo>
                    <a:cubicBezTo>
                      <a:pt x="2" y="10"/>
                      <a:pt x="0" y="10"/>
                      <a:pt x="0" y="10"/>
                    </a:cubicBezTo>
                    <a:cubicBezTo>
                      <a:pt x="0" y="74"/>
                      <a:pt x="0" y="74"/>
                      <a:pt x="0" y="74"/>
                    </a:cubicBezTo>
                    <a:cubicBezTo>
                      <a:pt x="5" y="75"/>
                      <a:pt x="11" y="75"/>
                      <a:pt x="16" y="75"/>
                    </a:cubicBezTo>
                    <a:cubicBezTo>
                      <a:pt x="45" y="75"/>
                      <a:pt x="65" y="65"/>
                      <a:pt x="66" y="52"/>
                    </a:cubicBezTo>
                    <a:cubicBezTo>
                      <a:pt x="67" y="38"/>
                      <a:pt x="64" y="0"/>
                      <a:pt x="64" y="0"/>
                    </a:cubicBezTo>
                  </a:path>
                </a:pathLst>
              </a:custGeom>
              <a:solidFill>
                <a:srgbClr val="4C4C4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68580" tIns="34290" rIns="68580" bIns="34290" anchor="ctr">
                <a:normAutofit/>
              </a:bodyPr>
              <a:lstStyle/>
              <a:p>
                <a:pPr algn="ctr"/>
                <a:endParaRPr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3" name="islidé"/>
              <p:cNvSpPr/>
              <p:nvPr/>
            </p:nvSpPr>
            <p:spPr bwMode="auto">
              <a:xfrm>
                <a:off x="5683250" y="5459412"/>
                <a:ext cx="206375" cy="458788"/>
              </a:xfrm>
              <a:custGeom>
                <a:avLst/>
                <a:gdLst>
                  <a:gd name="T0" fmla="*/ 4 w 32"/>
                  <a:gd name="T1" fmla="*/ 0 h 71"/>
                  <a:gd name="T2" fmla="*/ 4 w 32"/>
                  <a:gd name="T3" fmla="*/ 57 h 71"/>
                  <a:gd name="T4" fmla="*/ 32 w 32"/>
                  <a:gd name="T5" fmla="*/ 71 h 71"/>
                  <a:gd name="T6" fmla="*/ 32 w 32"/>
                  <a:gd name="T7" fmla="*/ 7 h 71"/>
                  <a:gd name="T8" fmla="*/ 4 w 32"/>
                  <a:gd name="T9" fmla="*/ 0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71">
                    <a:moveTo>
                      <a:pt x="4" y="0"/>
                    </a:moveTo>
                    <a:cubicBezTo>
                      <a:pt x="4" y="0"/>
                      <a:pt x="0" y="45"/>
                      <a:pt x="4" y="57"/>
                    </a:cubicBezTo>
                    <a:cubicBezTo>
                      <a:pt x="10" y="71"/>
                      <a:pt x="32" y="71"/>
                      <a:pt x="32" y="71"/>
                    </a:cubicBezTo>
                    <a:cubicBezTo>
                      <a:pt x="32" y="7"/>
                      <a:pt x="32" y="7"/>
                      <a:pt x="32" y="7"/>
                    </a:cubicBezTo>
                    <a:cubicBezTo>
                      <a:pt x="18" y="6"/>
                      <a:pt x="4" y="0"/>
                      <a:pt x="4" y="0"/>
                    </a:cubicBezTo>
                  </a:path>
                </a:pathLst>
              </a:custGeom>
              <a:solidFill>
                <a:srgbClr val="BBBBB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68580" tIns="34290" rIns="68580" bIns="34290" anchor="ctr">
                <a:normAutofit/>
              </a:bodyPr>
              <a:lstStyle/>
              <a:p>
                <a:pPr algn="ctr"/>
                <a:endParaRPr sz="1350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42" name="íŝ1îdê"/>
          <p:cNvGrpSpPr/>
          <p:nvPr/>
        </p:nvGrpSpPr>
        <p:grpSpPr>
          <a:xfrm>
            <a:off x="5655120" y="3526989"/>
            <a:ext cx="416169" cy="414575"/>
            <a:chOff x="3829372" y="4354212"/>
            <a:chExt cx="554892" cy="552766"/>
          </a:xfrm>
        </p:grpSpPr>
        <p:grpSp>
          <p:nvGrpSpPr>
            <p:cNvPr id="78" name="iŝļîďe"/>
            <p:cNvGrpSpPr/>
            <p:nvPr/>
          </p:nvGrpSpPr>
          <p:grpSpPr>
            <a:xfrm>
              <a:off x="3829372" y="4354212"/>
              <a:ext cx="554892" cy="552766"/>
              <a:chOff x="3829372" y="4354212"/>
              <a:chExt cx="554892" cy="552766"/>
            </a:xfrm>
            <a:solidFill>
              <a:schemeClr val="bg1">
                <a:lumMod val="85000"/>
              </a:schemeClr>
            </a:solidFill>
          </p:grpSpPr>
          <p:sp>
            <p:nvSpPr>
              <p:cNvPr id="80" name="íSḷiḋè"/>
              <p:cNvSpPr/>
              <p:nvPr/>
            </p:nvSpPr>
            <p:spPr>
              <a:xfrm>
                <a:off x="3829372" y="4354212"/>
                <a:ext cx="554892" cy="552766"/>
              </a:xfrm>
              <a:custGeom>
                <a:avLst/>
                <a:gdLst>
                  <a:gd name="T0" fmla="*/ 2026 w 5033"/>
                  <a:gd name="T1" fmla="*/ 4906 h 5021"/>
                  <a:gd name="T2" fmla="*/ 1667 w 5033"/>
                  <a:gd name="T3" fmla="*/ 4323 h 5021"/>
                  <a:gd name="T4" fmla="*/ 1237 w 5033"/>
                  <a:gd name="T5" fmla="*/ 4593 h 5021"/>
                  <a:gd name="T6" fmla="*/ 476 w 5033"/>
                  <a:gd name="T7" fmla="*/ 3854 h 5021"/>
                  <a:gd name="T8" fmla="*/ 703 w 5033"/>
                  <a:gd name="T9" fmla="*/ 3292 h 5021"/>
                  <a:gd name="T10" fmla="*/ 141 w 5033"/>
                  <a:gd name="T11" fmla="*/ 3077 h 5021"/>
                  <a:gd name="T12" fmla="*/ 126 w 5033"/>
                  <a:gd name="T13" fmla="*/ 2020 h 5021"/>
                  <a:gd name="T14" fmla="*/ 681 w 5033"/>
                  <a:gd name="T15" fmla="*/ 1780 h 5021"/>
                  <a:gd name="T16" fmla="*/ 441 w 5033"/>
                  <a:gd name="T17" fmla="*/ 1232 h 5021"/>
                  <a:gd name="T18" fmla="*/ 1175 w 5033"/>
                  <a:gd name="T19" fmla="*/ 476 h 5021"/>
                  <a:gd name="T20" fmla="*/ 1598 w 5033"/>
                  <a:gd name="T21" fmla="*/ 725 h 5021"/>
                  <a:gd name="T22" fmla="*/ 1953 w 5033"/>
                  <a:gd name="T23" fmla="*/ 140 h 5021"/>
                  <a:gd name="T24" fmla="*/ 3005 w 5033"/>
                  <a:gd name="T25" fmla="*/ 124 h 5021"/>
                  <a:gd name="T26" fmla="*/ 3368 w 5033"/>
                  <a:gd name="T27" fmla="*/ 696 h 5021"/>
                  <a:gd name="T28" fmla="*/ 3794 w 5033"/>
                  <a:gd name="T29" fmla="*/ 436 h 5021"/>
                  <a:gd name="T30" fmla="*/ 4551 w 5033"/>
                  <a:gd name="T31" fmla="*/ 1167 h 5021"/>
                  <a:gd name="T32" fmla="*/ 4518 w 5033"/>
                  <a:gd name="T33" fmla="*/ 1905 h 5021"/>
                  <a:gd name="T34" fmla="*/ 4984 w 5033"/>
                  <a:gd name="T35" fmla="*/ 2087 h 5021"/>
                  <a:gd name="T36" fmla="*/ 4786 w 5033"/>
                  <a:gd name="T37" fmla="*/ 3037 h 5021"/>
                  <a:gd name="T38" fmla="*/ 4531 w 5033"/>
                  <a:gd name="T39" fmla="*/ 3053 h 5021"/>
                  <a:gd name="T40" fmla="*/ 4599 w 5033"/>
                  <a:gd name="T41" fmla="*/ 3789 h 5021"/>
                  <a:gd name="T42" fmla="*/ 3863 w 5033"/>
                  <a:gd name="T43" fmla="*/ 4551 h 5021"/>
                  <a:gd name="T44" fmla="*/ 3437 w 5033"/>
                  <a:gd name="T45" fmla="*/ 4295 h 5021"/>
                  <a:gd name="T46" fmla="*/ 3087 w 5033"/>
                  <a:gd name="T47" fmla="*/ 4889 h 5021"/>
                  <a:gd name="T48" fmla="*/ 1667 w 5033"/>
                  <a:gd name="T49" fmla="*/ 4167 h 5021"/>
                  <a:gd name="T50" fmla="*/ 2155 w 5033"/>
                  <a:gd name="T51" fmla="*/ 4817 h 5021"/>
                  <a:gd name="T52" fmla="*/ 2955 w 5033"/>
                  <a:gd name="T53" fmla="*/ 4804 h 5021"/>
                  <a:gd name="T54" fmla="*/ 3437 w 5033"/>
                  <a:gd name="T55" fmla="*/ 4138 h 5021"/>
                  <a:gd name="T56" fmla="*/ 3891 w 5033"/>
                  <a:gd name="T57" fmla="*/ 4397 h 5021"/>
                  <a:gd name="T58" fmla="*/ 4446 w 5033"/>
                  <a:gd name="T59" fmla="*/ 3822 h 5021"/>
                  <a:gd name="T60" fmla="*/ 4467 w 5033"/>
                  <a:gd name="T61" fmla="*/ 2910 h 5021"/>
                  <a:gd name="T62" fmla="*/ 4786 w 5033"/>
                  <a:gd name="T63" fmla="*/ 2881 h 5021"/>
                  <a:gd name="T64" fmla="*/ 4830 w 5033"/>
                  <a:gd name="T65" fmla="*/ 2114 h 5021"/>
                  <a:gd name="T66" fmla="*/ 4462 w 5033"/>
                  <a:gd name="T67" fmla="*/ 2050 h 5021"/>
                  <a:gd name="T68" fmla="*/ 4397 w 5033"/>
                  <a:gd name="T69" fmla="*/ 1140 h 5021"/>
                  <a:gd name="T70" fmla="*/ 3826 w 5033"/>
                  <a:gd name="T71" fmla="*/ 589 h 5021"/>
                  <a:gd name="T72" fmla="*/ 3368 w 5033"/>
                  <a:gd name="T73" fmla="*/ 852 h 5021"/>
                  <a:gd name="T74" fmla="*/ 2877 w 5033"/>
                  <a:gd name="T75" fmla="*/ 213 h 5021"/>
                  <a:gd name="T76" fmla="*/ 2084 w 5033"/>
                  <a:gd name="T77" fmla="*/ 225 h 5021"/>
                  <a:gd name="T78" fmla="*/ 1598 w 5033"/>
                  <a:gd name="T79" fmla="*/ 881 h 5021"/>
                  <a:gd name="T80" fmla="*/ 1148 w 5033"/>
                  <a:gd name="T81" fmla="*/ 629 h 5021"/>
                  <a:gd name="T82" fmla="*/ 593 w 5033"/>
                  <a:gd name="T83" fmla="*/ 1199 h 5021"/>
                  <a:gd name="T84" fmla="*/ 827 w 5033"/>
                  <a:gd name="T85" fmla="*/ 1836 h 5021"/>
                  <a:gd name="T86" fmla="*/ 215 w 5033"/>
                  <a:gd name="T87" fmla="*/ 2148 h 5021"/>
                  <a:gd name="T88" fmla="*/ 225 w 5033"/>
                  <a:gd name="T89" fmla="*/ 2946 h 5021"/>
                  <a:gd name="T90" fmla="*/ 846 w 5033"/>
                  <a:gd name="T91" fmla="*/ 3228 h 5021"/>
                  <a:gd name="T92" fmla="*/ 629 w 5033"/>
                  <a:gd name="T93" fmla="*/ 3883 h 5021"/>
                  <a:gd name="T94" fmla="*/ 1203 w 5033"/>
                  <a:gd name="T95" fmla="*/ 4440 h 5021"/>
                  <a:gd name="T96" fmla="*/ 1667 w 5033"/>
                  <a:gd name="T97" fmla="*/ 4167 h 5021"/>
                  <a:gd name="T98" fmla="*/ 2171 w 5033"/>
                  <a:gd name="T99" fmla="*/ 1740 h 5021"/>
                  <a:gd name="T100" fmla="*/ 2861 w 5033"/>
                  <a:gd name="T101" fmla="*/ 3292 h 5021"/>
                  <a:gd name="T102" fmla="*/ 2234 w 5033"/>
                  <a:gd name="T103" fmla="*/ 1883 h 5021"/>
                  <a:gd name="T104" fmla="*/ 2798 w 5033"/>
                  <a:gd name="T105" fmla="*/ 3149 h 50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5033" h="5021">
                    <a:moveTo>
                      <a:pt x="2519" y="5021"/>
                    </a:moveTo>
                    <a:cubicBezTo>
                      <a:pt x="2404" y="5021"/>
                      <a:pt x="2287" y="5013"/>
                      <a:pt x="2173" y="4997"/>
                    </a:cubicBezTo>
                    <a:cubicBezTo>
                      <a:pt x="2114" y="4989"/>
                      <a:pt x="2060" y="4955"/>
                      <a:pt x="2026" y="4906"/>
                    </a:cubicBezTo>
                    <a:cubicBezTo>
                      <a:pt x="1992" y="4857"/>
                      <a:pt x="1980" y="4795"/>
                      <a:pt x="1994" y="4736"/>
                    </a:cubicBezTo>
                    <a:cubicBezTo>
                      <a:pt x="2011" y="4664"/>
                      <a:pt x="2004" y="4590"/>
                      <a:pt x="1974" y="4523"/>
                    </a:cubicBezTo>
                    <a:cubicBezTo>
                      <a:pt x="1920" y="4401"/>
                      <a:pt x="1800" y="4323"/>
                      <a:pt x="1667" y="4323"/>
                    </a:cubicBezTo>
                    <a:cubicBezTo>
                      <a:pt x="1620" y="4323"/>
                      <a:pt x="1574" y="4333"/>
                      <a:pt x="1530" y="4352"/>
                    </a:cubicBezTo>
                    <a:cubicBezTo>
                      <a:pt x="1465" y="4381"/>
                      <a:pt x="1412" y="4429"/>
                      <a:pt x="1376" y="4491"/>
                    </a:cubicBezTo>
                    <a:cubicBezTo>
                      <a:pt x="1346" y="4543"/>
                      <a:pt x="1295" y="4580"/>
                      <a:pt x="1237" y="4593"/>
                    </a:cubicBezTo>
                    <a:cubicBezTo>
                      <a:pt x="1181" y="4606"/>
                      <a:pt x="1116" y="4594"/>
                      <a:pt x="1067" y="4559"/>
                    </a:cubicBezTo>
                    <a:cubicBezTo>
                      <a:pt x="857" y="4410"/>
                      <a:pt x="671" y="4230"/>
                      <a:pt x="515" y="4022"/>
                    </a:cubicBezTo>
                    <a:cubicBezTo>
                      <a:pt x="479" y="3974"/>
                      <a:pt x="465" y="3913"/>
                      <a:pt x="476" y="3854"/>
                    </a:cubicBezTo>
                    <a:cubicBezTo>
                      <a:pt x="487" y="3796"/>
                      <a:pt x="522" y="3744"/>
                      <a:pt x="573" y="3712"/>
                    </a:cubicBezTo>
                    <a:cubicBezTo>
                      <a:pt x="637" y="3672"/>
                      <a:pt x="684" y="3616"/>
                      <a:pt x="710" y="3549"/>
                    </a:cubicBezTo>
                    <a:cubicBezTo>
                      <a:pt x="742" y="3465"/>
                      <a:pt x="740" y="3374"/>
                      <a:pt x="703" y="3292"/>
                    </a:cubicBezTo>
                    <a:cubicBezTo>
                      <a:pt x="666" y="3210"/>
                      <a:pt x="600" y="3147"/>
                      <a:pt x="516" y="3115"/>
                    </a:cubicBezTo>
                    <a:cubicBezTo>
                      <a:pt x="452" y="3090"/>
                      <a:pt x="380" y="3086"/>
                      <a:pt x="311" y="3104"/>
                    </a:cubicBezTo>
                    <a:cubicBezTo>
                      <a:pt x="252" y="3119"/>
                      <a:pt x="190" y="3109"/>
                      <a:pt x="141" y="3077"/>
                    </a:cubicBezTo>
                    <a:cubicBezTo>
                      <a:pt x="90" y="3044"/>
                      <a:pt x="56" y="2992"/>
                      <a:pt x="46" y="2933"/>
                    </a:cubicBezTo>
                    <a:cubicBezTo>
                      <a:pt x="3" y="2681"/>
                      <a:pt x="0" y="2423"/>
                      <a:pt x="36" y="2166"/>
                    </a:cubicBezTo>
                    <a:cubicBezTo>
                      <a:pt x="45" y="2107"/>
                      <a:pt x="77" y="2054"/>
                      <a:pt x="126" y="2020"/>
                    </a:cubicBezTo>
                    <a:cubicBezTo>
                      <a:pt x="175" y="1986"/>
                      <a:pt x="237" y="1974"/>
                      <a:pt x="295" y="1987"/>
                    </a:cubicBezTo>
                    <a:cubicBezTo>
                      <a:pt x="365" y="2003"/>
                      <a:pt x="439" y="1995"/>
                      <a:pt x="504" y="1967"/>
                    </a:cubicBezTo>
                    <a:cubicBezTo>
                      <a:pt x="586" y="1930"/>
                      <a:pt x="649" y="1864"/>
                      <a:pt x="681" y="1780"/>
                    </a:cubicBezTo>
                    <a:cubicBezTo>
                      <a:pt x="713" y="1696"/>
                      <a:pt x="711" y="1605"/>
                      <a:pt x="675" y="1523"/>
                    </a:cubicBezTo>
                    <a:cubicBezTo>
                      <a:pt x="646" y="1459"/>
                      <a:pt x="600" y="1407"/>
                      <a:pt x="540" y="1371"/>
                    </a:cubicBezTo>
                    <a:cubicBezTo>
                      <a:pt x="489" y="1341"/>
                      <a:pt x="453" y="1290"/>
                      <a:pt x="441" y="1232"/>
                    </a:cubicBezTo>
                    <a:cubicBezTo>
                      <a:pt x="429" y="1173"/>
                      <a:pt x="441" y="1112"/>
                      <a:pt x="476" y="1064"/>
                    </a:cubicBezTo>
                    <a:cubicBezTo>
                      <a:pt x="624" y="854"/>
                      <a:pt x="804" y="670"/>
                      <a:pt x="1009" y="515"/>
                    </a:cubicBezTo>
                    <a:cubicBezTo>
                      <a:pt x="1056" y="480"/>
                      <a:pt x="1117" y="466"/>
                      <a:pt x="1175" y="476"/>
                    </a:cubicBezTo>
                    <a:cubicBezTo>
                      <a:pt x="1233" y="486"/>
                      <a:pt x="1285" y="521"/>
                      <a:pt x="1317" y="570"/>
                    </a:cubicBezTo>
                    <a:cubicBezTo>
                      <a:pt x="1357" y="631"/>
                      <a:pt x="1412" y="677"/>
                      <a:pt x="1478" y="702"/>
                    </a:cubicBezTo>
                    <a:cubicBezTo>
                      <a:pt x="1517" y="717"/>
                      <a:pt x="1557" y="725"/>
                      <a:pt x="1598" y="725"/>
                    </a:cubicBezTo>
                    <a:cubicBezTo>
                      <a:pt x="1737" y="725"/>
                      <a:pt x="1863" y="638"/>
                      <a:pt x="1912" y="509"/>
                    </a:cubicBezTo>
                    <a:cubicBezTo>
                      <a:pt x="1937" y="445"/>
                      <a:pt x="1941" y="376"/>
                      <a:pt x="1925" y="308"/>
                    </a:cubicBezTo>
                    <a:cubicBezTo>
                      <a:pt x="1910" y="251"/>
                      <a:pt x="1921" y="189"/>
                      <a:pt x="1953" y="140"/>
                    </a:cubicBezTo>
                    <a:cubicBezTo>
                      <a:pt x="1986" y="90"/>
                      <a:pt x="2038" y="56"/>
                      <a:pt x="2096" y="46"/>
                    </a:cubicBezTo>
                    <a:cubicBezTo>
                      <a:pt x="2345" y="4"/>
                      <a:pt x="2607" y="0"/>
                      <a:pt x="2859" y="35"/>
                    </a:cubicBezTo>
                    <a:cubicBezTo>
                      <a:pt x="2917" y="43"/>
                      <a:pt x="2971" y="75"/>
                      <a:pt x="3005" y="124"/>
                    </a:cubicBezTo>
                    <a:cubicBezTo>
                      <a:pt x="3039" y="172"/>
                      <a:pt x="3051" y="233"/>
                      <a:pt x="3039" y="291"/>
                    </a:cubicBezTo>
                    <a:cubicBezTo>
                      <a:pt x="3024" y="361"/>
                      <a:pt x="3032" y="432"/>
                      <a:pt x="3060" y="496"/>
                    </a:cubicBezTo>
                    <a:cubicBezTo>
                      <a:pt x="3114" y="618"/>
                      <a:pt x="3235" y="696"/>
                      <a:pt x="3368" y="696"/>
                    </a:cubicBezTo>
                    <a:cubicBezTo>
                      <a:pt x="3415" y="696"/>
                      <a:pt x="3461" y="686"/>
                      <a:pt x="3504" y="667"/>
                    </a:cubicBezTo>
                    <a:cubicBezTo>
                      <a:pt x="3567" y="639"/>
                      <a:pt x="3619" y="593"/>
                      <a:pt x="3655" y="534"/>
                    </a:cubicBezTo>
                    <a:cubicBezTo>
                      <a:pt x="3685" y="484"/>
                      <a:pt x="3736" y="448"/>
                      <a:pt x="3794" y="436"/>
                    </a:cubicBezTo>
                    <a:cubicBezTo>
                      <a:pt x="3855" y="423"/>
                      <a:pt x="3913" y="437"/>
                      <a:pt x="3961" y="470"/>
                    </a:cubicBezTo>
                    <a:cubicBezTo>
                      <a:pt x="4171" y="618"/>
                      <a:pt x="4355" y="797"/>
                      <a:pt x="4510" y="1001"/>
                    </a:cubicBezTo>
                    <a:cubicBezTo>
                      <a:pt x="4546" y="1048"/>
                      <a:pt x="4561" y="1109"/>
                      <a:pt x="4551" y="1167"/>
                    </a:cubicBezTo>
                    <a:cubicBezTo>
                      <a:pt x="4540" y="1226"/>
                      <a:pt x="4506" y="1278"/>
                      <a:pt x="4456" y="1310"/>
                    </a:cubicBezTo>
                    <a:cubicBezTo>
                      <a:pt x="4395" y="1349"/>
                      <a:pt x="4350" y="1405"/>
                      <a:pt x="4325" y="1470"/>
                    </a:cubicBezTo>
                    <a:cubicBezTo>
                      <a:pt x="4258" y="1643"/>
                      <a:pt x="4345" y="1838"/>
                      <a:pt x="4518" y="1905"/>
                    </a:cubicBezTo>
                    <a:cubicBezTo>
                      <a:pt x="4582" y="1929"/>
                      <a:pt x="4653" y="1933"/>
                      <a:pt x="4721" y="1916"/>
                    </a:cubicBezTo>
                    <a:cubicBezTo>
                      <a:pt x="4779" y="1902"/>
                      <a:pt x="4840" y="1912"/>
                      <a:pt x="4890" y="1944"/>
                    </a:cubicBezTo>
                    <a:cubicBezTo>
                      <a:pt x="4939" y="1977"/>
                      <a:pt x="4974" y="2029"/>
                      <a:pt x="4984" y="2087"/>
                    </a:cubicBezTo>
                    <a:cubicBezTo>
                      <a:pt x="5028" y="2339"/>
                      <a:pt x="5033" y="2597"/>
                      <a:pt x="4998" y="2852"/>
                    </a:cubicBezTo>
                    <a:cubicBezTo>
                      <a:pt x="4990" y="2911"/>
                      <a:pt x="4957" y="2965"/>
                      <a:pt x="4908" y="2999"/>
                    </a:cubicBezTo>
                    <a:cubicBezTo>
                      <a:pt x="4872" y="3024"/>
                      <a:pt x="4830" y="3037"/>
                      <a:pt x="4786" y="3037"/>
                    </a:cubicBezTo>
                    <a:lnTo>
                      <a:pt x="4786" y="3037"/>
                    </a:lnTo>
                    <a:cubicBezTo>
                      <a:pt x="4770" y="3037"/>
                      <a:pt x="4755" y="3036"/>
                      <a:pt x="4740" y="3032"/>
                    </a:cubicBezTo>
                    <a:cubicBezTo>
                      <a:pt x="4668" y="3016"/>
                      <a:pt x="4596" y="3024"/>
                      <a:pt x="4531" y="3053"/>
                    </a:cubicBezTo>
                    <a:cubicBezTo>
                      <a:pt x="4361" y="3128"/>
                      <a:pt x="4285" y="3327"/>
                      <a:pt x="4360" y="3497"/>
                    </a:cubicBezTo>
                    <a:cubicBezTo>
                      <a:pt x="4389" y="3561"/>
                      <a:pt x="4436" y="3614"/>
                      <a:pt x="4497" y="3650"/>
                    </a:cubicBezTo>
                    <a:cubicBezTo>
                      <a:pt x="4549" y="3680"/>
                      <a:pt x="4586" y="3731"/>
                      <a:pt x="4599" y="3789"/>
                    </a:cubicBezTo>
                    <a:cubicBezTo>
                      <a:pt x="4611" y="3847"/>
                      <a:pt x="4599" y="3909"/>
                      <a:pt x="4565" y="3958"/>
                    </a:cubicBezTo>
                    <a:cubicBezTo>
                      <a:pt x="4416" y="4169"/>
                      <a:pt x="4237" y="4355"/>
                      <a:pt x="4031" y="4511"/>
                    </a:cubicBezTo>
                    <a:cubicBezTo>
                      <a:pt x="3983" y="4547"/>
                      <a:pt x="3922" y="4562"/>
                      <a:pt x="3863" y="4551"/>
                    </a:cubicBezTo>
                    <a:cubicBezTo>
                      <a:pt x="3804" y="4540"/>
                      <a:pt x="3752" y="4505"/>
                      <a:pt x="3720" y="4454"/>
                    </a:cubicBezTo>
                    <a:cubicBezTo>
                      <a:pt x="3680" y="4390"/>
                      <a:pt x="3624" y="4343"/>
                      <a:pt x="3557" y="4317"/>
                    </a:cubicBezTo>
                    <a:cubicBezTo>
                      <a:pt x="3518" y="4302"/>
                      <a:pt x="3477" y="4295"/>
                      <a:pt x="3437" y="4295"/>
                    </a:cubicBezTo>
                    <a:cubicBezTo>
                      <a:pt x="3298" y="4295"/>
                      <a:pt x="3172" y="4381"/>
                      <a:pt x="3122" y="4511"/>
                    </a:cubicBezTo>
                    <a:cubicBezTo>
                      <a:pt x="3097" y="4576"/>
                      <a:pt x="3094" y="4648"/>
                      <a:pt x="3113" y="4718"/>
                    </a:cubicBezTo>
                    <a:cubicBezTo>
                      <a:pt x="3128" y="4776"/>
                      <a:pt x="3119" y="4838"/>
                      <a:pt x="3087" y="4889"/>
                    </a:cubicBezTo>
                    <a:cubicBezTo>
                      <a:pt x="3054" y="4939"/>
                      <a:pt x="3002" y="4974"/>
                      <a:pt x="2943" y="4984"/>
                    </a:cubicBezTo>
                    <a:cubicBezTo>
                      <a:pt x="2803" y="5008"/>
                      <a:pt x="2660" y="5021"/>
                      <a:pt x="2519" y="5021"/>
                    </a:cubicBezTo>
                    <a:close/>
                    <a:moveTo>
                      <a:pt x="1667" y="4167"/>
                    </a:moveTo>
                    <a:cubicBezTo>
                      <a:pt x="1861" y="4167"/>
                      <a:pt x="2038" y="4282"/>
                      <a:pt x="2117" y="4459"/>
                    </a:cubicBezTo>
                    <a:cubicBezTo>
                      <a:pt x="2161" y="4558"/>
                      <a:pt x="2171" y="4666"/>
                      <a:pt x="2146" y="4772"/>
                    </a:cubicBezTo>
                    <a:cubicBezTo>
                      <a:pt x="2142" y="4787"/>
                      <a:pt x="2146" y="4804"/>
                      <a:pt x="2155" y="4817"/>
                    </a:cubicBezTo>
                    <a:cubicBezTo>
                      <a:pt x="2164" y="4831"/>
                      <a:pt x="2178" y="4840"/>
                      <a:pt x="2195" y="4842"/>
                    </a:cubicBezTo>
                    <a:cubicBezTo>
                      <a:pt x="2434" y="4875"/>
                      <a:pt x="2679" y="4872"/>
                      <a:pt x="2916" y="4830"/>
                    </a:cubicBezTo>
                    <a:cubicBezTo>
                      <a:pt x="2932" y="4828"/>
                      <a:pt x="2946" y="4818"/>
                      <a:pt x="2955" y="4804"/>
                    </a:cubicBezTo>
                    <a:cubicBezTo>
                      <a:pt x="2964" y="4791"/>
                      <a:pt x="2966" y="4774"/>
                      <a:pt x="2962" y="4758"/>
                    </a:cubicBezTo>
                    <a:cubicBezTo>
                      <a:pt x="2934" y="4656"/>
                      <a:pt x="2940" y="4551"/>
                      <a:pt x="2977" y="4454"/>
                    </a:cubicBezTo>
                    <a:cubicBezTo>
                      <a:pt x="3049" y="4265"/>
                      <a:pt x="3234" y="4138"/>
                      <a:pt x="3437" y="4138"/>
                    </a:cubicBezTo>
                    <a:cubicBezTo>
                      <a:pt x="3497" y="4138"/>
                      <a:pt x="3556" y="4149"/>
                      <a:pt x="3613" y="4171"/>
                    </a:cubicBezTo>
                    <a:cubicBezTo>
                      <a:pt x="3712" y="4209"/>
                      <a:pt x="3794" y="4278"/>
                      <a:pt x="3852" y="4371"/>
                    </a:cubicBezTo>
                    <a:cubicBezTo>
                      <a:pt x="3861" y="4385"/>
                      <a:pt x="3875" y="4394"/>
                      <a:pt x="3891" y="4397"/>
                    </a:cubicBezTo>
                    <a:cubicBezTo>
                      <a:pt x="3907" y="4400"/>
                      <a:pt x="3924" y="4396"/>
                      <a:pt x="3937" y="4386"/>
                    </a:cubicBezTo>
                    <a:cubicBezTo>
                      <a:pt x="4130" y="4240"/>
                      <a:pt x="4298" y="4066"/>
                      <a:pt x="4437" y="3868"/>
                    </a:cubicBezTo>
                    <a:cubicBezTo>
                      <a:pt x="4446" y="3855"/>
                      <a:pt x="4450" y="3838"/>
                      <a:pt x="4446" y="3822"/>
                    </a:cubicBezTo>
                    <a:cubicBezTo>
                      <a:pt x="4443" y="3806"/>
                      <a:pt x="4433" y="3793"/>
                      <a:pt x="4419" y="3784"/>
                    </a:cubicBezTo>
                    <a:cubicBezTo>
                      <a:pt x="4329" y="3732"/>
                      <a:pt x="4260" y="3655"/>
                      <a:pt x="4218" y="3560"/>
                    </a:cubicBezTo>
                    <a:cubicBezTo>
                      <a:pt x="4107" y="3312"/>
                      <a:pt x="4219" y="3020"/>
                      <a:pt x="4467" y="2910"/>
                    </a:cubicBezTo>
                    <a:cubicBezTo>
                      <a:pt x="4563" y="2868"/>
                      <a:pt x="4670" y="2857"/>
                      <a:pt x="4774" y="2880"/>
                    </a:cubicBezTo>
                    <a:cubicBezTo>
                      <a:pt x="4777" y="2881"/>
                      <a:pt x="4782" y="2881"/>
                      <a:pt x="4786" y="2881"/>
                    </a:cubicBezTo>
                    <a:lnTo>
                      <a:pt x="4786" y="2881"/>
                    </a:lnTo>
                    <a:cubicBezTo>
                      <a:pt x="4798" y="2881"/>
                      <a:pt x="4810" y="2877"/>
                      <a:pt x="4820" y="2871"/>
                    </a:cubicBezTo>
                    <a:cubicBezTo>
                      <a:pt x="4833" y="2862"/>
                      <a:pt x="4841" y="2847"/>
                      <a:pt x="4844" y="2831"/>
                    </a:cubicBezTo>
                    <a:cubicBezTo>
                      <a:pt x="4876" y="2592"/>
                      <a:pt x="4871" y="2350"/>
                      <a:pt x="4830" y="2114"/>
                    </a:cubicBezTo>
                    <a:cubicBezTo>
                      <a:pt x="4827" y="2098"/>
                      <a:pt x="4818" y="2084"/>
                      <a:pt x="4805" y="2075"/>
                    </a:cubicBezTo>
                    <a:cubicBezTo>
                      <a:pt x="4791" y="2066"/>
                      <a:pt x="4775" y="2063"/>
                      <a:pt x="4759" y="2067"/>
                    </a:cubicBezTo>
                    <a:cubicBezTo>
                      <a:pt x="4660" y="2092"/>
                      <a:pt x="4556" y="2086"/>
                      <a:pt x="4462" y="2050"/>
                    </a:cubicBezTo>
                    <a:cubicBezTo>
                      <a:pt x="4209" y="1953"/>
                      <a:pt x="4082" y="1667"/>
                      <a:pt x="4179" y="1414"/>
                    </a:cubicBezTo>
                    <a:cubicBezTo>
                      <a:pt x="4216" y="1318"/>
                      <a:pt x="4283" y="1236"/>
                      <a:pt x="4371" y="1179"/>
                    </a:cubicBezTo>
                    <a:cubicBezTo>
                      <a:pt x="4385" y="1170"/>
                      <a:pt x="4394" y="1156"/>
                      <a:pt x="4397" y="1140"/>
                    </a:cubicBezTo>
                    <a:cubicBezTo>
                      <a:pt x="4400" y="1124"/>
                      <a:pt x="4396" y="1108"/>
                      <a:pt x="4386" y="1095"/>
                    </a:cubicBezTo>
                    <a:cubicBezTo>
                      <a:pt x="4241" y="904"/>
                      <a:pt x="4068" y="736"/>
                      <a:pt x="3871" y="598"/>
                    </a:cubicBezTo>
                    <a:cubicBezTo>
                      <a:pt x="3859" y="589"/>
                      <a:pt x="3842" y="585"/>
                      <a:pt x="3826" y="589"/>
                    </a:cubicBezTo>
                    <a:cubicBezTo>
                      <a:pt x="3810" y="592"/>
                      <a:pt x="3797" y="601"/>
                      <a:pt x="3788" y="615"/>
                    </a:cubicBezTo>
                    <a:cubicBezTo>
                      <a:pt x="3736" y="701"/>
                      <a:pt x="3660" y="769"/>
                      <a:pt x="3568" y="809"/>
                    </a:cubicBezTo>
                    <a:cubicBezTo>
                      <a:pt x="3504" y="838"/>
                      <a:pt x="3437" y="852"/>
                      <a:pt x="3368" y="852"/>
                    </a:cubicBezTo>
                    <a:cubicBezTo>
                      <a:pt x="3174" y="852"/>
                      <a:pt x="2997" y="737"/>
                      <a:pt x="2918" y="560"/>
                    </a:cubicBezTo>
                    <a:cubicBezTo>
                      <a:pt x="2876" y="465"/>
                      <a:pt x="2865" y="361"/>
                      <a:pt x="2886" y="259"/>
                    </a:cubicBezTo>
                    <a:cubicBezTo>
                      <a:pt x="2889" y="243"/>
                      <a:pt x="2886" y="226"/>
                      <a:pt x="2877" y="213"/>
                    </a:cubicBezTo>
                    <a:cubicBezTo>
                      <a:pt x="2868" y="200"/>
                      <a:pt x="2853" y="192"/>
                      <a:pt x="2837" y="189"/>
                    </a:cubicBezTo>
                    <a:cubicBezTo>
                      <a:pt x="2601" y="156"/>
                      <a:pt x="2356" y="160"/>
                      <a:pt x="2123" y="200"/>
                    </a:cubicBezTo>
                    <a:cubicBezTo>
                      <a:pt x="2107" y="203"/>
                      <a:pt x="2093" y="212"/>
                      <a:pt x="2084" y="225"/>
                    </a:cubicBezTo>
                    <a:cubicBezTo>
                      <a:pt x="2075" y="239"/>
                      <a:pt x="2072" y="255"/>
                      <a:pt x="2076" y="271"/>
                    </a:cubicBezTo>
                    <a:cubicBezTo>
                      <a:pt x="2100" y="369"/>
                      <a:pt x="2094" y="471"/>
                      <a:pt x="2058" y="564"/>
                    </a:cubicBezTo>
                    <a:cubicBezTo>
                      <a:pt x="1985" y="754"/>
                      <a:pt x="1801" y="881"/>
                      <a:pt x="1598" y="881"/>
                    </a:cubicBezTo>
                    <a:cubicBezTo>
                      <a:pt x="1538" y="881"/>
                      <a:pt x="1479" y="869"/>
                      <a:pt x="1422" y="848"/>
                    </a:cubicBezTo>
                    <a:cubicBezTo>
                      <a:pt x="1325" y="810"/>
                      <a:pt x="1244" y="744"/>
                      <a:pt x="1186" y="655"/>
                    </a:cubicBezTo>
                    <a:cubicBezTo>
                      <a:pt x="1178" y="642"/>
                      <a:pt x="1164" y="632"/>
                      <a:pt x="1148" y="629"/>
                    </a:cubicBezTo>
                    <a:cubicBezTo>
                      <a:pt x="1132" y="627"/>
                      <a:pt x="1115" y="631"/>
                      <a:pt x="1103" y="640"/>
                    </a:cubicBezTo>
                    <a:cubicBezTo>
                      <a:pt x="910" y="785"/>
                      <a:pt x="742" y="958"/>
                      <a:pt x="603" y="1154"/>
                    </a:cubicBezTo>
                    <a:cubicBezTo>
                      <a:pt x="594" y="1167"/>
                      <a:pt x="590" y="1183"/>
                      <a:pt x="593" y="1199"/>
                    </a:cubicBezTo>
                    <a:cubicBezTo>
                      <a:pt x="597" y="1215"/>
                      <a:pt x="607" y="1229"/>
                      <a:pt x="620" y="1237"/>
                    </a:cubicBezTo>
                    <a:cubicBezTo>
                      <a:pt x="708" y="1289"/>
                      <a:pt x="776" y="1366"/>
                      <a:pt x="817" y="1459"/>
                    </a:cubicBezTo>
                    <a:cubicBezTo>
                      <a:pt x="871" y="1579"/>
                      <a:pt x="874" y="1713"/>
                      <a:pt x="827" y="1836"/>
                    </a:cubicBezTo>
                    <a:cubicBezTo>
                      <a:pt x="780" y="1959"/>
                      <a:pt x="687" y="2056"/>
                      <a:pt x="567" y="2109"/>
                    </a:cubicBezTo>
                    <a:cubicBezTo>
                      <a:pt x="471" y="2151"/>
                      <a:pt x="364" y="2162"/>
                      <a:pt x="261" y="2139"/>
                    </a:cubicBezTo>
                    <a:cubicBezTo>
                      <a:pt x="244" y="2136"/>
                      <a:pt x="228" y="2139"/>
                      <a:pt x="215" y="2148"/>
                    </a:cubicBezTo>
                    <a:cubicBezTo>
                      <a:pt x="202" y="2157"/>
                      <a:pt x="193" y="2172"/>
                      <a:pt x="191" y="2188"/>
                    </a:cubicBezTo>
                    <a:cubicBezTo>
                      <a:pt x="156" y="2429"/>
                      <a:pt x="159" y="2670"/>
                      <a:pt x="200" y="2906"/>
                    </a:cubicBezTo>
                    <a:cubicBezTo>
                      <a:pt x="202" y="2923"/>
                      <a:pt x="212" y="2937"/>
                      <a:pt x="225" y="2946"/>
                    </a:cubicBezTo>
                    <a:cubicBezTo>
                      <a:pt x="239" y="2954"/>
                      <a:pt x="256" y="2957"/>
                      <a:pt x="272" y="2953"/>
                    </a:cubicBezTo>
                    <a:cubicBezTo>
                      <a:pt x="371" y="2927"/>
                      <a:pt x="477" y="2932"/>
                      <a:pt x="572" y="2969"/>
                    </a:cubicBezTo>
                    <a:cubicBezTo>
                      <a:pt x="695" y="3016"/>
                      <a:pt x="792" y="3108"/>
                      <a:pt x="846" y="3228"/>
                    </a:cubicBezTo>
                    <a:cubicBezTo>
                      <a:pt x="899" y="3348"/>
                      <a:pt x="902" y="3482"/>
                      <a:pt x="855" y="3605"/>
                    </a:cubicBezTo>
                    <a:cubicBezTo>
                      <a:pt x="817" y="3704"/>
                      <a:pt x="748" y="3787"/>
                      <a:pt x="655" y="3844"/>
                    </a:cubicBezTo>
                    <a:cubicBezTo>
                      <a:pt x="642" y="3853"/>
                      <a:pt x="632" y="3867"/>
                      <a:pt x="629" y="3883"/>
                    </a:cubicBezTo>
                    <a:cubicBezTo>
                      <a:pt x="626" y="3899"/>
                      <a:pt x="630" y="3915"/>
                      <a:pt x="640" y="3928"/>
                    </a:cubicBezTo>
                    <a:cubicBezTo>
                      <a:pt x="786" y="4123"/>
                      <a:pt x="960" y="4292"/>
                      <a:pt x="1157" y="4431"/>
                    </a:cubicBezTo>
                    <a:cubicBezTo>
                      <a:pt x="1170" y="4440"/>
                      <a:pt x="1187" y="4444"/>
                      <a:pt x="1203" y="4440"/>
                    </a:cubicBezTo>
                    <a:cubicBezTo>
                      <a:pt x="1219" y="4437"/>
                      <a:pt x="1233" y="4427"/>
                      <a:pt x="1241" y="4413"/>
                    </a:cubicBezTo>
                    <a:cubicBezTo>
                      <a:pt x="1294" y="4322"/>
                      <a:pt x="1372" y="4252"/>
                      <a:pt x="1467" y="4209"/>
                    </a:cubicBezTo>
                    <a:cubicBezTo>
                      <a:pt x="1530" y="4181"/>
                      <a:pt x="1598" y="4167"/>
                      <a:pt x="1667" y="4167"/>
                    </a:cubicBezTo>
                    <a:close/>
                    <a:moveTo>
                      <a:pt x="2517" y="3365"/>
                    </a:moveTo>
                    <a:cubicBezTo>
                      <a:pt x="2181" y="3365"/>
                      <a:pt x="1876" y="3167"/>
                      <a:pt x="1740" y="2861"/>
                    </a:cubicBezTo>
                    <a:cubicBezTo>
                      <a:pt x="1550" y="2433"/>
                      <a:pt x="1743" y="1930"/>
                      <a:pt x="2171" y="1740"/>
                    </a:cubicBezTo>
                    <a:cubicBezTo>
                      <a:pt x="2281" y="1691"/>
                      <a:pt x="2397" y="1667"/>
                      <a:pt x="2516" y="1667"/>
                    </a:cubicBezTo>
                    <a:cubicBezTo>
                      <a:pt x="2851" y="1667"/>
                      <a:pt x="3156" y="1865"/>
                      <a:pt x="3292" y="2171"/>
                    </a:cubicBezTo>
                    <a:cubicBezTo>
                      <a:pt x="3482" y="2599"/>
                      <a:pt x="3289" y="3101"/>
                      <a:pt x="2861" y="3292"/>
                    </a:cubicBezTo>
                    <a:cubicBezTo>
                      <a:pt x="2752" y="3341"/>
                      <a:pt x="2636" y="3365"/>
                      <a:pt x="2517" y="3365"/>
                    </a:cubicBezTo>
                    <a:close/>
                    <a:moveTo>
                      <a:pt x="2516" y="1823"/>
                    </a:moveTo>
                    <a:cubicBezTo>
                      <a:pt x="2419" y="1823"/>
                      <a:pt x="2324" y="1843"/>
                      <a:pt x="2234" y="1883"/>
                    </a:cubicBezTo>
                    <a:cubicBezTo>
                      <a:pt x="1885" y="2038"/>
                      <a:pt x="1728" y="2449"/>
                      <a:pt x="1883" y="2798"/>
                    </a:cubicBezTo>
                    <a:cubicBezTo>
                      <a:pt x="1994" y="3048"/>
                      <a:pt x="2243" y="3209"/>
                      <a:pt x="2517" y="3209"/>
                    </a:cubicBezTo>
                    <a:cubicBezTo>
                      <a:pt x="2614" y="3209"/>
                      <a:pt x="2708" y="3189"/>
                      <a:pt x="2798" y="3149"/>
                    </a:cubicBezTo>
                    <a:cubicBezTo>
                      <a:pt x="3147" y="2994"/>
                      <a:pt x="3305" y="2583"/>
                      <a:pt x="3149" y="2234"/>
                    </a:cubicBezTo>
                    <a:cubicBezTo>
                      <a:pt x="3038" y="1984"/>
                      <a:pt x="2789" y="1823"/>
                      <a:pt x="2516" y="182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wrap="square" lIns="68580" tIns="34290" rIns="68580" bIns="3429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1" name="íśľiḓè"/>
              <p:cNvSpPr/>
              <p:nvPr/>
            </p:nvSpPr>
            <p:spPr>
              <a:xfrm>
                <a:off x="3902457" y="4426234"/>
                <a:ext cx="408723" cy="40872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68580" tIns="34290" rIns="68580" bIns="34290" rtlCol="0" anchor="ctr">
                <a:normAutofit fontScale="82500" lnSpcReduction="20000"/>
              </a:bodyPr>
              <a:lstStyle/>
              <a:p>
                <a:pPr algn="ctr"/>
                <a:endParaRPr lang="zh-CN" altLang="en-US" sz="1350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79" name="î$ľîḋe"/>
            <p:cNvSpPr/>
            <p:nvPr/>
          </p:nvSpPr>
          <p:spPr bwMode="auto">
            <a:xfrm>
              <a:off x="4011232" y="4527228"/>
              <a:ext cx="191172" cy="206734"/>
            </a:xfrm>
            <a:custGeom>
              <a:avLst/>
              <a:gdLst>
                <a:gd name="connsiteX0" fmla="*/ 516156 w 559684"/>
                <a:gd name="connsiteY0" fmla="*/ 190781 h 605240"/>
                <a:gd name="connsiteX1" fmla="*/ 534027 w 559684"/>
                <a:gd name="connsiteY1" fmla="*/ 194632 h 605240"/>
                <a:gd name="connsiteX2" fmla="*/ 536545 w 559684"/>
                <a:gd name="connsiteY2" fmla="*/ 421572 h 605240"/>
                <a:gd name="connsiteX3" fmla="*/ 424492 w 559684"/>
                <a:gd name="connsiteY3" fmla="*/ 538185 h 605240"/>
                <a:gd name="connsiteX4" fmla="*/ 412006 w 559684"/>
                <a:gd name="connsiteY4" fmla="*/ 590781 h 605240"/>
                <a:gd name="connsiteX5" fmla="*/ 399521 w 559684"/>
                <a:gd name="connsiteY5" fmla="*/ 605240 h 605240"/>
                <a:gd name="connsiteX6" fmla="*/ 338039 w 559684"/>
                <a:gd name="connsiteY6" fmla="*/ 605240 h 605240"/>
                <a:gd name="connsiteX7" fmla="*/ 322091 w 559684"/>
                <a:gd name="connsiteY7" fmla="*/ 591515 h 605240"/>
                <a:gd name="connsiteX8" fmla="*/ 398262 w 559684"/>
                <a:gd name="connsiteY8" fmla="*/ 366356 h 605240"/>
                <a:gd name="connsiteX9" fmla="*/ 443797 w 559684"/>
                <a:gd name="connsiteY9" fmla="*/ 271221 h 605240"/>
                <a:gd name="connsiteX10" fmla="*/ 483456 w 559684"/>
                <a:gd name="connsiteY10" fmla="*/ 277717 h 605240"/>
                <a:gd name="connsiteX11" fmla="*/ 447993 w 559684"/>
                <a:gd name="connsiteY11" fmla="*/ 397893 h 605240"/>
                <a:gd name="connsiteX12" fmla="*/ 460898 w 559684"/>
                <a:gd name="connsiteY12" fmla="*/ 405122 h 605240"/>
                <a:gd name="connsiteX13" fmla="*/ 496046 w 559684"/>
                <a:gd name="connsiteY13" fmla="*/ 240523 h 605240"/>
                <a:gd name="connsiteX14" fmla="*/ 516156 w 559684"/>
                <a:gd name="connsiteY14" fmla="*/ 190781 h 605240"/>
                <a:gd name="connsiteX15" fmla="*/ 43528 w 559684"/>
                <a:gd name="connsiteY15" fmla="*/ 190781 h 605240"/>
                <a:gd name="connsiteX16" fmla="*/ 63638 w 559684"/>
                <a:gd name="connsiteY16" fmla="*/ 240523 h 605240"/>
                <a:gd name="connsiteX17" fmla="*/ 98786 w 559684"/>
                <a:gd name="connsiteY17" fmla="*/ 405122 h 605240"/>
                <a:gd name="connsiteX18" fmla="*/ 111691 w 559684"/>
                <a:gd name="connsiteY18" fmla="*/ 397893 h 605240"/>
                <a:gd name="connsiteX19" fmla="*/ 76228 w 559684"/>
                <a:gd name="connsiteY19" fmla="*/ 277717 h 605240"/>
                <a:gd name="connsiteX20" fmla="*/ 115887 w 559684"/>
                <a:gd name="connsiteY20" fmla="*/ 271221 h 605240"/>
                <a:gd name="connsiteX21" fmla="*/ 161422 w 559684"/>
                <a:gd name="connsiteY21" fmla="*/ 366356 h 605240"/>
                <a:gd name="connsiteX22" fmla="*/ 237593 w 559684"/>
                <a:gd name="connsiteY22" fmla="*/ 591515 h 605240"/>
                <a:gd name="connsiteX23" fmla="*/ 221645 w 559684"/>
                <a:gd name="connsiteY23" fmla="*/ 605240 h 605240"/>
                <a:gd name="connsiteX24" fmla="*/ 160163 w 559684"/>
                <a:gd name="connsiteY24" fmla="*/ 605240 h 605240"/>
                <a:gd name="connsiteX25" fmla="*/ 147678 w 559684"/>
                <a:gd name="connsiteY25" fmla="*/ 590781 h 605240"/>
                <a:gd name="connsiteX26" fmla="*/ 135192 w 559684"/>
                <a:gd name="connsiteY26" fmla="*/ 538185 h 605240"/>
                <a:gd name="connsiteX27" fmla="*/ 23139 w 559684"/>
                <a:gd name="connsiteY27" fmla="*/ 421572 h 605240"/>
                <a:gd name="connsiteX28" fmla="*/ 25657 w 559684"/>
                <a:gd name="connsiteY28" fmla="*/ 194632 h 605240"/>
                <a:gd name="connsiteX29" fmla="*/ 43528 w 559684"/>
                <a:gd name="connsiteY29" fmla="*/ 190781 h 605240"/>
                <a:gd name="connsiteX30" fmla="*/ 197335 w 559684"/>
                <a:gd name="connsiteY30" fmla="*/ 0 h 605240"/>
                <a:gd name="connsiteX31" fmla="*/ 278643 w 559684"/>
                <a:gd name="connsiteY31" fmla="*/ 33001 h 605240"/>
                <a:gd name="connsiteX32" fmla="*/ 359950 w 559684"/>
                <a:gd name="connsiteY32" fmla="*/ 0 h 605240"/>
                <a:gd name="connsiteX33" fmla="*/ 476508 w 559684"/>
                <a:gd name="connsiteY33" fmla="*/ 116393 h 605240"/>
                <a:gd name="connsiteX34" fmla="*/ 455211 w 559684"/>
                <a:gd name="connsiteY34" fmla="*/ 183441 h 605240"/>
                <a:gd name="connsiteX35" fmla="*/ 436222 w 559684"/>
                <a:gd name="connsiteY35" fmla="*/ 205966 h 605240"/>
                <a:gd name="connsiteX36" fmla="*/ 315257 w 559684"/>
                <a:gd name="connsiteY36" fmla="*/ 326863 h 605240"/>
                <a:gd name="connsiteX37" fmla="*/ 278957 w 559684"/>
                <a:gd name="connsiteY37" fmla="*/ 351063 h 605240"/>
                <a:gd name="connsiteX38" fmla="*/ 278643 w 559684"/>
                <a:gd name="connsiteY38" fmla="*/ 351063 h 605240"/>
                <a:gd name="connsiteX39" fmla="*/ 278328 w 559684"/>
                <a:gd name="connsiteY39" fmla="*/ 351063 h 605240"/>
                <a:gd name="connsiteX40" fmla="*/ 242028 w 559684"/>
                <a:gd name="connsiteY40" fmla="*/ 326863 h 605240"/>
                <a:gd name="connsiteX41" fmla="*/ 121168 w 559684"/>
                <a:gd name="connsiteY41" fmla="*/ 205966 h 605240"/>
                <a:gd name="connsiteX42" fmla="*/ 102074 w 559684"/>
                <a:gd name="connsiteY42" fmla="*/ 183441 h 605240"/>
                <a:gd name="connsiteX43" fmla="*/ 80777 w 559684"/>
                <a:gd name="connsiteY43" fmla="*/ 116393 h 605240"/>
                <a:gd name="connsiteX44" fmla="*/ 197335 w 559684"/>
                <a:gd name="connsiteY44" fmla="*/ 0 h 605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559684" h="605240">
                  <a:moveTo>
                    <a:pt x="516156" y="190781"/>
                  </a:moveTo>
                  <a:cubicBezTo>
                    <a:pt x="521528" y="189596"/>
                    <a:pt x="527600" y="190624"/>
                    <a:pt x="534027" y="194632"/>
                  </a:cubicBezTo>
                  <a:cubicBezTo>
                    <a:pt x="559732" y="210557"/>
                    <a:pt x="574735" y="343725"/>
                    <a:pt x="536545" y="421572"/>
                  </a:cubicBezTo>
                  <a:cubicBezTo>
                    <a:pt x="504335" y="487370"/>
                    <a:pt x="436348" y="530746"/>
                    <a:pt x="424492" y="538185"/>
                  </a:cubicBezTo>
                  <a:cubicBezTo>
                    <a:pt x="416518" y="543319"/>
                    <a:pt x="413265" y="572551"/>
                    <a:pt x="412006" y="590781"/>
                  </a:cubicBezTo>
                  <a:cubicBezTo>
                    <a:pt x="411377" y="599373"/>
                    <a:pt x="409069" y="605240"/>
                    <a:pt x="399521" y="605240"/>
                  </a:cubicBezTo>
                  <a:cubicBezTo>
                    <a:pt x="389029" y="605240"/>
                    <a:pt x="367626" y="605240"/>
                    <a:pt x="338039" y="605240"/>
                  </a:cubicBezTo>
                  <a:cubicBezTo>
                    <a:pt x="322616" y="605240"/>
                    <a:pt x="322091" y="596020"/>
                    <a:pt x="322091" y="591515"/>
                  </a:cubicBezTo>
                  <a:cubicBezTo>
                    <a:pt x="322196" y="475425"/>
                    <a:pt x="315901" y="460652"/>
                    <a:pt x="398262" y="366356"/>
                  </a:cubicBezTo>
                  <a:cubicBezTo>
                    <a:pt x="423233" y="337753"/>
                    <a:pt x="426800" y="292805"/>
                    <a:pt x="443797" y="271221"/>
                  </a:cubicBezTo>
                  <a:cubicBezTo>
                    <a:pt x="458066" y="253095"/>
                    <a:pt x="480833" y="261896"/>
                    <a:pt x="483456" y="277717"/>
                  </a:cubicBezTo>
                  <a:cubicBezTo>
                    <a:pt x="487653" y="302339"/>
                    <a:pt x="461318" y="374633"/>
                    <a:pt x="447993" y="397893"/>
                  </a:cubicBezTo>
                  <a:cubicBezTo>
                    <a:pt x="444636" y="403655"/>
                    <a:pt x="450616" y="414342"/>
                    <a:pt x="460898" y="405122"/>
                  </a:cubicBezTo>
                  <a:cubicBezTo>
                    <a:pt x="471180" y="395902"/>
                    <a:pt x="511994" y="302339"/>
                    <a:pt x="496046" y="240523"/>
                  </a:cubicBezTo>
                  <a:cubicBezTo>
                    <a:pt x="490223" y="217813"/>
                    <a:pt x="500040" y="194337"/>
                    <a:pt x="516156" y="190781"/>
                  </a:cubicBezTo>
                  <a:close/>
                  <a:moveTo>
                    <a:pt x="43528" y="190781"/>
                  </a:moveTo>
                  <a:cubicBezTo>
                    <a:pt x="59644" y="194337"/>
                    <a:pt x="69461" y="217813"/>
                    <a:pt x="63638" y="240523"/>
                  </a:cubicBezTo>
                  <a:cubicBezTo>
                    <a:pt x="47795" y="302339"/>
                    <a:pt x="88504" y="395902"/>
                    <a:pt x="98786" y="405122"/>
                  </a:cubicBezTo>
                  <a:cubicBezTo>
                    <a:pt x="109068" y="414342"/>
                    <a:pt x="115048" y="403655"/>
                    <a:pt x="111691" y="397893"/>
                  </a:cubicBezTo>
                  <a:cubicBezTo>
                    <a:pt x="98366" y="374633"/>
                    <a:pt x="72031" y="302339"/>
                    <a:pt x="76228" y="277717"/>
                  </a:cubicBezTo>
                  <a:cubicBezTo>
                    <a:pt x="78851" y="261896"/>
                    <a:pt x="101618" y="253095"/>
                    <a:pt x="115887" y="271221"/>
                  </a:cubicBezTo>
                  <a:cubicBezTo>
                    <a:pt x="132884" y="292805"/>
                    <a:pt x="136451" y="337753"/>
                    <a:pt x="161422" y="366356"/>
                  </a:cubicBezTo>
                  <a:cubicBezTo>
                    <a:pt x="243783" y="460652"/>
                    <a:pt x="237488" y="475425"/>
                    <a:pt x="237593" y="591515"/>
                  </a:cubicBezTo>
                  <a:cubicBezTo>
                    <a:pt x="237593" y="596020"/>
                    <a:pt x="237068" y="605240"/>
                    <a:pt x="221645" y="605240"/>
                  </a:cubicBezTo>
                  <a:cubicBezTo>
                    <a:pt x="192058" y="605240"/>
                    <a:pt x="170655" y="605240"/>
                    <a:pt x="160163" y="605240"/>
                  </a:cubicBezTo>
                  <a:cubicBezTo>
                    <a:pt x="150615" y="605240"/>
                    <a:pt x="148307" y="599373"/>
                    <a:pt x="147678" y="590781"/>
                  </a:cubicBezTo>
                  <a:cubicBezTo>
                    <a:pt x="146419" y="572551"/>
                    <a:pt x="143166" y="543319"/>
                    <a:pt x="135192" y="538185"/>
                  </a:cubicBezTo>
                  <a:cubicBezTo>
                    <a:pt x="123337" y="530746"/>
                    <a:pt x="55349" y="487370"/>
                    <a:pt x="23139" y="421572"/>
                  </a:cubicBezTo>
                  <a:cubicBezTo>
                    <a:pt x="-15051" y="343725"/>
                    <a:pt x="-48" y="210557"/>
                    <a:pt x="25657" y="194632"/>
                  </a:cubicBezTo>
                  <a:cubicBezTo>
                    <a:pt x="32084" y="190624"/>
                    <a:pt x="38156" y="189596"/>
                    <a:pt x="43528" y="190781"/>
                  </a:cubicBezTo>
                  <a:close/>
                  <a:moveTo>
                    <a:pt x="197335" y="0"/>
                  </a:moveTo>
                  <a:cubicBezTo>
                    <a:pt x="229019" y="0"/>
                    <a:pt x="257660" y="12572"/>
                    <a:pt x="278643" y="33001"/>
                  </a:cubicBezTo>
                  <a:cubicBezTo>
                    <a:pt x="299625" y="12572"/>
                    <a:pt x="328371" y="0"/>
                    <a:pt x="359950" y="0"/>
                  </a:cubicBezTo>
                  <a:cubicBezTo>
                    <a:pt x="424366" y="0"/>
                    <a:pt x="476508" y="52068"/>
                    <a:pt x="476508" y="116393"/>
                  </a:cubicBezTo>
                  <a:cubicBezTo>
                    <a:pt x="476508" y="141326"/>
                    <a:pt x="468640" y="164479"/>
                    <a:pt x="455211" y="183441"/>
                  </a:cubicBezTo>
                  <a:cubicBezTo>
                    <a:pt x="449965" y="191718"/>
                    <a:pt x="443565" y="199261"/>
                    <a:pt x="436222" y="205966"/>
                  </a:cubicBezTo>
                  <a:lnTo>
                    <a:pt x="315257" y="326863"/>
                  </a:lnTo>
                  <a:cubicBezTo>
                    <a:pt x="303192" y="338911"/>
                    <a:pt x="291127" y="351063"/>
                    <a:pt x="278957" y="351063"/>
                  </a:cubicBezTo>
                  <a:cubicBezTo>
                    <a:pt x="278852" y="351063"/>
                    <a:pt x="278747" y="351063"/>
                    <a:pt x="278643" y="351063"/>
                  </a:cubicBezTo>
                  <a:cubicBezTo>
                    <a:pt x="278538" y="351063"/>
                    <a:pt x="278433" y="351063"/>
                    <a:pt x="278328" y="351063"/>
                  </a:cubicBezTo>
                  <a:cubicBezTo>
                    <a:pt x="266263" y="351063"/>
                    <a:pt x="254198" y="338911"/>
                    <a:pt x="242028" y="326863"/>
                  </a:cubicBezTo>
                  <a:lnTo>
                    <a:pt x="121168" y="205966"/>
                  </a:lnTo>
                  <a:cubicBezTo>
                    <a:pt x="113825" y="199261"/>
                    <a:pt x="107425" y="191718"/>
                    <a:pt x="102074" y="183441"/>
                  </a:cubicBezTo>
                  <a:cubicBezTo>
                    <a:pt x="88646" y="164479"/>
                    <a:pt x="80777" y="141326"/>
                    <a:pt x="80777" y="116393"/>
                  </a:cubicBezTo>
                  <a:cubicBezTo>
                    <a:pt x="80777" y="52068"/>
                    <a:pt x="133024" y="0"/>
                    <a:pt x="197335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 sz="1350">
                <a:solidFill>
                  <a:srgbClr val="000000"/>
                </a:solidFill>
              </a:endParaRPr>
            </a:p>
          </p:txBody>
        </p:sp>
      </p:grpSp>
      <p:grpSp>
        <p:nvGrpSpPr>
          <p:cNvPr id="43" name="iSḷiďê"/>
          <p:cNvGrpSpPr/>
          <p:nvPr/>
        </p:nvGrpSpPr>
        <p:grpSpPr>
          <a:xfrm>
            <a:off x="7644409" y="3543741"/>
            <a:ext cx="416169" cy="414575"/>
            <a:chOff x="7814049" y="4354212"/>
            <a:chExt cx="554892" cy="552766"/>
          </a:xfrm>
        </p:grpSpPr>
        <p:grpSp>
          <p:nvGrpSpPr>
            <p:cNvPr id="74" name="işľîḓè"/>
            <p:cNvGrpSpPr/>
            <p:nvPr/>
          </p:nvGrpSpPr>
          <p:grpSpPr>
            <a:xfrm>
              <a:off x="7814049" y="4354212"/>
              <a:ext cx="554892" cy="552766"/>
              <a:chOff x="7814049" y="4354212"/>
              <a:chExt cx="554892" cy="552766"/>
            </a:xfrm>
            <a:solidFill>
              <a:schemeClr val="bg1">
                <a:lumMod val="85000"/>
              </a:schemeClr>
            </a:solidFill>
          </p:grpSpPr>
          <p:sp>
            <p:nvSpPr>
              <p:cNvPr id="76" name="iš1íďè"/>
              <p:cNvSpPr/>
              <p:nvPr/>
            </p:nvSpPr>
            <p:spPr>
              <a:xfrm>
                <a:off x="7814049" y="4354212"/>
                <a:ext cx="554892" cy="552766"/>
              </a:xfrm>
              <a:custGeom>
                <a:avLst/>
                <a:gdLst>
                  <a:gd name="T0" fmla="*/ 2026 w 5033"/>
                  <a:gd name="T1" fmla="*/ 4906 h 5021"/>
                  <a:gd name="T2" fmla="*/ 1667 w 5033"/>
                  <a:gd name="T3" fmla="*/ 4323 h 5021"/>
                  <a:gd name="T4" fmla="*/ 1237 w 5033"/>
                  <a:gd name="T5" fmla="*/ 4593 h 5021"/>
                  <a:gd name="T6" fmla="*/ 476 w 5033"/>
                  <a:gd name="T7" fmla="*/ 3854 h 5021"/>
                  <a:gd name="T8" fmla="*/ 703 w 5033"/>
                  <a:gd name="T9" fmla="*/ 3292 h 5021"/>
                  <a:gd name="T10" fmla="*/ 141 w 5033"/>
                  <a:gd name="T11" fmla="*/ 3077 h 5021"/>
                  <a:gd name="T12" fmla="*/ 126 w 5033"/>
                  <a:gd name="T13" fmla="*/ 2020 h 5021"/>
                  <a:gd name="T14" fmla="*/ 681 w 5033"/>
                  <a:gd name="T15" fmla="*/ 1780 h 5021"/>
                  <a:gd name="T16" fmla="*/ 441 w 5033"/>
                  <a:gd name="T17" fmla="*/ 1232 h 5021"/>
                  <a:gd name="T18" fmla="*/ 1175 w 5033"/>
                  <a:gd name="T19" fmla="*/ 476 h 5021"/>
                  <a:gd name="T20" fmla="*/ 1598 w 5033"/>
                  <a:gd name="T21" fmla="*/ 725 h 5021"/>
                  <a:gd name="T22" fmla="*/ 1953 w 5033"/>
                  <a:gd name="T23" fmla="*/ 140 h 5021"/>
                  <a:gd name="T24" fmla="*/ 3005 w 5033"/>
                  <a:gd name="T25" fmla="*/ 124 h 5021"/>
                  <a:gd name="T26" fmla="*/ 3368 w 5033"/>
                  <a:gd name="T27" fmla="*/ 696 h 5021"/>
                  <a:gd name="T28" fmla="*/ 3794 w 5033"/>
                  <a:gd name="T29" fmla="*/ 436 h 5021"/>
                  <a:gd name="T30" fmla="*/ 4551 w 5033"/>
                  <a:gd name="T31" fmla="*/ 1167 h 5021"/>
                  <a:gd name="T32" fmla="*/ 4518 w 5033"/>
                  <a:gd name="T33" fmla="*/ 1905 h 5021"/>
                  <a:gd name="T34" fmla="*/ 4984 w 5033"/>
                  <a:gd name="T35" fmla="*/ 2087 h 5021"/>
                  <a:gd name="T36" fmla="*/ 4786 w 5033"/>
                  <a:gd name="T37" fmla="*/ 3037 h 5021"/>
                  <a:gd name="T38" fmla="*/ 4531 w 5033"/>
                  <a:gd name="T39" fmla="*/ 3053 h 5021"/>
                  <a:gd name="T40" fmla="*/ 4599 w 5033"/>
                  <a:gd name="T41" fmla="*/ 3789 h 5021"/>
                  <a:gd name="T42" fmla="*/ 3863 w 5033"/>
                  <a:gd name="T43" fmla="*/ 4551 h 5021"/>
                  <a:gd name="T44" fmla="*/ 3437 w 5033"/>
                  <a:gd name="T45" fmla="*/ 4295 h 5021"/>
                  <a:gd name="T46" fmla="*/ 3087 w 5033"/>
                  <a:gd name="T47" fmla="*/ 4889 h 5021"/>
                  <a:gd name="T48" fmla="*/ 1667 w 5033"/>
                  <a:gd name="T49" fmla="*/ 4167 h 5021"/>
                  <a:gd name="T50" fmla="*/ 2155 w 5033"/>
                  <a:gd name="T51" fmla="*/ 4817 h 5021"/>
                  <a:gd name="T52" fmla="*/ 2955 w 5033"/>
                  <a:gd name="T53" fmla="*/ 4804 h 5021"/>
                  <a:gd name="T54" fmla="*/ 3437 w 5033"/>
                  <a:gd name="T55" fmla="*/ 4138 h 5021"/>
                  <a:gd name="T56" fmla="*/ 3891 w 5033"/>
                  <a:gd name="T57" fmla="*/ 4397 h 5021"/>
                  <a:gd name="T58" fmla="*/ 4446 w 5033"/>
                  <a:gd name="T59" fmla="*/ 3822 h 5021"/>
                  <a:gd name="T60" fmla="*/ 4467 w 5033"/>
                  <a:gd name="T61" fmla="*/ 2910 h 5021"/>
                  <a:gd name="T62" fmla="*/ 4786 w 5033"/>
                  <a:gd name="T63" fmla="*/ 2881 h 5021"/>
                  <a:gd name="T64" fmla="*/ 4830 w 5033"/>
                  <a:gd name="T65" fmla="*/ 2114 h 5021"/>
                  <a:gd name="T66" fmla="*/ 4462 w 5033"/>
                  <a:gd name="T67" fmla="*/ 2050 h 5021"/>
                  <a:gd name="T68" fmla="*/ 4397 w 5033"/>
                  <a:gd name="T69" fmla="*/ 1140 h 5021"/>
                  <a:gd name="T70" fmla="*/ 3826 w 5033"/>
                  <a:gd name="T71" fmla="*/ 589 h 5021"/>
                  <a:gd name="T72" fmla="*/ 3368 w 5033"/>
                  <a:gd name="T73" fmla="*/ 852 h 5021"/>
                  <a:gd name="T74" fmla="*/ 2877 w 5033"/>
                  <a:gd name="T75" fmla="*/ 213 h 5021"/>
                  <a:gd name="T76" fmla="*/ 2084 w 5033"/>
                  <a:gd name="T77" fmla="*/ 225 h 5021"/>
                  <a:gd name="T78" fmla="*/ 1598 w 5033"/>
                  <a:gd name="T79" fmla="*/ 881 h 5021"/>
                  <a:gd name="T80" fmla="*/ 1148 w 5033"/>
                  <a:gd name="T81" fmla="*/ 629 h 5021"/>
                  <a:gd name="T82" fmla="*/ 593 w 5033"/>
                  <a:gd name="T83" fmla="*/ 1199 h 5021"/>
                  <a:gd name="T84" fmla="*/ 827 w 5033"/>
                  <a:gd name="T85" fmla="*/ 1836 h 5021"/>
                  <a:gd name="T86" fmla="*/ 215 w 5033"/>
                  <a:gd name="T87" fmla="*/ 2148 h 5021"/>
                  <a:gd name="T88" fmla="*/ 225 w 5033"/>
                  <a:gd name="T89" fmla="*/ 2946 h 5021"/>
                  <a:gd name="T90" fmla="*/ 846 w 5033"/>
                  <a:gd name="T91" fmla="*/ 3228 h 5021"/>
                  <a:gd name="T92" fmla="*/ 629 w 5033"/>
                  <a:gd name="T93" fmla="*/ 3883 h 5021"/>
                  <a:gd name="T94" fmla="*/ 1203 w 5033"/>
                  <a:gd name="T95" fmla="*/ 4440 h 5021"/>
                  <a:gd name="T96" fmla="*/ 1667 w 5033"/>
                  <a:gd name="T97" fmla="*/ 4167 h 5021"/>
                  <a:gd name="T98" fmla="*/ 2171 w 5033"/>
                  <a:gd name="T99" fmla="*/ 1740 h 5021"/>
                  <a:gd name="T100" fmla="*/ 2861 w 5033"/>
                  <a:gd name="T101" fmla="*/ 3292 h 5021"/>
                  <a:gd name="T102" fmla="*/ 2234 w 5033"/>
                  <a:gd name="T103" fmla="*/ 1883 h 5021"/>
                  <a:gd name="T104" fmla="*/ 2798 w 5033"/>
                  <a:gd name="T105" fmla="*/ 3149 h 50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5033" h="5021">
                    <a:moveTo>
                      <a:pt x="2519" y="5021"/>
                    </a:moveTo>
                    <a:cubicBezTo>
                      <a:pt x="2404" y="5021"/>
                      <a:pt x="2287" y="5013"/>
                      <a:pt x="2173" y="4997"/>
                    </a:cubicBezTo>
                    <a:cubicBezTo>
                      <a:pt x="2114" y="4989"/>
                      <a:pt x="2060" y="4955"/>
                      <a:pt x="2026" y="4906"/>
                    </a:cubicBezTo>
                    <a:cubicBezTo>
                      <a:pt x="1992" y="4857"/>
                      <a:pt x="1980" y="4795"/>
                      <a:pt x="1994" y="4736"/>
                    </a:cubicBezTo>
                    <a:cubicBezTo>
                      <a:pt x="2011" y="4664"/>
                      <a:pt x="2004" y="4590"/>
                      <a:pt x="1974" y="4523"/>
                    </a:cubicBezTo>
                    <a:cubicBezTo>
                      <a:pt x="1920" y="4401"/>
                      <a:pt x="1800" y="4323"/>
                      <a:pt x="1667" y="4323"/>
                    </a:cubicBezTo>
                    <a:cubicBezTo>
                      <a:pt x="1620" y="4323"/>
                      <a:pt x="1574" y="4333"/>
                      <a:pt x="1530" y="4352"/>
                    </a:cubicBezTo>
                    <a:cubicBezTo>
                      <a:pt x="1465" y="4381"/>
                      <a:pt x="1412" y="4429"/>
                      <a:pt x="1376" y="4491"/>
                    </a:cubicBezTo>
                    <a:cubicBezTo>
                      <a:pt x="1346" y="4543"/>
                      <a:pt x="1295" y="4580"/>
                      <a:pt x="1237" y="4593"/>
                    </a:cubicBezTo>
                    <a:cubicBezTo>
                      <a:pt x="1181" y="4606"/>
                      <a:pt x="1116" y="4594"/>
                      <a:pt x="1067" y="4559"/>
                    </a:cubicBezTo>
                    <a:cubicBezTo>
                      <a:pt x="857" y="4410"/>
                      <a:pt x="671" y="4230"/>
                      <a:pt x="515" y="4022"/>
                    </a:cubicBezTo>
                    <a:cubicBezTo>
                      <a:pt x="479" y="3974"/>
                      <a:pt x="465" y="3913"/>
                      <a:pt x="476" y="3854"/>
                    </a:cubicBezTo>
                    <a:cubicBezTo>
                      <a:pt x="487" y="3796"/>
                      <a:pt x="522" y="3744"/>
                      <a:pt x="573" y="3712"/>
                    </a:cubicBezTo>
                    <a:cubicBezTo>
                      <a:pt x="637" y="3672"/>
                      <a:pt x="684" y="3616"/>
                      <a:pt x="710" y="3549"/>
                    </a:cubicBezTo>
                    <a:cubicBezTo>
                      <a:pt x="742" y="3465"/>
                      <a:pt x="740" y="3374"/>
                      <a:pt x="703" y="3292"/>
                    </a:cubicBezTo>
                    <a:cubicBezTo>
                      <a:pt x="666" y="3210"/>
                      <a:pt x="600" y="3147"/>
                      <a:pt x="516" y="3115"/>
                    </a:cubicBezTo>
                    <a:cubicBezTo>
                      <a:pt x="452" y="3090"/>
                      <a:pt x="380" y="3086"/>
                      <a:pt x="311" y="3104"/>
                    </a:cubicBezTo>
                    <a:cubicBezTo>
                      <a:pt x="252" y="3119"/>
                      <a:pt x="190" y="3109"/>
                      <a:pt x="141" y="3077"/>
                    </a:cubicBezTo>
                    <a:cubicBezTo>
                      <a:pt x="90" y="3044"/>
                      <a:pt x="56" y="2992"/>
                      <a:pt x="46" y="2933"/>
                    </a:cubicBezTo>
                    <a:cubicBezTo>
                      <a:pt x="3" y="2681"/>
                      <a:pt x="0" y="2423"/>
                      <a:pt x="36" y="2166"/>
                    </a:cubicBezTo>
                    <a:cubicBezTo>
                      <a:pt x="45" y="2107"/>
                      <a:pt x="77" y="2054"/>
                      <a:pt x="126" y="2020"/>
                    </a:cubicBezTo>
                    <a:cubicBezTo>
                      <a:pt x="175" y="1986"/>
                      <a:pt x="237" y="1974"/>
                      <a:pt x="295" y="1987"/>
                    </a:cubicBezTo>
                    <a:cubicBezTo>
                      <a:pt x="365" y="2003"/>
                      <a:pt x="439" y="1995"/>
                      <a:pt x="504" y="1967"/>
                    </a:cubicBezTo>
                    <a:cubicBezTo>
                      <a:pt x="586" y="1930"/>
                      <a:pt x="649" y="1864"/>
                      <a:pt x="681" y="1780"/>
                    </a:cubicBezTo>
                    <a:cubicBezTo>
                      <a:pt x="713" y="1696"/>
                      <a:pt x="711" y="1605"/>
                      <a:pt x="675" y="1523"/>
                    </a:cubicBezTo>
                    <a:cubicBezTo>
                      <a:pt x="646" y="1459"/>
                      <a:pt x="600" y="1407"/>
                      <a:pt x="540" y="1371"/>
                    </a:cubicBezTo>
                    <a:cubicBezTo>
                      <a:pt x="489" y="1341"/>
                      <a:pt x="453" y="1290"/>
                      <a:pt x="441" y="1232"/>
                    </a:cubicBezTo>
                    <a:cubicBezTo>
                      <a:pt x="429" y="1173"/>
                      <a:pt x="441" y="1112"/>
                      <a:pt x="476" y="1064"/>
                    </a:cubicBezTo>
                    <a:cubicBezTo>
                      <a:pt x="624" y="854"/>
                      <a:pt x="804" y="670"/>
                      <a:pt x="1009" y="515"/>
                    </a:cubicBezTo>
                    <a:cubicBezTo>
                      <a:pt x="1056" y="480"/>
                      <a:pt x="1117" y="466"/>
                      <a:pt x="1175" y="476"/>
                    </a:cubicBezTo>
                    <a:cubicBezTo>
                      <a:pt x="1233" y="486"/>
                      <a:pt x="1285" y="521"/>
                      <a:pt x="1317" y="570"/>
                    </a:cubicBezTo>
                    <a:cubicBezTo>
                      <a:pt x="1357" y="631"/>
                      <a:pt x="1412" y="677"/>
                      <a:pt x="1478" y="702"/>
                    </a:cubicBezTo>
                    <a:cubicBezTo>
                      <a:pt x="1517" y="717"/>
                      <a:pt x="1557" y="725"/>
                      <a:pt x="1598" y="725"/>
                    </a:cubicBezTo>
                    <a:cubicBezTo>
                      <a:pt x="1737" y="725"/>
                      <a:pt x="1863" y="638"/>
                      <a:pt x="1912" y="509"/>
                    </a:cubicBezTo>
                    <a:cubicBezTo>
                      <a:pt x="1937" y="445"/>
                      <a:pt x="1941" y="376"/>
                      <a:pt x="1925" y="308"/>
                    </a:cubicBezTo>
                    <a:cubicBezTo>
                      <a:pt x="1910" y="251"/>
                      <a:pt x="1921" y="189"/>
                      <a:pt x="1953" y="140"/>
                    </a:cubicBezTo>
                    <a:cubicBezTo>
                      <a:pt x="1986" y="90"/>
                      <a:pt x="2038" y="56"/>
                      <a:pt x="2096" y="46"/>
                    </a:cubicBezTo>
                    <a:cubicBezTo>
                      <a:pt x="2345" y="4"/>
                      <a:pt x="2607" y="0"/>
                      <a:pt x="2859" y="35"/>
                    </a:cubicBezTo>
                    <a:cubicBezTo>
                      <a:pt x="2917" y="43"/>
                      <a:pt x="2971" y="75"/>
                      <a:pt x="3005" y="124"/>
                    </a:cubicBezTo>
                    <a:cubicBezTo>
                      <a:pt x="3039" y="172"/>
                      <a:pt x="3051" y="233"/>
                      <a:pt x="3039" y="291"/>
                    </a:cubicBezTo>
                    <a:cubicBezTo>
                      <a:pt x="3024" y="361"/>
                      <a:pt x="3032" y="432"/>
                      <a:pt x="3060" y="496"/>
                    </a:cubicBezTo>
                    <a:cubicBezTo>
                      <a:pt x="3114" y="618"/>
                      <a:pt x="3235" y="696"/>
                      <a:pt x="3368" y="696"/>
                    </a:cubicBezTo>
                    <a:cubicBezTo>
                      <a:pt x="3415" y="696"/>
                      <a:pt x="3461" y="686"/>
                      <a:pt x="3504" y="667"/>
                    </a:cubicBezTo>
                    <a:cubicBezTo>
                      <a:pt x="3567" y="639"/>
                      <a:pt x="3619" y="593"/>
                      <a:pt x="3655" y="534"/>
                    </a:cubicBezTo>
                    <a:cubicBezTo>
                      <a:pt x="3685" y="484"/>
                      <a:pt x="3736" y="448"/>
                      <a:pt x="3794" y="436"/>
                    </a:cubicBezTo>
                    <a:cubicBezTo>
                      <a:pt x="3855" y="423"/>
                      <a:pt x="3913" y="437"/>
                      <a:pt x="3961" y="470"/>
                    </a:cubicBezTo>
                    <a:cubicBezTo>
                      <a:pt x="4171" y="618"/>
                      <a:pt x="4355" y="797"/>
                      <a:pt x="4510" y="1001"/>
                    </a:cubicBezTo>
                    <a:cubicBezTo>
                      <a:pt x="4546" y="1048"/>
                      <a:pt x="4561" y="1109"/>
                      <a:pt x="4551" y="1167"/>
                    </a:cubicBezTo>
                    <a:cubicBezTo>
                      <a:pt x="4540" y="1226"/>
                      <a:pt x="4506" y="1278"/>
                      <a:pt x="4456" y="1310"/>
                    </a:cubicBezTo>
                    <a:cubicBezTo>
                      <a:pt x="4395" y="1349"/>
                      <a:pt x="4350" y="1405"/>
                      <a:pt x="4325" y="1470"/>
                    </a:cubicBezTo>
                    <a:cubicBezTo>
                      <a:pt x="4258" y="1643"/>
                      <a:pt x="4345" y="1838"/>
                      <a:pt x="4518" y="1905"/>
                    </a:cubicBezTo>
                    <a:cubicBezTo>
                      <a:pt x="4582" y="1929"/>
                      <a:pt x="4653" y="1933"/>
                      <a:pt x="4721" y="1916"/>
                    </a:cubicBezTo>
                    <a:cubicBezTo>
                      <a:pt x="4779" y="1902"/>
                      <a:pt x="4840" y="1912"/>
                      <a:pt x="4890" y="1944"/>
                    </a:cubicBezTo>
                    <a:cubicBezTo>
                      <a:pt x="4939" y="1977"/>
                      <a:pt x="4974" y="2029"/>
                      <a:pt x="4984" y="2087"/>
                    </a:cubicBezTo>
                    <a:cubicBezTo>
                      <a:pt x="5028" y="2339"/>
                      <a:pt x="5033" y="2597"/>
                      <a:pt x="4998" y="2852"/>
                    </a:cubicBezTo>
                    <a:cubicBezTo>
                      <a:pt x="4990" y="2911"/>
                      <a:pt x="4957" y="2965"/>
                      <a:pt x="4908" y="2999"/>
                    </a:cubicBezTo>
                    <a:cubicBezTo>
                      <a:pt x="4872" y="3024"/>
                      <a:pt x="4830" y="3037"/>
                      <a:pt x="4786" y="3037"/>
                    </a:cubicBezTo>
                    <a:lnTo>
                      <a:pt x="4786" y="3037"/>
                    </a:lnTo>
                    <a:cubicBezTo>
                      <a:pt x="4770" y="3037"/>
                      <a:pt x="4755" y="3036"/>
                      <a:pt x="4740" y="3032"/>
                    </a:cubicBezTo>
                    <a:cubicBezTo>
                      <a:pt x="4668" y="3016"/>
                      <a:pt x="4596" y="3024"/>
                      <a:pt x="4531" y="3053"/>
                    </a:cubicBezTo>
                    <a:cubicBezTo>
                      <a:pt x="4361" y="3128"/>
                      <a:pt x="4285" y="3327"/>
                      <a:pt x="4360" y="3497"/>
                    </a:cubicBezTo>
                    <a:cubicBezTo>
                      <a:pt x="4389" y="3561"/>
                      <a:pt x="4436" y="3614"/>
                      <a:pt x="4497" y="3650"/>
                    </a:cubicBezTo>
                    <a:cubicBezTo>
                      <a:pt x="4549" y="3680"/>
                      <a:pt x="4586" y="3731"/>
                      <a:pt x="4599" y="3789"/>
                    </a:cubicBezTo>
                    <a:cubicBezTo>
                      <a:pt x="4611" y="3847"/>
                      <a:pt x="4599" y="3909"/>
                      <a:pt x="4565" y="3958"/>
                    </a:cubicBezTo>
                    <a:cubicBezTo>
                      <a:pt x="4416" y="4169"/>
                      <a:pt x="4237" y="4355"/>
                      <a:pt x="4031" y="4511"/>
                    </a:cubicBezTo>
                    <a:cubicBezTo>
                      <a:pt x="3983" y="4547"/>
                      <a:pt x="3922" y="4562"/>
                      <a:pt x="3863" y="4551"/>
                    </a:cubicBezTo>
                    <a:cubicBezTo>
                      <a:pt x="3804" y="4540"/>
                      <a:pt x="3752" y="4505"/>
                      <a:pt x="3720" y="4454"/>
                    </a:cubicBezTo>
                    <a:cubicBezTo>
                      <a:pt x="3680" y="4390"/>
                      <a:pt x="3624" y="4343"/>
                      <a:pt x="3557" y="4317"/>
                    </a:cubicBezTo>
                    <a:cubicBezTo>
                      <a:pt x="3518" y="4302"/>
                      <a:pt x="3477" y="4295"/>
                      <a:pt x="3437" y="4295"/>
                    </a:cubicBezTo>
                    <a:cubicBezTo>
                      <a:pt x="3298" y="4295"/>
                      <a:pt x="3172" y="4381"/>
                      <a:pt x="3122" y="4511"/>
                    </a:cubicBezTo>
                    <a:cubicBezTo>
                      <a:pt x="3097" y="4576"/>
                      <a:pt x="3094" y="4648"/>
                      <a:pt x="3113" y="4718"/>
                    </a:cubicBezTo>
                    <a:cubicBezTo>
                      <a:pt x="3128" y="4776"/>
                      <a:pt x="3119" y="4838"/>
                      <a:pt x="3087" y="4889"/>
                    </a:cubicBezTo>
                    <a:cubicBezTo>
                      <a:pt x="3054" y="4939"/>
                      <a:pt x="3002" y="4974"/>
                      <a:pt x="2943" y="4984"/>
                    </a:cubicBezTo>
                    <a:cubicBezTo>
                      <a:pt x="2803" y="5008"/>
                      <a:pt x="2660" y="5021"/>
                      <a:pt x="2519" y="5021"/>
                    </a:cubicBezTo>
                    <a:close/>
                    <a:moveTo>
                      <a:pt x="1667" y="4167"/>
                    </a:moveTo>
                    <a:cubicBezTo>
                      <a:pt x="1861" y="4167"/>
                      <a:pt x="2038" y="4282"/>
                      <a:pt x="2117" y="4459"/>
                    </a:cubicBezTo>
                    <a:cubicBezTo>
                      <a:pt x="2161" y="4558"/>
                      <a:pt x="2171" y="4666"/>
                      <a:pt x="2146" y="4772"/>
                    </a:cubicBezTo>
                    <a:cubicBezTo>
                      <a:pt x="2142" y="4787"/>
                      <a:pt x="2146" y="4804"/>
                      <a:pt x="2155" y="4817"/>
                    </a:cubicBezTo>
                    <a:cubicBezTo>
                      <a:pt x="2164" y="4831"/>
                      <a:pt x="2178" y="4840"/>
                      <a:pt x="2195" y="4842"/>
                    </a:cubicBezTo>
                    <a:cubicBezTo>
                      <a:pt x="2434" y="4875"/>
                      <a:pt x="2679" y="4872"/>
                      <a:pt x="2916" y="4830"/>
                    </a:cubicBezTo>
                    <a:cubicBezTo>
                      <a:pt x="2932" y="4828"/>
                      <a:pt x="2946" y="4818"/>
                      <a:pt x="2955" y="4804"/>
                    </a:cubicBezTo>
                    <a:cubicBezTo>
                      <a:pt x="2964" y="4791"/>
                      <a:pt x="2966" y="4774"/>
                      <a:pt x="2962" y="4758"/>
                    </a:cubicBezTo>
                    <a:cubicBezTo>
                      <a:pt x="2934" y="4656"/>
                      <a:pt x="2940" y="4551"/>
                      <a:pt x="2977" y="4454"/>
                    </a:cubicBezTo>
                    <a:cubicBezTo>
                      <a:pt x="3049" y="4265"/>
                      <a:pt x="3234" y="4138"/>
                      <a:pt x="3437" y="4138"/>
                    </a:cubicBezTo>
                    <a:cubicBezTo>
                      <a:pt x="3497" y="4138"/>
                      <a:pt x="3556" y="4149"/>
                      <a:pt x="3613" y="4171"/>
                    </a:cubicBezTo>
                    <a:cubicBezTo>
                      <a:pt x="3712" y="4209"/>
                      <a:pt x="3794" y="4278"/>
                      <a:pt x="3852" y="4371"/>
                    </a:cubicBezTo>
                    <a:cubicBezTo>
                      <a:pt x="3861" y="4385"/>
                      <a:pt x="3875" y="4394"/>
                      <a:pt x="3891" y="4397"/>
                    </a:cubicBezTo>
                    <a:cubicBezTo>
                      <a:pt x="3907" y="4400"/>
                      <a:pt x="3924" y="4396"/>
                      <a:pt x="3937" y="4386"/>
                    </a:cubicBezTo>
                    <a:cubicBezTo>
                      <a:pt x="4130" y="4240"/>
                      <a:pt x="4298" y="4066"/>
                      <a:pt x="4437" y="3868"/>
                    </a:cubicBezTo>
                    <a:cubicBezTo>
                      <a:pt x="4446" y="3855"/>
                      <a:pt x="4450" y="3838"/>
                      <a:pt x="4446" y="3822"/>
                    </a:cubicBezTo>
                    <a:cubicBezTo>
                      <a:pt x="4443" y="3806"/>
                      <a:pt x="4433" y="3793"/>
                      <a:pt x="4419" y="3784"/>
                    </a:cubicBezTo>
                    <a:cubicBezTo>
                      <a:pt x="4329" y="3732"/>
                      <a:pt x="4260" y="3655"/>
                      <a:pt x="4218" y="3560"/>
                    </a:cubicBezTo>
                    <a:cubicBezTo>
                      <a:pt x="4107" y="3312"/>
                      <a:pt x="4219" y="3020"/>
                      <a:pt x="4467" y="2910"/>
                    </a:cubicBezTo>
                    <a:cubicBezTo>
                      <a:pt x="4563" y="2868"/>
                      <a:pt x="4670" y="2857"/>
                      <a:pt x="4774" y="2880"/>
                    </a:cubicBezTo>
                    <a:cubicBezTo>
                      <a:pt x="4777" y="2881"/>
                      <a:pt x="4782" y="2881"/>
                      <a:pt x="4786" y="2881"/>
                    </a:cubicBezTo>
                    <a:lnTo>
                      <a:pt x="4786" y="2881"/>
                    </a:lnTo>
                    <a:cubicBezTo>
                      <a:pt x="4798" y="2881"/>
                      <a:pt x="4810" y="2877"/>
                      <a:pt x="4820" y="2871"/>
                    </a:cubicBezTo>
                    <a:cubicBezTo>
                      <a:pt x="4833" y="2862"/>
                      <a:pt x="4841" y="2847"/>
                      <a:pt x="4844" y="2831"/>
                    </a:cubicBezTo>
                    <a:cubicBezTo>
                      <a:pt x="4876" y="2592"/>
                      <a:pt x="4871" y="2350"/>
                      <a:pt x="4830" y="2114"/>
                    </a:cubicBezTo>
                    <a:cubicBezTo>
                      <a:pt x="4827" y="2098"/>
                      <a:pt x="4818" y="2084"/>
                      <a:pt x="4805" y="2075"/>
                    </a:cubicBezTo>
                    <a:cubicBezTo>
                      <a:pt x="4791" y="2066"/>
                      <a:pt x="4775" y="2063"/>
                      <a:pt x="4759" y="2067"/>
                    </a:cubicBezTo>
                    <a:cubicBezTo>
                      <a:pt x="4660" y="2092"/>
                      <a:pt x="4556" y="2086"/>
                      <a:pt x="4462" y="2050"/>
                    </a:cubicBezTo>
                    <a:cubicBezTo>
                      <a:pt x="4209" y="1953"/>
                      <a:pt x="4082" y="1667"/>
                      <a:pt x="4179" y="1414"/>
                    </a:cubicBezTo>
                    <a:cubicBezTo>
                      <a:pt x="4216" y="1318"/>
                      <a:pt x="4283" y="1236"/>
                      <a:pt x="4371" y="1179"/>
                    </a:cubicBezTo>
                    <a:cubicBezTo>
                      <a:pt x="4385" y="1170"/>
                      <a:pt x="4394" y="1156"/>
                      <a:pt x="4397" y="1140"/>
                    </a:cubicBezTo>
                    <a:cubicBezTo>
                      <a:pt x="4400" y="1124"/>
                      <a:pt x="4396" y="1108"/>
                      <a:pt x="4386" y="1095"/>
                    </a:cubicBezTo>
                    <a:cubicBezTo>
                      <a:pt x="4241" y="904"/>
                      <a:pt x="4068" y="736"/>
                      <a:pt x="3871" y="598"/>
                    </a:cubicBezTo>
                    <a:cubicBezTo>
                      <a:pt x="3859" y="589"/>
                      <a:pt x="3842" y="585"/>
                      <a:pt x="3826" y="589"/>
                    </a:cubicBezTo>
                    <a:cubicBezTo>
                      <a:pt x="3810" y="592"/>
                      <a:pt x="3797" y="601"/>
                      <a:pt x="3788" y="615"/>
                    </a:cubicBezTo>
                    <a:cubicBezTo>
                      <a:pt x="3736" y="701"/>
                      <a:pt x="3660" y="769"/>
                      <a:pt x="3568" y="809"/>
                    </a:cubicBezTo>
                    <a:cubicBezTo>
                      <a:pt x="3504" y="838"/>
                      <a:pt x="3437" y="852"/>
                      <a:pt x="3368" y="852"/>
                    </a:cubicBezTo>
                    <a:cubicBezTo>
                      <a:pt x="3174" y="852"/>
                      <a:pt x="2997" y="737"/>
                      <a:pt x="2918" y="560"/>
                    </a:cubicBezTo>
                    <a:cubicBezTo>
                      <a:pt x="2876" y="465"/>
                      <a:pt x="2865" y="361"/>
                      <a:pt x="2886" y="259"/>
                    </a:cubicBezTo>
                    <a:cubicBezTo>
                      <a:pt x="2889" y="243"/>
                      <a:pt x="2886" y="226"/>
                      <a:pt x="2877" y="213"/>
                    </a:cubicBezTo>
                    <a:cubicBezTo>
                      <a:pt x="2868" y="200"/>
                      <a:pt x="2853" y="192"/>
                      <a:pt x="2837" y="189"/>
                    </a:cubicBezTo>
                    <a:cubicBezTo>
                      <a:pt x="2601" y="156"/>
                      <a:pt x="2356" y="160"/>
                      <a:pt x="2123" y="200"/>
                    </a:cubicBezTo>
                    <a:cubicBezTo>
                      <a:pt x="2107" y="203"/>
                      <a:pt x="2093" y="212"/>
                      <a:pt x="2084" y="225"/>
                    </a:cubicBezTo>
                    <a:cubicBezTo>
                      <a:pt x="2075" y="239"/>
                      <a:pt x="2072" y="255"/>
                      <a:pt x="2076" y="271"/>
                    </a:cubicBezTo>
                    <a:cubicBezTo>
                      <a:pt x="2100" y="369"/>
                      <a:pt x="2094" y="471"/>
                      <a:pt x="2058" y="564"/>
                    </a:cubicBezTo>
                    <a:cubicBezTo>
                      <a:pt x="1985" y="754"/>
                      <a:pt x="1801" y="881"/>
                      <a:pt x="1598" y="881"/>
                    </a:cubicBezTo>
                    <a:cubicBezTo>
                      <a:pt x="1538" y="881"/>
                      <a:pt x="1479" y="869"/>
                      <a:pt x="1422" y="848"/>
                    </a:cubicBezTo>
                    <a:cubicBezTo>
                      <a:pt x="1325" y="810"/>
                      <a:pt x="1244" y="744"/>
                      <a:pt x="1186" y="655"/>
                    </a:cubicBezTo>
                    <a:cubicBezTo>
                      <a:pt x="1178" y="642"/>
                      <a:pt x="1164" y="632"/>
                      <a:pt x="1148" y="629"/>
                    </a:cubicBezTo>
                    <a:cubicBezTo>
                      <a:pt x="1132" y="627"/>
                      <a:pt x="1115" y="631"/>
                      <a:pt x="1103" y="640"/>
                    </a:cubicBezTo>
                    <a:cubicBezTo>
                      <a:pt x="910" y="785"/>
                      <a:pt x="742" y="958"/>
                      <a:pt x="603" y="1154"/>
                    </a:cubicBezTo>
                    <a:cubicBezTo>
                      <a:pt x="594" y="1167"/>
                      <a:pt x="590" y="1183"/>
                      <a:pt x="593" y="1199"/>
                    </a:cubicBezTo>
                    <a:cubicBezTo>
                      <a:pt x="597" y="1215"/>
                      <a:pt x="607" y="1229"/>
                      <a:pt x="620" y="1237"/>
                    </a:cubicBezTo>
                    <a:cubicBezTo>
                      <a:pt x="708" y="1289"/>
                      <a:pt x="776" y="1366"/>
                      <a:pt x="817" y="1459"/>
                    </a:cubicBezTo>
                    <a:cubicBezTo>
                      <a:pt x="871" y="1579"/>
                      <a:pt x="874" y="1713"/>
                      <a:pt x="827" y="1836"/>
                    </a:cubicBezTo>
                    <a:cubicBezTo>
                      <a:pt x="780" y="1959"/>
                      <a:pt x="687" y="2056"/>
                      <a:pt x="567" y="2109"/>
                    </a:cubicBezTo>
                    <a:cubicBezTo>
                      <a:pt x="471" y="2151"/>
                      <a:pt x="364" y="2162"/>
                      <a:pt x="261" y="2139"/>
                    </a:cubicBezTo>
                    <a:cubicBezTo>
                      <a:pt x="244" y="2136"/>
                      <a:pt x="228" y="2139"/>
                      <a:pt x="215" y="2148"/>
                    </a:cubicBezTo>
                    <a:cubicBezTo>
                      <a:pt x="202" y="2157"/>
                      <a:pt x="193" y="2172"/>
                      <a:pt x="191" y="2188"/>
                    </a:cubicBezTo>
                    <a:cubicBezTo>
                      <a:pt x="156" y="2429"/>
                      <a:pt x="159" y="2670"/>
                      <a:pt x="200" y="2906"/>
                    </a:cubicBezTo>
                    <a:cubicBezTo>
                      <a:pt x="202" y="2923"/>
                      <a:pt x="212" y="2937"/>
                      <a:pt x="225" y="2946"/>
                    </a:cubicBezTo>
                    <a:cubicBezTo>
                      <a:pt x="239" y="2954"/>
                      <a:pt x="256" y="2957"/>
                      <a:pt x="272" y="2953"/>
                    </a:cubicBezTo>
                    <a:cubicBezTo>
                      <a:pt x="371" y="2927"/>
                      <a:pt x="477" y="2932"/>
                      <a:pt x="572" y="2969"/>
                    </a:cubicBezTo>
                    <a:cubicBezTo>
                      <a:pt x="695" y="3016"/>
                      <a:pt x="792" y="3108"/>
                      <a:pt x="846" y="3228"/>
                    </a:cubicBezTo>
                    <a:cubicBezTo>
                      <a:pt x="899" y="3348"/>
                      <a:pt x="902" y="3482"/>
                      <a:pt x="855" y="3605"/>
                    </a:cubicBezTo>
                    <a:cubicBezTo>
                      <a:pt x="817" y="3704"/>
                      <a:pt x="748" y="3787"/>
                      <a:pt x="655" y="3844"/>
                    </a:cubicBezTo>
                    <a:cubicBezTo>
                      <a:pt x="642" y="3853"/>
                      <a:pt x="632" y="3867"/>
                      <a:pt x="629" y="3883"/>
                    </a:cubicBezTo>
                    <a:cubicBezTo>
                      <a:pt x="626" y="3899"/>
                      <a:pt x="630" y="3915"/>
                      <a:pt x="640" y="3928"/>
                    </a:cubicBezTo>
                    <a:cubicBezTo>
                      <a:pt x="786" y="4123"/>
                      <a:pt x="960" y="4292"/>
                      <a:pt x="1157" y="4431"/>
                    </a:cubicBezTo>
                    <a:cubicBezTo>
                      <a:pt x="1170" y="4440"/>
                      <a:pt x="1187" y="4444"/>
                      <a:pt x="1203" y="4440"/>
                    </a:cubicBezTo>
                    <a:cubicBezTo>
                      <a:pt x="1219" y="4437"/>
                      <a:pt x="1233" y="4427"/>
                      <a:pt x="1241" y="4413"/>
                    </a:cubicBezTo>
                    <a:cubicBezTo>
                      <a:pt x="1294" y="4322"/>
                      <a:pt x="1372" y="4252"/>
                      <a:pt x="1467" y="4209"/>
                    </a:cubicBezTo>
                    <a:cubicBezTo>
                      <a:pt x="1530" y="4181"/>
                      <a:pt x="1598" y="4167"/>
                      <a:pt x="1667" y="4167"/>
                    </a:cubicBezTo>
                    <a:close/>
                    <a:moveTo>
                      <a:pt x="2517" y="3365"/>
                    </a:moveTo>
                    <a:cubicBezTo>
                      <a:pt x="2181" y="3365"/>
                      <a:pt x="1876" y="3167"/>
                      <a:pt x="1740" y="2861"/>
                    </a:cubicBezTo>
                    <a:cubicBezTo>
                      <a:pt x="1550" y="2433"/>
                      <a:pt x="1743" y="1930"/>
                      <a:pt x="2171" y="1740"/>
                    </a:cubicBezTo>
                    <a:cubicBezTo>
                      <a:pt x="2281" y="1691"/>
                      <a:pt x="2397" y="1667"/>
                      <a:pt x="2516" y="1667"/>
                    </a:cubicBezTo>
                    <a:cubicBezTo>
                      <a:pt x="2851" y="1667"/>
                      <a:pt x="3156" y="1865"/>
                      <a:pt x="3292" y="2171"/>
                    </a:cubicBezTo>
                    <a:cubicBezTo>
                      <a:pt x="3482" y="2599"/>
                      <a:pt x="3289" y="3101"/>
                      <a:pt x="2861" y="3292"/>
                    </a:cubicBezTo>
                    <a:cubicBezTo>
                      <a:pt x="2752" y="3341"/>
                      <a:pt x="2636" y="3365"/>
                      <a:pt x="2517" y="3365"/>
                    </a:cubicBezTo>
                    <a:close/>
                    <a:moveTo>
                      <a:pt x="2516" y="1823"/>
                    </a:moveTo>
                    <a:cubicBezTo>
                      <a:pt x="2419" y="1823"/>
                      <a:pt x="2324" y="1843"/>
                      <a:pt x="2234" y="1883"/>
                    </a:cubicBezTo>
                    <a:cubicBezTo>
                      <a:pt x="1885" y="2038"/>
                      <a:pt x="1728" y="2449"/>
                      <a:pt x="1883" y="2798"/>
                    </a:cubicBezTo>
                    <a:cubicBezTo>
                      <a:pt x="1994" y="3048"/>
                      <a:pt x="2243" y="3209"/>
                      <a:pt x="2517" y="3209"/>
                    </a:cubicBezTo>
                    <a:cubicBezTo>
                      <a:pt x="2614" y="3209"/>
                      <a:pt x="2708" y="3189"/>
                      <a:pt x="2798" y="3149"/>
                    </a:cubicBezTo>
                    <a:cubicBezTo>
                      <a:pt x="3147" y="2994"/>
                      <a:pt x="3305" y="2583"/>
                      <a:pt x="3149" y="2234"/>
                    </a:cubicBezTo>
                    <a:cubicBezTo>
                      <a:pt x="3038" y="1984"/>
                      <a:pt x="2789" y="1823"/>
                      <a:pt x="2516" y="182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wrap="square" lIns="68580" tIns="34290" rIns="68580" bIns="3429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77" name="ïŝļíďé"/>
              <p:cNvSpPr/>
              <p:nvPr/>
            </p:nvSpPr>
            <p:spPr>
              <a:xfrm>
                <a:off x="7887134" y="4426234"/>
                <a:ext cx="408723" cy="40872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68580" tIns="34290" rIns="68580" bIns="34290" rtlCol="0" anchor="ctr">
                <a:normAutofit fontScale="82500" lnSpcReduction="20000"/>
              </a:bodyPr>
              <a:lstStyle/>
              <a:p>
                <a:pPr algn="ctr"/>
                <a:endParaRPr lang="zh-CN" altLang="en-US" sz="1350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75" name="íşľiḍê"/>
            <p:cNvSpPr/>
            <p:nvPr/>
          </p:nvSpPr>
          <p:spPr bwMode="auto">
            <a:xfrm>
              <a:off x="7995909" y="4527228"/>
              <a:ext cx="191172" cy="206734"/>
            </a:xfrm>
            <a:custGeom>
              <a:avLst/>
              <a:gdLst>
                <a:gd name="connsiteX0" fmla="*/ 516156 w 559684"/>
                <a:gd name="connsiteY0" fmla="*/ 190781 h 605240"/>
                <a:gd name="connsiteX1" fmla="*/ 534027 w 559684"/>
                <a:gd name="connsiteY1" fmla="*/ 194632 h 605240"/>
                <a:gd name="connsiteX2" fmla="*/ 536545 w 559684"/>
                <a:gd name="connsiteY2" fmla="*/ 421572 h 605240"/>
                <a:gd name="connsiteX3" fmla="*/ 424492 w 559684"/>
                <a:gd name="connsiteY3" fmla="*/ 538185 h 605240"/>
                <a:gd name="connsiteX4" fmla="*/ 412006 w 559684"/>
                <a:gd name="connsiteY4" fmla="*/ 590781 h 605240"/>
                <a:gd name="connsiteX5" fmla="*/ 399521 w 559684"/>
                <a:gd name="connsiteY5" fmla="*/ 605240 h 605240"/>
                <a:gd name="connsiteX6" fmla="*/ 338039 w 559684"/>
                <a:gd name="connsiteY6" fmla="*/ 605240 h 605240"/>
                <a:gd name="connsiteX7" fmla="*/ 322091 w 559684"/>
                <a:gd name="connsiteY7" fmla="*/ 591515 h 605240"/>
                <a:gd name="connsiteX8" fmla="*/ 398262 w 559684"/>
                <a:gd name="connsiteY8" fmla="*/ 366356 h 605240"/>
                <a:gd name="connsiteX9" fmla="*/ 443797 w 559684"/>
                <a:gd name="connsiteY9" fmla="*/ 271221 h 605240"/>
                <a:gd name="connsiteX10" fmla="*/ 483456 w 559684"/>
                <a:gd name="connsiteY10" fmla="*/ 277717 h 605240"/>
                <a:gd name="connsiteX11" fmla="*/ 447993 w 559684"/>
                <a:gd name="connsiteY11" fmla="*/ 397893 h 605240"/>
                <a:gd name="connsiteX12" fmla="*/ 460898 w 559684"/>
                <a:gd name="connsiteY12" fmla="*/ 405122 h 605240"/>
                <a:gd name="connsiteX13" fmla="*/ 496046 w 559684"/>
                <a:gd name="connsiteY13" fmla="*/ 240523 h 605240"/>
                <a:gd name="connsiteX14" fmla="*/ 516156 w 559684"/>
                <a:gd name="connsiteY14" fmla="*/ 190781 h 605240"/>
                <a:gd name="connsiteX15" fmla="*/ 43528 w 559684"/>
                <a:gd name="connsiteY15" fmla="*/ 190781 h 605240"/>
                <a:gd name="connsiteX16" fmla="*/ 63638 w 559684"/>
                <a:gd name="connsiteY16" fmla="*/ 240523 h 605240"/>
                <a:gd name="connsiteX17" fmla="*/ 98786 w 559684"/>
                <a:gd name="connsiteY17" fmla="*/ 405122 h 605240"/>
                <a:gd name="connsiteX18" fmla="*/ 111691 w 559684"/>
                <a:gd name="connsiteY18" fmla="*/ 397893 h 605240"/>
                <a:gd name="connsiteX19" fmla="*/ 76228 w 559684"/>
                <a:gd name="connsiteY19" fmla="*/ 277717 h 605240"/>
                <a:gd name="connsiteX20" fmla="*/ 115887 w 559684"/>
                <a:gd name="connsiteY20" fmla="*/ 271221 h 605240"/>
                <a:gd name="connsiteX21" fmla="*/ 161422 w 559684"/>
                <a:gd name="connsiteY21" fmla="*/ 366356 h 605240"/>
                <a:gd name="connsiteX22" fmla="*/ 237593 w 559684"/>
                <a:gd name="connsiteY22" fmla="*/ 591515 h 605240"/>
                <a:gd name="connsiteX23" fmla="*/ 221645 w 559684"/>
                <a:gd name="connsiteY23" fmla="*/ 605240 h 605240"/>
                <a:gd name="connsiteX24" fmla="*/ 160163 w 559684"/>
                <a:gd name="connsiteY24" fmla="*/ 605240 h 605240"/>
                <a:gd name="connsiteX25" fmla="*/ 147678 w 559684"/>
                <a:gd name="connsiteY25" fmla="*/ 590781 h 605240"/>
                <a:gd name="connsiteX26" fmla="*/ 135192 w 559684"/>
                <a:gd name="connsiteY26" fmla="*/ 538185 h 605240"/>
                <a:gd name="connsiteX27" fmla="*/ 23139 w 559684"/>
                <a:gd name="connsiteY27" fmla="*/ 421572 h 605240"/>
                <a:gd name="connsiteX28" fmla="*/ 25657 w 559684"/>
                <a:gd name="connsiteY28" fmla="*/ 194632 h 605240"/>
                <a:gd name="connsiteX29" fmla="*/ 43528 w 559684"/>
                <a:gd name="connsiteY29" fmla="*/ 190781 h 605240"/>
                <a:gd name="connsiteX30" fmla="*/ 197335 w 559684"/>
                <a:gd name="connsiteY30" fmla="*/ 0 h 605240"/>
                <a:gd name="connsiteX31" fmla="*/ 278643 w 559684"/>
                <a:gd name="connsiteY31" fmla="*/ 33001 h 605240"/>
                <a:gd name="connsiteX32" fmla="*/ 359950 w 559684"/>
                <a:gd name="connsiteY32" fmla="*/ 0 h 605240"/>
                <a:gd name="connsiteX33" fmla="*/ 476508 w 559684"/>
                <a:gd name="connsiteY33" fmla="*/ 116393 h 605240"/>
                <a:gd name="connsiteX34" fmla="*/ 455211 w 559684"/>
                <a:gd name="connsiteY34" fmla="*/ 183441 h 605240"/>
                <a:gd name="connsiteX35" fmla="*/ 436222 w 559684"/>
                <a:gd name="connsiteY35" fmla="*/ 205966 h 605240"/>
                <a:gd name="connsiteX36" fmla="*/ 315257 w 559684"/>
                <a:gd name="connsiteY36" fmla="*/ 326863 h 605240"/>
                <a:gd name="connsiteX37" fmla="*/ 278957 w 559684"/>
                <a:gd name="connsiteY37" fmla="*/ 351063 h 605240"/>
                <a:gd name="connsiteX38" fmla="*/ 278643 w 559684"/>
                <a:gd name="connsiteY38" fmla="*/ 351063 h 605240"/>
                <a:gd name="connsiteX39" fmla="*/ 278328 w 559684"/>
                <a:gd name="connsiteY39" fmla="*/ 351063 h 605240"/>
                <a:gd name="connsiteX40" fmla="*/ 242028 w 559684"/>
                <a:gd name="connsiteY40" fmla="*/ 326863 h 605240"/>
                <a:gd name="connsiteX41" fmla="*/ 121168 w 559684"/>
                <a:gd name="connsiteY41" fmla="*/ 205966 h 605240"/>
                <a:gd name="connsiteX42" fmla="*/ 102074 w 559684"/>
                <a:gd name="connsiteY42" fmla="*/ 183441 h 605240"/>
                <a:gd name="connsiteX43" fmla="*/ 80777 w 559684"/>
                <a:gd name="connsiteY43" fmla="*/ 116393 h 605240"/>
                <a:gd name="connsiteX44" fmla="*/ 197335 w 559684"/>
                <a:gd name="connsiteY44" fmla="*/ 0 h 605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559684" h="605240">
                  <a:moveTo>
                    <a:pt x="516156" y="190781"/>
                  </a:moveTo>
                  <a:cubicBezTo>
                    <a:pt x="521528" y="189596"/>
                    <a:pt x="527600" y="190624"/>
                    <a:pt x="534027" y="194632"/>
                  </a:cubicBezTo>
                  <a:cubicBezTo>
                    <a:pt x="559732" y="210557"/>
                    <a:pt x="574735" y="343725"/>
                    <a:pt x="536545" y="421572"/>
                  </a:cubicBezTo>
                  <a:cubicBezTo>
                    <a:pt x="504335" y="487370"/>
                    <a:pt x="436348" y="530746"/>
                    <a:pt x="424492" y="538185"/>
                  </a:cubicBezTo>
                  <a:cubicBezTo>
                    <a:pt x="416518" y="543319"/>
                    <a:pt x="413265" y="572551"/>
                    <a:pt x="412006" y="590781"/>
                  </a:cubicBezTo>
                  <a:cubicBezTo>
                    <a:pt x="411377" y="599373"/>
                    <a:pt x="409069" y="605240"/>
                    <a:pt x="399521" y="605240"/>
                  </a:cubicBezTo>
                  <a:cubicBezTo>
                    <a:pt x="389029" y="605240"/>
                    <a:pt x="367626" y="605240"/>
                    <a:pt x="338039" y="605240"/>
                  </a:cubicBezTo>
                  <a:cubicBezTo>
                    <a:pt x="322616" y="605240"/>
                    <a:pt x="322091" y="596020"/>
                    <a:pt x="322091" y="591515"/>
                  </a:cubicBezTo>
                  <a:cubicBezTo>
                    <a:pt x="322196" y="475425"/>
                    <a:pt x="315901" y="460652"/>
                    <a:pt x="398262" y="366356"/>
                  </a:cubicBezTo>
                  <a:cubicBezTo>
                    <a:pt x="423233" y="337753"/>
                    <a:pt x="426800" y="292805"/>
                    <a:pt x="443797" y="271221"/>
                  </a:cubicBezTo>
                  <a:cubicBezTo>
                    <a:pt x="458066" y="253095"/>
                    <a:pt x="480833" y="261896"/>
                    <a:pt x="483456" y="277717"/>
                  </a:cubicBezTo>
                  <a:cubicBezTo>
                    <a:pt x="487653" y="302339"/>
                    <a:pt x="461318" y="374633"/>
                    <a:pt x="447993" y="397893"/>
                  </a:cubicBezTo>
                  <a:cubicBezTo>
                    <a:pt x="444636" y="403655"/>
                    <a:pt x="450616" y="414342"/>
                    <a:pt x="460898" y="405122"/>
                  </a:cubicBezTo>
                  <a:cubicBezTo>
                    <a:pt x="471180" y="395902"/>
                    <a:pt x="511994" y="302339"/>
                    <a:pt x="496046" y="240523"/>
                  </a:cubicBezTo>
                  <a:cubicBezTo>
                    <a:pt x="490223" y="217813"/>
                    <a:pt x="500040" y="194337"/>
                    <a:pt x="516156" y="190781"/>
                  </a:cubicBezTo>
                  <a:close/>
                  <a:moveTo>
                    <a:pt x="43528" y="190781"/>
                  </a:moveTo>
                  <a:cubicBezTo>
                    <a:pt x="59644" y="194337"/>
                    <a:pt x="69461" y="217813"/>
                    <a:pt x="63638" y="240523"/>
                  </a:cubicBezTo>
                  <a:cubicBezTo>
                    <a:pt x="47795" y="302339"/>
                    <a:pt x="88504" y="395902"/>
                    <a:pt x="98786" y="405122"/>
                  </a:cubicBezTo>
                  <a:cubicBezTo>
                    <a:pt x="109068" y="414342"/>
                    <a:pt x="115048" y="403655"/>
                    <a:pt x="111691" y="397893"/>
                  </a:cubicBezTo>
                  <a:cubicBezTo>
                    <a:pt x="98366" y="374633"/>
                    <a:pt x="72031" y="302339"/>
                    <a:pt x="76228" y="277717"/>
                  </a:cubicBezTo>
                  <a:cubicBezTo>
                    <a:pt x="78851" y="261896"/>
                    <a:pt x="101618" y="253095"/>
                    <a:pt x="115887" y="271221"/>
                  </a:cubicBezTo>
                  <a:cubicBezTo>
                    <a:pt x="132884" y="292805"/>
                    <a:pt x="136451" y="337753"/>
                    <a:pt x="161422" y="366356"/>
                  </a:cubicBezTo>
                  <a:cubicBezTo>
                    <a:pt x="243783" y="460652"/>
                    <a:pt x="237488" y="475425"/>
                    <a:pt x="237593" y="591515"/>
                  </a:cubicBezTo>
                  <a:cubicBezTo>
                    <a:pt x="237593" y="596020"/>
                    <a:pt x="237068" y="605240"/>
                    <a:pt x="221645" y="605240"/>
                  </a:cubicBezTo>
                  <a:cubicBezTo>
                    <a:pt x="192058" y="605240"/>
                    <a:pt x="170655" y="605240"/>
                    <a:pt x="160163" y="605240"/>
                  </a:cubicBezTo>
                  <a:cubicBezTo>
                    <a:pt x="150615" y="605240"/>
                    <a:pt x="148307" y="599373"/>
                    <a:pt x="147678" y="590781"/>
                  </a:cubicBezTo>
                  <a:cubicBezTo>
                    <a:pt x="146419" y="572551"/>
                    <a:pt x="143166" y="543319"/>
                    <a:pt x="135192" y="538185"/>
                  </a:cubicBezTo>
                  <a:cubicBezTo>
                    <a:pt x="123337" y="530746"/>
                    <a:pt x="55349" y="487370"/>
                    <a:pt x="23139" y="421572"/>
                  </a:cubicBezTo>
                  <a:cubicBezTo>
                    <a:pt x="-15051" y="343725"/>
                    <a:pt x="-48" y="210557"/>
                    <a:pt x="25657" y="194632"/>
                  </a:cubicBezTo>
                  <a:cubicBezTo>
                    <a:pt x="32084" y="190624"/>
                    <a:pt x="38156" y="189596"/>
                    <a:pt x="43528" y="190781"/>
                  </a:cubicBezTo>
                  <a:close/>
                  <a:moveTo>
                    <a:pt x="197335" y="0"/>
                  </a:moveTo>
                  <a:cubicBezTo>
                    <a:pt x="229019" y="0"/>
                    <a:pt x="257660" y="12572"/>
                    <a:pt x="278643" y="33001"/>
                  </a:cubicBezTo>
                  <a:cubicBezTo>
                    <a:pt x="299625" y="12572"/>
                    <a:pt x="328371" y="0"/>
                    <a:pt x="359950" y="0"/>
                  </a:cubicBezTo>
                  <a:cubicBezTo>
                    <a:pt x="424366" y="0"/>
                    <a:pt x="476508" y="52068"/>
                    <a:pt x="476508" y="116393"/>
                  </a:cubicBezTo>
                  <a:cubicBezTo>
                    <a:pt x="476508" y="141326"/>
                    <a:pt x="468640" y="164479"/>
                    <a:pt x="455211" y="183441"/>
                  </a:cubicBezTo>
                  <a:cubicBezTo>
                    <a:pt x="449965" y="191718"/>
                    <a:pt x="443565" y="199261"/>
                    <a:pt x="436222" y="205966"/>
                  </a:cubicBezTo>
                  <a:lnTo>
                    <a:pt x="315257" y="326863"/>
                  </a:lnTo>
                  <a:cubicBezTo>
                    <a:pt x="303192" y="338911"/>
                    <a:pt x="291127" y="351063"/>
                    <a:pt x="278957" y="351063"/>
                  </a:cubicBezTo>
                  <a:cubicBezTo>
                    <a:pt x="278852" y="351063"/>
                    <a:pt x="278747" y="351063"/>
                    <a:pt x="278643" y="351063"/>
                  </a:cubicBezTo>
                  <a:cubicBezTo>
                    <a:pt x="278538" y="351063"/>
                    <a:pt x="278433" y="351063"/>
                    <a:pt x="278328" y="351063"/>
                  </a:cubicBezTo>
                  <a:cubicBezTo>
                    <a:pt x="266263" y="351063"/>
                    <a:pt x="254198" y="338911"/>
                    <a:pt x="242028" y="326863"/>
                  </a:cubicBezTo>
                  <a:lnTo>
                    <a:pt x="121168" y="205966"/>
                  </a:lnTo>
                  <a:cubicBezTo>
                    <a:pt x="113825" y="199261"/>
                    <a:pt x="107425" y="191718"/>
                    <a:pt x="102074" y="183441"/>
                  </a:cubicBezTo>
                  <a:cubicBezTo>
                    <a:pt x="88646" y="164479"/>
                    <a:pt x="80777" y="141326"/>
                    <a:pt x="80777" y="116393"/>
                  </a:cubicBezTo>
                  <a:cubicBezTo>
                    <a:pt x="80777" y="52068"/>
                    <a:pt x="133024" y="0"/>
                    <a:pt x="197335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 sz="1350">
                <a:solidFill>
                  <a:srgbClr val="000000"/>
                </a:solidFill>
              </a:endParaRPr>
            </a:p>
          </p:txBody>
        </p:sp>
      </p:grpSp>
      <p:grpSp>
        <p:nvGrpSpPr>
          <p:cNvPr id="44" name="íS1íďé"/>
          <p:cNvGrpSpPr/>
          <p:nvPr/>
        </p:nvGrpSpPr>
        <p:grpSpPr>
          <a:xfrm>
            <a:off x="5631515" y="2379951"/>
            <a:ext cx="416169" cy="414575"/>
            <a:chOff x="4242293" y="3086061"/>
            <a:chExt cx="554892" cy="552766"/>
          </a:xfrm>
        </p:grpSpPr>
        <p:grpSp>
          <p:nvGrpSpPr>
            <p:cNvPr id="70" name="íṥļiḋè"/>
            <p:cNvGrpSpPr/>
            <p:nvPr/>
          </p:nvGrpSpPr>
          <p:grpSpPr>
            <a:xfrm>
              <a:off x="4242293" y="3086061"/>
              <a:ext cx="554892" cy="552766"/>
              <a:chOff x="4242293" y="3086061"/>
              <a:chExt cx="554892" cy="552766"/>
            </a:xfrm>
            <a:solidFill>
              <a:schemeClr val="bg1">
                <a:lumMod val="85000"/>
              </a:schemeClr>
            </a:solidFill>
          </p:grpSpPr>
          <p:sp>
            <p:nvSpPr>
              <p:cNvPr id="72" name="iṡľîḓé"/>
              <p:cNvSpPr/>
              <p:nvPr/>
            </p:nvSpPr>
            <p:spPr>
              <a:xfrm>
                <a:off x="4242293" y="3086061"/>
                <a:ext cx="554892" cy="552766"/>
              </a:xfrm>
              <a:custGeom>
                <a:avLst/>
                <a:gdLst>
                  <a:gd name="T0" fmla="*/ 2026 w 5033"/>
                  <a:gd name="T1" fmla="*/ 4906 h 5021"/>
                  <a:gd name="T2" fmla="*/ 1667 w 5033"/>
                  <a:gd name="T3" fmla="*/ 4323 h 5021"/>
                  <a:gd name="T4" fmla="*/ 1237 w 5033"/>
                  <a:gd name="T5" fmla="*/ 4593 h 5021"/>
                  <a:gd name="T6" fmla="*/ 476 w 5033"/>
                  <a:gd name="T7" fmla="*/ 3854 h 5021"/>
                  <a:gd name="T8" fmla="*/ 703 w 5033"/>
                  <a:gd name="T9" fmla="*/ 3292 h 5021"/>
                  <a:gd name="T10" fmla="*/ 141 w 5033"/>
                  <a:gd name="T11" fmla="*/ 3077 h 5021"/>
                  <a:gd name="T12" fmla="*/ 126 w 5033"/>
                  <a:gd name="T13" fmla="*/ 2020 h 5021"/>
                  <a:gd name="T14" fmla="*/ 681 w 5033"/>
                  <a:gd name="T15" fmla="*/ 1780 h 5021"/>
                  <a:gd name="T16" fmla="*/ 441 w 5033"/>
                  <a:gd name="T17" fmla="*/ 1232 h 5021"/>
                  <a:gd name="T18" fmla="*/ 1175 w 5033"/>
                  <a:gd name="T19" fmla="*/ 476 h 5021"/>
                  <a:gd name="T20" fmla="*/ 1598 w 5033"/>
                  <a:gd name="T21" fmla="*/ 725 h 5021"/>
                  <a:gd name="T22" fmla="*/ 1953 w 5033"/>
                  <a:gd name="T23" fmla="*/ 140 h 5021"/>
                  <a:gd name="T24" fmla="*/ 3005 w 5033"/>
                  <a:gd name="T25" fmla="*/ 124 h 5021"/>
                  <a:gd name="T26" fmla="*/ 3368 w 5033"/>
                  <a:gd name="T27" fmla="*/ 696 h 5021"/>
                  <a:gd name="T28" fmla="*/ 3794 w 5033"/>
                  <a:gd name="T29" fmla="*/ 436 h 5021"/>
                  <a:gd name="T30" fmla="*/ 4551 w 5033"/>
                  <a:gd name="T31" fmla="*/ 1167 h 5021"/>
                  <a:gd name="T32" fmla="*/ 4518 w 5033"/>
                  <a:gd name="T33" fmla="*/ 1905 h 5021"/>
                  <a:gd name="T34" fmla="*/ 4984 w 5033"/>
                  <a:gd name="T35" fmla="*/ 2087 h 5021"/>
                  <a:gd name="T36" fmla="*/ 4786 w 5033"/>
                  <a:gd name="T37" fmla="*/ 3037 h 5021"/>
                  <a:gd name="T38" fmla="*/ 4531 w 5033"/>
                  <a:gd name="T39" fmla="*/ 3053 h 5021"/>
                  <a:gd name="T40" fmla="*/ 4599 w 5033"/>
                  <a:gd name="T41" fmla="*/ 3789 h 5021"/>
                  <a:gd name="T42" fmla="*/ 3863 w 5033"/>
                  <a:gd name="T43" fmla="*/ 4551 h 5021"/>
                  <a:gd name="T44" fmla="*/ 3437 w 5033"/>
                  <a:gd name="T45" fmla="*/ 4295 h 5021"/>
                  <a:gd name="T46" fmla="*/ 3087 w 5033"/>
                  <a:gd name="T47" fmla="*/ 4889 h 5021"/>
                  <a:gd name="T48" fmla="*/ 1667 w 5033"/>
                  <a:gd name="T49" fmla="*/ 4167 h 5021"/>
                  <a:gd name="T50" fmla="*/ 2155 w 5033"/>
                  <a:gd name="T51" fmla="*/ 4817 h 5021"/>
                  <a:gd name="T52" fmla="*/ 2955 w 5033"/>
                  <a:gd name="T53" fmla="*/ 4804 h 5021"/>
                  <a:gd name="T54" fmla="*/ 3437 w 5033"/>
                  <a:gd name="T55" fmla="*/ 4138 h 5021"/>
                  <a:gd name="T56" fmla="*/ 3891 w 5033"/>
                  <a:gd name="T57" fmla="*/ 4397 h 5021"/>
                  <a:gd name="T58" fmla="*/ 4446 w 5033"/>
                  <a:gd name="T59" fmla="*/ 3822 h 5021"/>
                  <a:gd name="T60" fmla="*/ 4467 w 5033"/>
                  <a:gd name="T61" fmla="*/ 2910 h 5021"/>
                  <a:gd name="T62" fmla="*/ 4786 w 5033"/>
                  <a:gd name="T63" fmla="*/ 2881 h 5021"/>
                  <a:gd name="T64" fmla="*/ 4830 w 5033"/>
                  <a:gd name="T65" fmla="*/ 2114 h 5021"/>
                  <a:gd name="T66" fmla="*/ 4462 w 5033"/>
                  <a:gd name="T67" fmla="*/ 2050 h 5021"/>
                  <a:gd name="T68" fmla="*/ 4397 w 5033"/>
                  <a:gd name="T69" fmla="*/ 1140 h 5021"/>
                  <a:gd name="T70" fmla="*/ 3826 w 5033"/>
                  <a:gd name="T71" fmla="*/ 589 h 5021"/>
                  <a:gd name="T72" fmla="*/ 3368 w 5033"/>
                  <a:gd name="T73" fmla="*/ 852 h 5021"/>
                  <a:gd name="T74" fmla="*/ 2877 w 5033"/>
                  <a:gd name="T75" fmla="*/ 213 h 5021"/>
                  <a:gd name="T76" fmla="*/ 2084 w 5033"/>
                  <a:gd name="T77" fmla="*/ 225 h 5021"/>
                  <a:gd name="T78" fmla="*/ 1598 w 5033"/>
                  <a:gd name="T79" fmla="*/ 881 h 5021"/>
                  <a:gd name="T80" fmla="*/ 1148 w 5033"/>
                  <a:gd name="T81" fmla="*/ 629 h 5021"/>
                  <a:gd name="T82" fmla="*/ 593 w 5033"/>
                  <a:gd name="T83" fmla="*/ 1199 h 5021"/>
                  <a:gd name="T84" fmla="*/ 827 w 5033"/>
                  <a:gd name="T85" fmla="*/ 1836 h 5021"/>
                  <a:gd name="T86" fmla="*/ 215 w 5033"/>
                  <a:gd name="T87" fmla="*/ 2148 h 5021"/>
                  <a:gd name="T88" fmla="*/ 225 w 5033"/>
                  <a:gd name="T89" fmla="*/ 2946 h 5021"/>
                  <a:gd name="T90" fmla="*/ 846 w 5033"/>
                  <a:gd name="T91" fmla="*/ 3228 h 5021"/>
                  <a:gd name="T92" fmla="*/ 629 w 5033"/>
                  <a:gd name="T93" fmla="*/ 3883 h 5021"/>
                  <a:gd name="T94" fmla="*/ 1203 w 5033"/>
                  <a:gd name="T95" fmla="*/ 4440 h 5021"/>
                  <a:gd name="T96" fmla="*/ 1667 w 5033"/>
                  <a:gd name="T97" fmla="*/ 4167 h 5021"/>
                  <a:gd name="T98" fmla="*/ 2171 w 5033"/>
                  <a:gd name="T99" fmla="*/ 1740 h 5021"/>
                  <a:gd name="T100" fmla="*/ 2861 w 5033"/>
                  <a:gd name="T101" fmla="*/ 3292 h 5021"/>
                  <a:gd name="T102" fmla="*/ 2234 w 5033"/>
                  <a:gd name="T103" fmla="*/ 1883 h 5021"/>
                  <a:gd name="T104" fmla="*/ 2798 w 5033"/>
                  <a:gd name="T105" fmla="*/ 3149 h 50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5033" h="5021">
                    <a:moveTo>
                      <a:pt x="2519" y="5021"/>
                    </a:moveTo>
                    <a:cubicBezTo>
                      <a:pt x="2404" y="5021"/>
                      <a:pt x="2287" y="5013"/>
                      <a:pt x="2173" y="4997"/>
                    </a:cubicBezTo>
                    <a:cubicBezTo>
                      <a:pt x="2114" y="4989"/>
                      <a:pt x="2060" y="4955"/>
                      <a:pt x="2026" y="4906"/>
                    </a:cubicBezTo>
                    <a:cubicBezTo>
                      <a:pt x="1992" y="4857"/>
                      <a:pt x="1980" y="4795"/>
                      <a:pt x="1994" y="4736"/>
                    </a:cubicBezTo>
                    <a:cubicBezTo>
                      <a:pt x="2011" y="4664"/>
                      <a:pt x="2004" y="4590"/>
                      <a:pt x="1974" y="4523"/>
                    </a:cubicBezTo>
                    <a:cubicBezTo>
                      <a:pt x="1920" y="4401"/>
                      <a:pt x="1800" y="4323"/>
                      <a:pt x="1667" y="4323"/>
                    </a:cubicBezTo>
                    <a:cubicBezTo>
                      <a:pt x="1620" y="4323"/>
                      <a:pt x="1574" y="4333"/>
                      <a:pt x="1530" y="4352"/>
                    </a:cubicBezTo>
                    <a:cubicBezTo>
                      <a:pt x="1465" y="4381"/>
                      <a:pt x="1412" y="4429"/>
                      <a:pt x="1376" y="4491"/>
                    </a:cubicBezTo>
                    <a:cubicBezTo>
                      <a:pt x="1346" y="4543"/>
                      <a:pt x="1295" y="4580"/>
                      <a:pt x="1237" y="4593"/>
                    </a:cubicBezTo>
                    <a:cubicBezTo>
                      <a:pt x="1181" y="4606"/>
                      <a:pt x="1116" y="4594"/>
                      <a:pt x="1067" y="4559"/>
                    </a:cubicBezTo>
                    <a:cubicBezTo>
                      <a:pt x="857" y="4410"/>
                      <a:pt x="671" y="4230"/>
                      <a:pt x="515" y="4022"/>
                    </a:cubicBezTo>
                    <a:cubicBezTo>
                      <a:pt x="479" y="3974"/>
                      <a:pt x="465" y="3913"/>
                      <a:pt x="476" y="3854"/>
                    </a:cubicBezTo>
                    <a:cubicBezTo>
                      <a:pt x="487" y="3796"/>
                      <a:pt x="522" y="3744"/>
                      <a:pt x="573" y="3712"/>
                    </a:cubicBezTo>
                    <a:cubicBezTo>
                      <a:pt x="637" y="3672"/>
                      <a:pt x="684" y="3616"/>
                      <a:pt x="710" y="3549"/>
                    </a:cubicBezTo>
                    <a:cubicBezTo>
                      <a:pt x="742" y="3465"/>
                      <a:pt x="740" y="3374"/>
                      <a:pt x="703" y="3292"/>
                    </a:cubicBezTo>
                    <a:cubicBezTo>
                      <a:pt x="666" y="3210"/>
                      <a:pt x="600" y="3147"/>
                      <a:pt x="516" y="3115"/>
                    </a:cubicBezTo>
                    <a:cubicBezTo>
                      <a:pt x="452" y="3090"/>
                      <a:pt x="380" y="3086"/>
                      <a:pt x="311" y="3104"/>
                    </a:cubicBezTo>
                    <a:cubicBezTo>
                      <a:pt x="252" y="3119"/>
                      <a:pt x="190" y="3109"/>
                      <a:pt x="141" y="3077"/>
                    </a:cubicBezTo>
                    <a:cubicBezTo>
                      <a:pt x="90" y="3044"/>
                      <a:pt x="56" y="2992"/>
                      <a:pt x="46" y="2933"/>
                    </a:cubicBezTo>
                    <a:cubicBezTo>
                      <a:pt x="3" y="2681"/>
                      <a:pt x="0" y="2423"/>
                      <a:pt x="36" y="2166"/>
                    </a:cubicBezTo>
                    <a:cubicBezTo>
                      <a:pt x="45" y="2107"/>
                      <a:pt x="77" y="2054"/>
                      <a:pt x="126" y="2020"/>
                    </a:cubicBezTo>
                    <a:cubicBezTo>
                      <a:pt x="175" y="1986"/>
                      <a:pt x="237" y="1974"/>
                      <a:pt x="295" y="1987"/>
                    </a:cubicBezTo>
                    <a:cubicBezTo>
                      <a:pt x="365" y="2003"/>
                      <a:pt x="439" y="1995"/>
                      <a:pt x="504" y="1967"/>
                    </a:cubicBezTo>
                    <a:cubicBezTo>
                      <a:pt x="586" y="1930"/>
                      <a:pt x="649" y="1864"/>
                      <a:pt x="681" y="1780"/>
                    </a:cubicBezTo>
                    <a:cubicBezTo>
                      <a:pt x="713" y="1696"/>
                      <a:pt x="711" y="1605"/>
                      <a:pt x="675" y="1523"/>
                    </a:cubicBezTo>
                    <a:cubicBezTo>
                      <a:pt x="646" y="1459"/>
                      <a:pt x="600" y="1407"/>
                      <a:pt x="540" y="1371"/>
                    </a:cubicBezTo>
                    <a:cubicBezTo>
                      <a:pt x="489" y="1341"/>
                      <a:pt x="453" y="1290"/>
                      <a:pt x="441" y="1232"/>
                    </a:cubicBezTo>
                    <a:cubicBezTo>
                      <a:pt x="429" y="1173"/>
                      <a:pt x="441" y="1112"/>
                      <a:pt x="476" y="1064"/>
                    </a:cubicBezTo>
                    <a:cubicBezTo>
                      <a:pt x="624" y="854"/>
                      <a:pt x="804" y="670"/>
                      <a:pt x="1009" y="515"/>
                    </a:cubicBezTo>
                    <a:cubicBezTo>
                      <a:pt x="1056" y="480"/>
                      <a:pt x="1117" y="466"/>
                      <a:pt x="1175" y="476"/>
                    </a:cubicBezTo>
                    <a:cubicBezTo>
                      <a:pt x="1233" y="486"/>
                      <a:pt x="1285" y="521"/>
                      <a:pt x="1317" y="570"/>
                    </a:cubicBezTo>
                    <a:cubicBezTo>
                      <a:pt x="1357" y="631"/>
                      <a:pt x="1412" y="677"/>
                      <a:pt x="1478" y="702"/>
                    </a:cubicBezTo>
                    <a:cubicBezTo>
                      <a:pt x="1517" y="717"/>
                      <a:pt x="1557" y="725"/>
                      <a:pt x="1598" y="725"/>
                    </a:cubicBezTo>
                    <a:cubicBezTo>
                      <a:pt x="1737" y="725"/>
                      <a:pt x="1863" y="638"/>
                      <a:pt x="1912" y="509"/>
                    </a:cubicBezTo>
                    <a:cubicBezTo>
                      <a:pt x="1937" y="445"/>
                      <a:pt x="1941" y="376"/>
                      <a:pt x="1925" y="308"/>
                    </a:cubicBezTo>
                    <a:cubicBezTo>
                      <a:pt x="1910" y="251"/>
                      <a:pt x="1921" y="189"/>
                      <a:pt x="1953" y="140"/>
                    </a:cubicBezTo>
                    <a:cubicBezTo>
                      <a:pt x="1986" y="90"/>
                      <a:pt x="2038" y="56"/>
                      <a:pt x="2096" y="46"/>
                    </a:cubicBezTo>
                    <a:cubicBezTo>
                      <a:pt x="2345" y="4"/>
                      <a:pt x="2607" y="0"/>
                      <a:pt x="2859" y="35"/>
                    </a:cubicBezTo>
                    <a:cubicBezTo>
                      <a:pt x="2917" y="43"/>
                      <a:pt x="2971" y="75"/>
                      <a:pt x="3005" y="124"/>
                    </a:cubicBezTo>
                    <a:cubicBezTo>
                      <a:pt x="3039" y="172"/>
                      <a:pt x="3051" y="233"/>
                      <a:pt x="3039" y="291"/>
                    </a:cubicBezTo>
                    <a:cubicBezTo>
                      <a:pt x="3024" y="361"/>
                      <a:pt x="3032" y="432"/>
                      <a:pt x="3060" y="496"/>
                    </a:cubicBezTo>
                    <a:cubicBezTo>
                      <a:pt x="3114" y="618"/>
                      <a:pt x="3235" y="696"/>
                      <a:pt x="3368" y="696"/>
                    </a:cubicBezTo>
                    <a:cubicBezTo>
                      <a:pt x="3415" y="696"/>
                      <a:pt x="3461" y="686"/>
                      <a:pt x="3504" y="667"/>
                    </a:cubicBezTo>
                    <a:cubicBezTo>
                      <a:pt x="3567" y="639"/>
                      <a:pt x="3619" y="593"/>
                      <a:pt x="3655" y="534"/>
                    </a:cubicBezTo>
                    <a:cubicBezTo>
                      <a:pt x="3685" y="484"/>
                      <a:pt x="3736" y="448"/>
                      <a:pt x="3794" y="436"/>
                    </a:cubicBezTo>
                    <a:cubicBezTo>
                      <a:pt x="3855" y="423"/>
                      <a:pt x="3913" y="437"/>
                      <a:pt x="3961" y="470"/>
                    </a:cubicBezTo>
                    <a:cubicBezTo>
                      <a:pt x="4171" y="618"/>
                      <a:pt x="4355" y="797"/>
                      <a:pt x="4510" y="1001"/>
                    </a:cubicBezTo>
                    <a:cubicBezTo>
                      <a:pt x="4546" y="1048"/>
                      <a:pt x="4561" y="1109"/>
                      <a:pt x="4551" y="1167"/>
                    </a:cubicBezTo>
                    <a:cubicBezTo>
                      <a:pt x="4540" y="1226"/>
                      <a:pt x="4506" y="1278"/>
                      <a:pt x="4456" y="1310"/>
                    </a:cubicBezTo>
                    <a:cubicBezTo>
                      <a:pt x="4395" y="1349"/>
                      <a:pt x="4350" y="1405"/>
                      <a:pt x="4325" y="1470"/>
                    </a:cubicBezTo>
                    <a:cubicBezTo>
                      <a:pt x="4258" y="1643"/>
                      <a:pt x="4345" y="1838"/>
                      <a:pt x="4518" y="1905"/>
                    </a:cubicBezTo>
                    <a:cubicBezTo>
                      <a:pt x="4582" y="1929"/>
                      <a:pt x="4653" y="1933"/>
                      <a:pt x="4721" y="1916"/>
                    </a:cubicBezTo>
                    <a:cubicBezTo>
                      <a:pt x="4779" y="1902"/>
                      <a:pt x="4840" y="1912"/>
                      <a:pt x="4890" y="1944"/>
                    </a:cubicBezTo>
                    <a:cubicBezTo>
                      <a:pt x="4939" y="1977"/>
                      <a:pt x="4974" y="2029"/>
                      <a:pt x="4984" y="2087"/>
                    </a:cubicBezTo>
                    <a:cubicBezTo>
                      <a:pt x="5028" y="2339"/>
                      <a:pt x="5033" y="2597"/>
                      <a:pt x="4998" y="2852"/>
                    </a:cubicBezTo>
                    <a:cubicBezTo>
                      <a:pt x="4990" y="2911"/>
                      <a:pt x="4957" y="2965"/>
                      <a:pt x="4908" y="2999"/>
                    </a:cubicBezTo>
                    <a:cubicBezTo>
                      <a:pt x="4872" y="3024"/>
                      <a:pt x="4830" y="3037"/>
                      <a:pt x="4786" y="3037"/>
                    </a:cubicBezTo>
                    <a:lnTo>
                      <a:pt x="4786" y="3037"/>
                    </a:lnTo>
                    <a:cubicBezTo>
                      <a:pt x="4770" y="3037"/>
                      <a:pt x="4755" y="3036"/>
                      <a:pt x="4740" y="3032"/>
                    </a:cubicBezTo>
                    <a:cubicBezTo>
                      <a:pt x="4668" y="3016"/>
                      <a:pt x="4596" y="3024"/>
                      <a:pt x="4531" y="3053"/>
                    </a:cubicBezTo>
                    <a:cubicBezTo>
                      <a:pt x="4361" y="3128"/>
                      <a:pt x="4285" y="3327"/>
                      <a:pt x="4360" y="3497"/>
                    </a:cubicBezTo>
                    <a:cubicBezTo>
                      <a:pt x="4389" y="3561"/>
                      <a:pt x="4436" y="3614"/>
                      <a:pt x="4497" y="3650"/>
                    </a:cubicBezTo>
                    <a:cubicBezTo>
                      <a:pt x="4549" y="3680"/>
                      <a:pt x="4586" y="3731"/>
                      <a:pt x="4599" y="3789"/>
                    </a:cubicBezTo>
                    <a:cubicBezTo>
                      <a:pt x="4611" y="3847"/>
                      <a:pt x="4599" y="3909"/>
                      <a:pt x="4565" y="3958"/>
                    </a:cubicBezTo>
                    <a:cubicBezTo>
                      <a:pt x="4416" y="4169"/>
                      <a:pt x="4237" y="4355"/>
                      <a:pt x="4031" y="4511"/>
                    </a:cubicBezTo>
                    <a:cubicBezTo>
                      <a:pt x="3983" y="4547"/>
                      <a:pt x="3922" y="4562"/>
                      <a:pt x="3863" y="4551"/>
                    </a:cubicBezTo>
                    <a:cubicBezTo>
                      <a:pt x="3804" y="4540"/>
                      <a:pt x="3752" y="4505"/>
                      <a:pt x="3720" y="4454"/>
                    </a:cubicBezTo>
                    <a:cubicBezTo>
                      <a:pt x="3680" y="4390"/>
                      <a:pt x="3624" y="4343"/>
                      <a:pt x="3557" y="4317"/>
                    </a:cubicBezTo>
                    <a:cubicBezTo>
                      <a:pt x="3518" y="4302"/>
                      <a:pt x="3477" y="4295"/>
                      <a:pt x="3437" y="4295"/>
                    </a:cubicBezTo>
                    <a:cubicBezTo>
                      <a:pt x="3298" y="4295"/>
                      <a:pt x="3172" y="4381"/>
                      <a:pt x="3122" y="4511"/>
                    </a:cubicBezTo>
                    <a:cubicBezTo>
                      <a:pt x="3097" y="4576"/>
                      <a:pt x="3094" y="4648"/>
                      <a:pt x="3113" y="4718"/>
                    </a:cubicBezTo>
                    <a:cubicBezTo>
                      <a:pt x="3128" y="4776"/>
                      <a:pt x="3119" y="4838"/>
                      <a:pt x="3087" y="4889"/>
                    </a:cubicBezTo>
                    <a:cubicBezTo>
                      <a:pt x="3054" y="4939"/>
                      <a:pt x="3002" y="4974"/>
                      <a:pt x="2943" y="4984"/>
                    </a:cubicBezTo>
                    <a:cubicBezTo>
                      <a:pt x="2803" y="5008"/>
                      <a:pt x="2660" y="5021"/>
                      <a:pt x="2519" y="5021"/>
                    </a:cubicBezTo>
                    <a:close/>
                    <a:moveTo>
                      <a:pt x="1667" y="4167"/>
                    </a:moveTo>
                    <a:cubicBezTo>
                      <a:pt x="1861" y="4167"/>
                      <a:pt x="2038" y="4282"/>
                      <a:pt x="2117" y="4459"/>
                    </a:cubicBezTo>
                    <a:cubicBezTo>
                      <a:pt x="2161" y="4558"/>
                      <a:pt x="2171" y="4666"/>
                      <a:pt x="2146" y="4772"/>
                    </a:cubicBezTo>
                    <a:cubicBezTo>
                      <a:pt x="2142" y="4787"/>
                      <a:pt x="2146" y="4804"/>
                      <a:pt x="2155" y="4817"/>
                    </a:cubicBezTo>
                    <a:cubicBezTo>
                      <a:pt x="2164" y="4831"/>
                      <a:pt x="2178" y="4840"/>
                      <a:pt x="2195" y="4842"/>
                    </a:cubicBezTo>
                    <a:cubicBezTo>
                      <a:pt x="2434" y="4875"/>
                      <a:pt x="2679" y="4872"/>
                      <a:pt x="2916" y="4830"/>
                    </a:cubicBezTo>
                    <a:cubicBezTo>
                      <a:pt x="2932" y="4828"/>
                      <a:pt x="2946" y="4818"/>
                      <a:pt x="2955" y="4804"/>
                    </a:cubicBezTo>
                    <a:cubicBezTo>
                      <a:pt x="2964" y="4791"/>
                      <a:pt x="2966" y="4774"/>
                      <a:pt x="2962" y="4758"/>
                    </a:cubicBezTo>
                    <a:cubicBezTo>
                      <a:pt x="2934" y="4656"/>
                      <a:pt x="2940" y="4551"/>
                      <a:pt x="2977" y="4454"/>
                    </a:cubicBezTo>
                    <a:cubicBezTo>
                      <a:pt x="3049" y="4265"/>
                      <a:pt x="3234" y="4138"/>
                      <a:pt x="3437" y="4138"/>
                    </a:cubicBezTo>
                    <a:cubicBezTo>
                      <a:pt x="3497" y="4138"/>
                      <a:pt x="3556" y="4149"/>
                      <a:pt x="3613" y="4171"/>
                    </a:cubicBezTo>
                    <a:cubicBezTo>
                      <a:pt x="3712" y="4209"/>
                      <a:pt x="3794" y="4278"/>
                      <a:pt x="3852" y="4371"/>
                    </a:cubicBezTo>
                    <a:cubicBezTo>
                      <a:pt x="3861" y="4385"/>
                      <a:pt x="3875" y="4394"/>
                      <a:pt x="3891" y="4397"/>
                    </a:cubicBezTo>
                    <a:cubicBezTo>
                      <a:pt x="3907" y="4400"/>
                      <a:pt x="3924" y="4396"/>
                      <a:pt x="3937" y="4386"/>
                    </a:cubicBezTo>
                    <a:cubicBezTo>
                      <a:pt x="4130" y="4240"/>
                      <a:pt x="4298" y="4066"/>
                      <a:pt x="4437" y="3868"/>
                    </a:cubicBezTo>
                    <a:cubicBezTo>
                      <a:pt x="4446" y="3855"/>
                      <a:pt x="4450" y="3838"/>
                      <a:pt x="4446" y="3822"/>
                    </a:cubicBezTo>
                    <a:cubicBezTo>
                      <a:pt x="4443" y="3806"/>
                      <a:pt x="4433" y="3793"/>
                      <a:pt x="4419" y="3784"/>
                    </a:cubicBezTo>
                    <a:cubicBezTo>
                      <a:pt x="4329" y="3732"/>
                      <a:pt x="4260" y="3655"/>
                      <a:pt x="4218" y="3560"/>
                    </a:cubicBezTo>
                    <a:cubicBezTo>
                      <a:pt x="4107" y="3312"/>
                      <a:pt x="4219" y="3020"/>
                      <a:pt x="4467" y="2910"/>
                    </a:cubicBezTo>
                    <a:cubicBezTo>
                      <a:pt x="4563" y="2868"/>
                      <a:pt x="4670" y="2857"/>
                      <a:pt x="4774" y="2880"/>
                    </a:cubicBezTo>
                    <a:cubicBezTo>
                      <a:pt x="4777" y="2881"/>
                      <a:pt x="4782" y="2881"/>
                      <a:pt x="4786" y="2881"/>
                    </a:cubicBezTo>
                    <a:lnTo>
                      <a:pt x="4786" y="2881"/>
                    </a:lnTo>
                    <a:cubicBezTo>
                      <a:pt x="4798" y="2881"/>
                      <a:pt x="4810" y="2877"/>
                      <a:pt x="4820" y="2871"/>
                    </a:cubicBezTo>
                    <a:cubicBezTo>
                      <a:pt x="4833" y="2862"/>
                      <a:pt x="4841" y="2847"/>
                      <a:pt x="4844" y="2831"/>
                    </a:cubicBezTo>
                    <a:cubicBezTo>
                      <a:pt x="4876" y="2592"/>
                      <a:pt x="4871" y="2350"/>
                      <a:pt x="4830" y="2114"/>
                    </a:cubicBezTo>
                    <a:cubicBezTo>
                      <a:pt x="4827" y="2098"/>
                      <a:pt x="4818" y="2084"/>
                      <a:pt x="4805" y="2075"/>
                    </a:cubicBezTo>
                    <a:cubicBezTo>
                      <a:pt x="4791" y="2066"/>
                      <a:pt x="4775" y="2063"/>
                      <a:pt x="4759" y="2067"/>
                    </a:cubicBezTo>
                    <a:cubicBezTo>
                      <a:pt x="4660" y="2092"/>
                      <a:pt x="4556" y="2086"/>
                      <a:pt x="4462" y="2050"/>
                    </a:cubicBezTo>
                    <a:cubicBezTo>
                      <a:pt x="4209" y="1953"/>
                      <a:pt x="4082" y="1667"/>
                      <a:pt x="4179" y="1414"/>
                    </a:cubicBezTo>
                    <a:cubicBezTo>
                      <a:pt x="4216" y="1318"/>
                      <a:pt x="4283" y="1236"/>
                      <a:pt x="4371" y="1179"/>
                    </a:cubicBezTo>
                    <a:cubicBezTo>
                      <a:pt x="4385" y="1170"/>
                      <a:pt x="4394" y="1156"/>
                      <a:pt x="4397" y="1140"/>
                    </a:cubicBezTo>
                    <a:cubicBezTo>
                      <a:pt x="4400" y="1124"/>
                      <a:pt x="4396" y="1108"/>
                      <a:pt x="4386" y="1095"/>
                    </a:cubicBezTo>
                    <a:cubicBezTo>
                      <a:pt x="4241" y="904"/>
                      <a:pt x="4068" y="736"/>
                      <a:pt x="3871" y="598"/>
                    </a:cubicBezTo>
                    <a:cubicBezTo>
                      <a:pt x="3859" y="589"/>
                      <a:pt x="3842" y="585"/>
                      <a:pt x="3826" y="589"/>
                    </a:cubicBezTo>
                    <a:cubicBezTo>
                      <a:pt x="3810" y="592"/>
                      <a:pt x="3797" y="601"/>
                      <a:pt x="3788" y="615"/>
                    </a:cubicBezTo>
                    <a:cubicBezTo>
                      <a:pt x="3736" y="701"/>
                      <a:pt x="3660" y="769"/>
                      <a:pt x="3568" y="809"/>
                    </a:cubicBezTo>
                    <a:cubicBezTo>
                      <a:pt x="3504" y="838"/>
                      <a:pt x="3437" y="852"/>
                      <a:pt x="3368" y="852"/>
                    </a:cubicBezTo>
                    <a:cubicBezTo>
                      <a:pt x="3174" y="852"/>
                      <a:pt x="2997" y="737"/>
                      <a:pt x="2918" y="560"/>
                    </a:cubicBezTo>
                    <a:cubicBezTo>
                      <a:pt x="2876" y="465"/>
                      <a:pt x="2865" y="361"/>
                      <a:pt x="2886" y="259"/>
                    </a:cubicBezTo>
                    <a:cubicBezTo>
                      <a:pt x="2889" y="243"/>
                      <a:pt x="2886" y="226"/>
                      <a:pt x="2877" y="213"/>
                    </a:cubicBezTo>
                    <a:cubicBezTo>
                      <a:pt x="2868" y="200"/>
                      <a:pt x="2853" y="192"/>
                      <a:pt x="2837" y="189"/>
                    </a:cubicBezTo>
                    <a:cubicBezTo>
                      <a:pt x="2601" y="156"/>
                      <a:pt x="2356" y="160"/>
                      <a:pt x="2123" y="200"/>
                    </a:cubicBezTo>
                    <a:cubicBezTo>
                      <a:pt x="2107" y="203"/>
                      <a:pt x="2093" y="212"/>
                      <a:pt x="2084" y="225"/>
                    </a:cubicBezTo>
                    <a:cubicBezTo>
                      <a:pt x="2075" y="239"/>
                      <a:pt x="2072" y="255"/>
                      <a:pt x="2076" y="271"/>
                    </a:cubicBezTo>
                    <a:cubicBezTo>
                      <a:pt x="2100" y="369"/>
                      <a:pt x="2094" y="471"/>
                      <a:pt x="2058" y="564"/>
                    </a:cubicBezTo>
                    <a:cubicBezTo>
                      <a:pt x="1985" y="754"/>
                      <a:pt x="1801" y="881"/>
                      <a:pt x="1598" y="881"/>
                    </a:cubicBezTo>
                    <a:cubicBezTo>
                      <a:pt x="1538" y="881"/>
                      <a:pt x="1479" y="869"/>
                      <a:pt x="1422" y="848"/>
                    </a:cubicBezTo>
                    <a:cubicBezTo>
                      <a:pt x="1325" y="810"/>
                      <a:pt x="1244" y="744"/>
                      <a:pt x="1186" y="655"/>
                    </a:cubicBezTo>
                    <a:cubicBezTo>
                      <a:pt x="1178" y="642"/>
                      <a:pt x="1164" y="632"/>
                      <a:pt x="1148" y="629"/>
                    </a:cubicBezTo>
                    <a:cubicBezTo>
                      <a:pt x="1132" y="627"/>
                      <a:pt x="1115" y="631"/>
                      <a:pt x="1103" y="640"/>
                    </a:cubicBezTo>
                    <a:cubicBezTo>
                      <a:pt x="910" y="785"/>
                      <a:pt x="742" y="958"/>
                      <a:pt x="603" y="1154"/>
                    </a:cubicBezTo>
                    <a:cubicBezTo>
                      <a:pt x="594" y="1167"/>
                      <a:pt x="590" y="1183"/>
                      <a:pt x="593" y="1199"/>
                    </a:cubicBezTo>
                    <a:cubicBezTo>
                      <a:pt x="597" y="1215"/>
                      <a:pt x="607" y="1229"/>
                      <a:pt x="620" y="1237"/>
                    </a:cubicBezTo>
                    <a:cubicBezTo>
                      <a:pt x="708" y="1289"/>
                      <a:pt x="776" y="1366"/>
                      <a:pt x="817" y="1459"/>
                    </a:cubicBezTo>
                    <a:cubicBezTo>
                      <a:pt x="871" y="1579"/>
                      <a:pt x="874" y="1713"/>
                      <a:pt x="827" y="1836"/>
                    </a:cubicBezTo>
                    <a:cubicBezTo>
                      <a:pt x="780" y="1959"/>
                      <a:pt x="687" y="2056"/>
                      <a:pt x="567" y="2109"/>
                    </a:cubicBezTo>
                    <a:cubicBezTo>
                      <a:pt x="471" y="2151"/>
                      <a:pt x="364" y="2162"/>
                      <a:pt x="261" y="2139"/>
                    </a:cubicBezTo>
                    <a:cubicBezTo>
                      <a:pt x="244" y="2136"/>
                      <a:pt x="228" y="2139"/>
                      <a:pt x="215" y="2148"/>
                    </a:cubicBezTo>
                    <a:cubicBezTo>
                      <a:pt x="202" y="2157"/>
                      <a:pt x="193" y="2172"/>
                      <a:pt x="191" y="2188"/>
                    </a:cubicBezTo>
                    <a:cubicBezTo>
                      <a:pt x="156" y="2429"/>
                      <a:pt x="159" y="2670"/>
                      <a:pt x="200" y="2906"/>
                    </a:cubicBezTo>
                    <a:cubicBezTo>
                      <a:pt x="202" y="2923"/>
                      <a:pt x="212" y="2937"/>
                      <a:pt x="225" y="2946"/>
                    </a:cubicBezTo>
                    <a:cubicBezTo>
                      <a:pt x="239" y="2954"/>
                      <a:pt x="256" y="2957"/>
                      <a:pt x="272" y="2953"/>
                    </a:cubicBezTo>
                    <a:cubicBezTo>
                      <a:pt x="371" y="2927"/>
                      <a:pt x="477" y="2932"/>
                      <a:pt x="572" y="2969"/>
                    </a:cubicBezTo>
                    <a:cubicBezTo>
                      <a:pt x="695" y="3016"/>
                      <a:pt x="792" y="3108"/>
                      <a:pt x="846" y="3228"/>
                    </a:cubicBezTo>
                    <a:cubicBezTo>
                      <a:pt x="899" y="3348"/>
                      <a:pt x="902" y="3482"/>
                      <a:pt x="855" y="3605"/>
                    </a:cubicBezTo>
                    <a:cubicBezTo>
                      <a:pt x="817" y="3704"/>
                      <a:pt x="748" y="3787"/>
                      <a:pt x="655" y="3844"/>
                    </a:cubicBezTo>
                    <a:cubicBezTo>
                      <a:pt x="642" y="3853"/>
                      <a:pt x="632" y="3867"/>
                      <a:pt x="629" y="3883"/>
                    </a:cubicBezTo>
                    <a:cubicBezTo>
                      <a:pt x="626" y="3899"/>
                      <a:pt x="630" y="3915"/>
                      <a:pt x="640" y="3928"/>
                    </a:cubicBezTo>
                    <a:cubicBezTo>
                      <a:pt x="786" y="4123"/>
                      <a:pt x="960" y="4292"/>
                      <a:pt x="1157" y="4431"/>
                    </a:cubicBezTo>
                    <a:cubicBezTo>
                      <a:pt x="1170" y="4440"/>
                      <a:pt x="1187" y="4444"/>
                      <a:pt x="1203" y="4440"/>
                    </a:cubicBezTo>
                    <a:cubicBezTo>
                      <a:pt x="1219" y="4437"/>
                      <a:pt x="1233" y="4427"/>
                      <a:pt x="1241" y="4413"/>
                    </a:cubicBezTo>
                    <a:cubicBezTo>
                      <a:pt x="1294" y="4322"/>
                      <a:pt x="1372" y="4252"/>
                      <a:pt x="1467" y="4209"/>
                    </a:cubicBezTo>
                    <a:cubicBezTo>
                      <a:pt x="1530" y="4181"/>
                      <a:pt x="1598" y="4167"/>
                      <a:pt x="1667" y="4167"/>
                    </a:cubicBezTo>
                    <a:close/>
                    <a:moveTo>
                      <a:pt x="2517" y="3365"/>
                    </a:moveTo>
                    <a:cubicBezTo>
                      <a:pt x="2181" y="3365"/>
                      <a:pt x="1876" y="3167"/>
                      <a:pt x="1740" y="2861"/>
                    </a:cubicBezTo>
                    <a:cubicBezTo>
                      <a:pt x="1550" y="2433"/>
                      <a:pt x="1743" y="1930"/>
                      <a:pt x="2171" y="1740"/>
                    </a:cubicBezTo>
                    <a:cubicBezTo>
                      <a:pt x="2281" y="1691"/>
                      <a:pt x="2397" y="1667"/>
                      <a:pt x="2516" y="1667"/>
                    </a:cubicBezTo>
                    <a:cubicBezTo>
                      <a:pt x="2851" y="1667"/>
                      <a:pt x="3156" y="1865"/>
                      <a:pt x="3292" y="2171"/>
                    </a:cubicBezTo>
                    <a:cubicBezTo>
                      <a:pt x="3482" y="2599"/>
                      <a:pt x="3289" y="3101"/>
                      <a:pt x="2861" y="3292"/>
                    </a:cubicBezTo>
                    <a:cubicBezTo>
                      <a:pt x="2752" y="3341"/>
                      <a:pt x="2636" y="3365"/>
                      <a:pt x="2517" y="3365"/>
                    </a:cubicBezTo>
                    <a:close/>
                    <a:moveTo>
                      <a:pt x="2516" y="1823"/>
                    </a:moveTo>
                    <a:cubicBezTo>
                      <a:pt x="2419" y="1823"/>
                      <a:pt x="2324" y="1843"/>
                      <a:pt x="2234" y="1883"/>
                    </a:cubicBezTo>
                    <a:cubicBezTo>
                      <a:pt x="1885" y="2038"/>
                      <a:pt x="1728" y="2449"/>
                      <a:pt x="1883" y="2798"/>
                    </a:cubicBezTo>
                    <a:cubicBezTo>
                      <a:pt x="1994" y="3048"/>
                      <a:pt x="2243" y="3209"/>
                      <a:pt x="2517" y="3209"/>
                    </a:cubicBezTo>
                    <a:cubicBezTo>
                      <a:pt x="2614" y="3209"/>
                      <a:pt x="2708" y="3189"/>
                      <a:pt x="2798" y="3149"/>
                    </a:cubicBezTo>
                    <a:cubicBezTo>
                      <a:pt x="3147" y="2994"/>
                      <a:pt x="3305" y="2583"/>
                      <a:pt x="3149" y="2234"/>
                    </a:cubicBezTo>
                    <a:cubicBezTo>
                      <a:pt x="3038" y="1984"/>
                      <a:pt x="2789" y="1823"/>
                      <a:pt x="2516" y="182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wrap="square" lIns="68580" tIns="34290" rIns="68580" bIns="3429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73" name="íşḻïḍè"/>
              <p:cNvSpPr/>
              <p:nvPr/>
            </p:nvSpPr>
            <p:spPr>
              <a:xfrm>
                <a:off x="4315378" y="3158083"/>
                <a:ext cx="408723" cy="40872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68580" tIns="34290" rIns="68580" bIns="34290" rtlCol="0" anchor="ctr">
                <a:normAutofit fontScale="82500" lnSpcReduction="20000"/>
              </a:bodyPr>
              <a:lstStyle/>
              <a:p>
                <a:pPr algn="ctr"/>
                <a:endParaRPr lang="zh-CN" altLang="en-US" sz="1350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71" name="îṡḻiďe"/>
            <p:cNvSpPr/>
            <p:nvPr/>
          </p:nvSpPr>
          <p:spPr bwMode="auto">
            <a:xfrm>
              <a:off x="4424153" y="3259077"/>
              <a:ext cx="191172" cy="206734"/>
            </a:xfrm>
            <a:custGeom>
              <a:avLst/>
              <a:gdLst>
                <a:gd name="connsiteX0" fmla="*/ 516156 w 559684"/>
                <a:gd name="connsiteY0" fmla="*/ 190781 h 605240"/>
                <a:gd name="connsiteX1" fmla="*/ 534027 w 559684"/>
                <a:gd name="connsiteY1" fmla="*/ 194632 h 605240"/>
                <a:gd name="connsiteX2" fmla="*/ 536545 w 559684"/>
                <a:gd name="connsiteY2" fmla="*/ 421572 h 605240"/>
                <a:gd name="connsiteX3" fmla="*/ 424492 w 559684"/>
                <a:gd name="connsiteY3" fmla="*/ 538185 h 605240"/>
                <a:gd name="connsiteX4" fmla="*/ 412006 w 559684"/>
                <a:gd name="connsiteY4" fmla="*/ 590781 h 605240"/>
                <a:gd name="connsiteX5" fmla="*/ 399521 w 559684"/>
                <a:gd name="connsiteY5" fmla="*/ 605240 h 605240"/>
                <a:gd name="connsiteX6" fmla="*/ 338039 w 559684"/>
                <a:gd name="connsiteY6" fmla="*/ 605240 h 605240"/>
                <a:gd name="connsiteX7" fmla="*/ 322091 w 559684"/>
                <a:gd name="connsiteY7" fmla="*/ 591515 h 605240"/>
                <a:gd name="connsiteX8" fmla="*/ 398262 w 559684"/>
                <a:gd name="connsiteY8" fmla="*/ 366356 h 605240"/>
                <a:gd name="connsiteX9" fmla="*/ 443797 w 559684"/>
                <a:gd name="connsiteY9" fmla="*/ 271221 h 605240"/>
                <a:gd name="connsiteX10" fmla="*/ 483456 w 559684"/>
                <a:gd name="connsiteY10" fmla="*/ 277717 h 605240"/>
                <a:gd name="connsiteX11" fmla="*/ 447993 w 559684"/>
                <a:gd name="connsiteY11" fmla="*/ 397893 h 605240"/>
                <a:gd name="connsiteX12" fmla="*/ 460898 w 559684"/>
                <a:gd name="connsiteY12" fmla="*/ 405122 h 605240"/>
                <a:gd name="connsiteX13" fmla="*/ 496046 w 559684"/>
                <a:gd name="connsiteY13" fmla="*/ 240523 h 605240"/>
                <a:gd name="connsiteX14" fmla="*/ 516156 w 559684"/>
                <a:gd name="connsiteY14" fmla="*/ 190781 h 605240"/>
                <a:gd name="connsiteX15" fmla="*/ 43528 w 559684"/>
                <a:gd name="connsiteY15" fmla="*/ 190781 h 605240"/>
                <a:gd name="connsiteX16" fmla="*/ 63638 w 559684"/>
                <a:gd name="connsiteY16" fmla="*/ 240523 h 605240"/>
                <a:gd name="connsiteX17" fmla="*/ 98786 w 559684"/>
                <a:gd name="connsiteY17" fmla="*/ 405122 h 605240"/>
                <a:gd name="connsiteX18" fmla="*/ 111691 w 559684"/>
                <a:gd name="connsiteY18" fmla="*/ 397893 h 605240"/>
                <a:gd name="connsiteX19" fmla="*/ 76228 w 559684"/>
                <a:gd name="connsiteY19" fmla="*/ 277717 h 605240"/>
                <a:gd name="connsiteX20" fmla="*/ 115887 w 559684"/>
                <a:gd name="connsiteY20" fmla="*/ 271221 h 605240"/>
                <a:gd name="connsiteX21" fmla="*/ 161422 w 559684"/>
                <a:gd name="connsiteY21" fmla="*/ 366356 h 605240"/>
                <a:gd name="connsiteX22" fmla="*/ 237593 w 559684"/>
                <a:gd name="connsiteY22" fmla="*/ 591515 h 605240"/>
                <a:gd name="connsiteX23" fmla="*/ 221645 w 559684"/>
                <a:gd name="connsiteY23" fmla="*/ 605240 h 605240"/>
                <a:gd name="connsiteX24" fmla="*/ 160163 w 559684"/>
                <a:gd name="connsiteY24" fmla="*/ 605240 h 605240"/>
                <a:gd name="connsiteX25" fmla="*/ 147678 w 559684"/>
                <a:gd name="connsiteY25" fmla="*/ 590781 h 605240"/>
                <a:gd name="connsiteX26" fmla="*/ 135192 w 559684"/>
                <a:gd name="connsiteY26" fmla="*/ 538185 h 605240"/>
                <a:gd name="connsiteX27" fmla="*/ 23139 w 559684"/>
                <a:gd name="connsiteY27" fmla="*/ 421572 h 605240"/>
                <a:gd name="connsiteX28" fmla="*/ 25657 w 559684"/>
                <a:gd name="connsiteY28" fmla="*/ 194632 h 605240"/>
                <a:gd name="connsiteX29" fmla="*/ 43528 w 559684"/>
                <a:gd name="connsiteY29" fmla="*/ 190781 h 605240"/>
                <a:gd name="connsiteX30" fmla="*/ 197335 w 559684"/>
                <a:gd name="connsiteY30" fmla="*/ 0 h 605240"/>
                <a:gd name="connsiteX31" fmla="*/ 278643 w 559684"/>
                <a:gd name="connsiteY31" fmla="*/ 33001 h 605240"/>
                <a:gd name="connsiteX32" fmla="*/ 359950 w 559684"/>
                <a:gd name="connsiteY32" fmla="*/ 0 h 605240"/>
                <a:gd name="connsiteX33" fmla="*/ 476508 w 559684"/>
                <a:gd name="connsiteY33" fmla="*/ 116393 h 605240"/>
                <a:gd name="connsiteX34" fmla="*/ 455211 w 559684"/>
                <a:gd name="connsiteY34" fmla="*/ 183441 h 605240"/>
                <a:gd name="connsiteX35" fmla="*/ 436222 w 559684"/>
                <a:gd name="connsiteY35" fmla="*/ 205966 h 605240"/>
                <a:gd name="connsiteX36" fmla="*/ 315257 w 559684"/>
                <a:gd name="connsiteY36" fmla="*/ 326863 h 605240"/>
                <a:gd name="connsiteX37" fmla="*/ 278957 w 559684"/>
                <a:gd name="connsiteY37" fmla="*/ 351063 h 605240"/>
                <a:gd name="connsiteX38" fmla="*/ 278643 w 559684"/>
                <a:gd name="connsiteY38" fmla="*/ 351063 h 605240"/>
                <a:gd name="connsiteX39" fmla="*/ 278328 w 559684"/>
                <a:gd name="connsiteY39" fmla="*/ 351063 h 605240"/>
                <a:gd name="connsiteX40" fmla="*/ 242028 w 559684"/>
                <a:gd name="connsiteY40" fmla="*/ 326863 h 605240"/>
                <a:gd name="connsiteX41" fmla="*/ 121168 w 559684"/>
                <a:gd name="connsiteY41" fmla="*/ 205966 h 605240"/>
                <a:gd name="connsiteX42" fmla="*/ 102074 w 559684"/>
                <a:gd name="connsiteY42" fmla="*/ 183441 h 605240"/>
                <a:gd name="connsiteX43" fmla="*/ 80777 w 559684"/>
                <a:gd name="connsiteY43" fmla="*/ 116393 h 605240"/>
                <a:gd name="connsiteX44" fmla="*/ 197335 w 559684"/>
                <a:gd name="connsiteY44" fmla="*/ 0 h 605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559684" h="605240">
                  <a:moveTo>
                    <a:pt x="516156" y="190781"/>
                  </a:moveTo>
                  <a:cubicBezTo>
                    <a:pt x="521528" y="189596"/>
                    <a:pt x="527600" y="190624"/>
                    <a:pt x="534027" y="194632"/>
                  </a:cubicBezTo>
                  <a:cubicBezTo>
                    <a:pt x="559732" y="210557"/>
                    <a:pt x="574735" y="343725"/>
                    <a:pt x="536545" y="421572"/>
                  </a:cubicBezTo>
                  <a:cubicBezTo>
                    <a:pt x="504335" y="487370"/>
                    <a:pt x="436348" y="530746"/>
                    <a:pt x="424492" y="538185"/>
                  </a:cubicBezTo>
                  <a:cubicBezTo>
                    <a:pt x="416518" y="543319"/>
                    <a:pt x="413265" y="572551"/>
                    <a:pt x="412006" y="590781"/>
                  </a:cubicBezTo>
                  <a:cubicBezTo>
                    <a:pt x="411377" y="599373"/>
                    <a:pt x="409069" y="605240"/>
                    <a:pt x="399521" y="605240"/>
                  </a:cubicBezTo>
                  <a:cubicBezTo>
                    <a:pt x="389029" y="605240"/>
                    <a:pt x="367626" y="605240"/>
                    <a:pt x="338039" y="605240"/>
                  </a:cubicBezTo>
                  <a:cubicBezTo>
                    <a:pt x="322616" y="605240"/>
                    <a:pt x="322091" y="596020"/>
                    <a:pt x="322091" y="591515"/>
                  </a:cubicBezTo>
                  <a:cubicBezTo>
                    <a:pt x="322196" y="475425"/>
                    <a:pt x="315901" y="460652"/>
                    <a:pt x="398262" y="366356"/>
                  </a:cubicBezTo>
                  <a:cubicBezTo>
                    <a:pt x="423233" y="337753"/>
                    <a:pt x="426800" y="292805"/>
                    <a:pt x="443797" y="271221"/>
                  </a:cubicBezTo>
                  <a:cubicBezTo>
                    <a:pt x="458066" y="253095"/>
                    <a:pt x="480833" y="261896"/>
                    <a:pt x="483456" y="277717"/>
                  </a:cubicBezTo>
                  <a:cubicBezTo>
                    <a:pt x="487653" y="302339"/>
                    <a:pt x="461318" y="374633"/>
                    <a:pt x="447993" y="397893"/>
                  </a:cubicBezTo>
                  <a:cubicBezTo>
                    <a:pt x="444636" y="403655"/>
                    <a:pt x="450616" y="414342"/>
                    <a:pt x="460898" y="405122"/>
                  </a:cubicBezTo>
                  <a:cubicBezTo>
                    <a:pt x="471180" y="395902"/>
                    <a:pt x="511994" y="302339"/>
                    <a:pt x="496046" y="240523"/>
                  </a:cubicBezTo>
                  <a:cubicBezTo>
                    <a:pt x="490223" y="217813"/>
                    <a:pt x="500040" y="194337"/>
                    <a:pt x="516156" y="190781"/>
                  </a:cubicBezTo>
                  <a:close/>
                  <a:moveTo>
                    <a:pt x="43528" y="190781"/>
                  </a:moveTo>
                  <a:cubicBezTo>
                    <a:pt x="59644" y="194337"/>
                    <a:pt x="69461" y="217813"/>
                    <a:pt x="63638" y="240523"/>
                  </a:cubicBezTo>
                  <a:cubicBezTo>
                    <a:pt x="47795" y="302339"/>
                    <a:pt x="88504" y="395902"/>
                    <a:pt x="98786" y="405122"/>
                  </a:cubicBezTo>
                  <a:cubicBezTo>
                    <a:pt x="109068" y="414342"/>
                    <a:pt x="115048" y="403655"/>
                    <a:pt x="111691" y="397893"/>
                  </a:cubicBezTo>
                  <a:cubicBezTo>
                    <a:pt x="98366" y="374633"/>
                    <a:pt x="72031" y="302339"/>
                    <a:pt x="76228" y="277717"/>
                  </a:cubicBezTo>
                  <a:cubicBezTo>
                    <a:pt x="78851" y="261896"/>
                    <a:pt x="101618" y="253095"/>
                    <a:pt x="115887" y="271221"/>
                  </a:cubicBezTo>
                  <a:cubicBezTo>
                    <a:pt x="132884" y="292805"/>
                    <a:pt x="136451" y="337753"/>
                    <a:pt x="161422" y="366356"/>
                  </a:cubicBezTo>
                  <a:cubicBezTo>
                    <a:pt x="243783" y="460652"/>
                    <a:pt x="237488" y="475425"/>
                    <a:pt x="237593" y="591515"/>
                  </a:cubicBezTo>
                  <a:cubicBezTo>
                    <a:pt x="237593" y="596020"/>
                    <a:pt x="237068" y="605240"/>
                    <a:pt x="221645" y="605240"/>
                  </a:cubicBezTo>
                  <a:cubicBezTo>
                    <a:pt x="192058" y="605240"/>
                    <a:pt x="170655" y="605240"/>
                    <a:pt x="160163" y="605240"/>
                  </a:cubicBezTo>
                  <a:cubicBezTo>
                    <a:pt x="150615" y="605240"/>
                    <a:pt x="148307" y="599373"/>
                    <a:pt x="147678" y="590781"/>
                  </a:cubicBezTo>
                  <a:cubicBezTo>
                    <a:pt x="146419" y="572551"/>
                    <a:pt x="143166" y="543319"/>
                    <a:pt x="135192" y="538185"/>
                  </a:cubicBezTo>
                  <a:cubicBezTo>
                    <a:pt x="123337" y="530746"/>
                    <a:pt x="55349" y="487370"/>
                    <a:pt x="23139" y="421572"/>
                  </a:cubicBezTo>
                  <a:cubicBezTo>
                    <a:pt x="-15051" y="343725"/>
                    <a:pt x="-48" y="210557"/>
                    <a:pt x="25657" y="194632"/>
                  </a:cubicBezTo>
                  <a:cubicBezTo>
                    <a:pt x="32084" y="190624"/>
                    <a:pt x="38156" y="189596"/>
                    <a:pt x="43528" y="190781"/>
                  </a:cubicBezTo>
                  <a:close/>
                  <a:moveTo>
                    <a:pt x="197335" y="0"/>
                  </a:moveTo>
                  <a:cubicBezTo>
                    <a:pt x="229019" y="0"/>
                    <a:pt x="257660" y="12572"/>
                    <a:pt x="278643" y="33001"/>
                  </a:cubicBezTo>
                  <a:cubicBezTo>
                    <a:pt x="299625" y="12572"/>
                    <a:pt x="328371" y="0"/>
                    <a:pt x="359950" y="0"/>
                  </a:cubicBezTo>
                  <a:cubicBezTo>
                    <a:pt x="424366" y="0"/>
                    <a:pt x="476508" y="52068"/>
                    <a:pt x="476508" y="116393"/>
                  </a:cubicBezTo>
                  <a:cubicBezTo>
                    <a:pt x="476508" y="141326"/>
                    <a:pt x="468640" y="164479"/>
                    <a:pt x="455211" y="183441"/>
                  </a:cubicBezTo>
                  <a:cubicBezTo>
                    <a:pt x="449965" y="191718"/>
                    <a:pt x="443565" y="199261"/>
                    <a:pt x="436222" y="205966"/>
                  </a:cubicBezTo>
                  <a:lnTo>
                    <a:pt x="315257" y="326863"/>
                  </a:lnTo>
                  <a:cubicBezTo>
                    <a:pt x="303192" y="338911"/>
                    <a:pt x="291127" y="351063"/>
                    <a:pt x="278957" y="351063"/>
                  </a:cubicBezTo>
                  <a:cubicBezTo>
                    <a:pt x="278852" y="351063"/>
                    <a:pt x="278747" y="351063"/>
                    <a:pt x="278643" y="351063"/>
                  </a:cubicBezTo>
                  <a:cubicBezTo>
                    <a:pt x="278538" y="351063"/>
                    <a:pt x="278433" y="351063"/>
                    <a:pt x="278328" y="351063"/>
                  </a:cubicBezTo>
                  <a:cubicBezTo>
                    <a:pt x="266263" y="351063"/>
                    <a:pt x="254198" y="338911"/>
                    <a:pt x="242028" y="326863"/>
                  </a:cubicBezTo>
                  <a:lnTo>
                    <a:pt x="121168" y="205966"/>
                  </a:lnTo>
                  <a:cubicBezTo>
                    <a:pt x="113825" y="199261"/>
                    <a:pt x="107425" y="191718"/>
                    <a:pt x="102074" y="183441"/>
                  </a:cubicBezTo>
                  <a:cubicBezTo>
                    <a:pt x="88646" y="164479"/>
                    <a:pt x="80777" y="141326"/>
                    <a:pt x="80777" y="116393"/>
                  </a:cubicBezTo>
                  <a:cubicBezTo>
                    <a:pt x="80777" y="52068"/>
                    <a:pt x="133024" y="0"/>
                    <a:pt x="197335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 sz="1350">
                <a:solidFill>
                  <a:srgbClr val="000000"/>
                </a:solidFill>
              </a:endParaRPr>
            </a:p>
          </p:txBody>
        </p:sp>
      </p:grpSp>
      <p:grpSp>
        <p:nvGrpSpPr>
          <p:cNvPr id="45" name="ïŝḷïḓê"/>
          <p:cNvGrpSpPr/>
          <p:nvPr/>
        </p:nvGrpSpPr>
        <p:grpSpPr>
          <a:xfrm>
            <a:off x="7675634" y="2358966"/>
            <a:ext cx="416169" cy="414575"/>
            <a:chOff x="7394815" y="3086061"/>
            <a:chExt cx="554892" cy="552766"/>
          </a:xfrm>
        </p:grpSpPr>
        <p:grpSp>
          <p:nvGrpSpPr>
            <p:cNvPr id="66" name="îşḷîḓe"/>
            <p:cNvGrpSpPr/>
            <p:nvPr/>
          </p:nvGrpSpPr>
          <p:grpSpPr>
            <a:xfrm>
              <a:off x="7394815" y="3086061"/>
              <a:ext cx="554892" cy="552766"/>
              <a:chOff x="7394815" y="3086061"/>
              <a:chExt cx="554892" cy="552766"/>
            </a:xfrm>
            <a:solidFill>
              <a:schemeClr val="bg1">
                <a:lumMod val="85000"/>
              </a:schemeClr>
            </a:solidFill>
          </p:grpSpPr>
          <p:sp>
            <p:nvSpPr>
              <p:cNvPr id="68" name="îS1íḋé"/>
              <p:cNvSpPr/>
              <p:nvPr/>
            </p:nvSpPr>
            <p:spPr>
              <a:xfrm>
                <a:off x="7394815" y="3086061"/>
                <a:ext cx="554892" cy="552766"/>
              </a:xfrm>
              <a:custGeom>
                <a:avLst/>
                <a:gdLst>
                  <a:gd name="T0" fmla="*/ 2026 w 5033"/>
                  <a:gd name="T1" fmla="*/ 4906 h 5021"/>
                  <a:gd name="T2" fmla="*/ 1667 w 5033"/>
                  <a:gd name="T3" fmla="*/ 4323 h 5021"/>
                  <a:gd name="T4" fmla="*/ 1237 w 5033"/>
                  <a:gd name="T5" fmla="*/ 4593 h 5021"/>
                  <a:gd name="T6" fmla="*/ 476 w 5033"/>
                  <a:gd name="T7" fmla="*/ 3854 h 5021"/>
                  <a:gd name="T8" fmla="*/ 703 w 5033"/>
                  <a:gd name="T9" fmla="*/ 3292 h 5021"/>
                  <a:gd name="T10" fmla="*/ 141 w 5033"/>
                  <a:gd name="T11" fmla="*/ 3077 h 5021"/>
                  <a:gd name="T12" fmla="*/ 126 w 5033"/>
                  <a:gd name="T13" fmla="*/ 2020 h 5021"/>
                  <a:gd name="T14" fmla="*/ 681 w 5033"/>
                  <a:gd name="T15" fmla="*/ 1780 h 5021"/>
                  <a:gd name="T16" fmla="*/ 441 w 5033"/>
                  <a:gd name="T17" fmla="*/ 1232 h 5021"/>
                  <a:gd name="T18" fmla="*/ 1175 w 5033"/>
                  <a:gd name="T19" fmla="*/ 476 h 5021"/>
                  <a:gd name="T20" fmla="*/ 1598 w 5033"/>
                  <a:gd name="T21" fmla="*/ 725 h 5021"/>
                  <a:gd name="T22" fmla="*/ 1953 w 5033"/>
                  <a:gd name="T23" fmla="*/ 140 h 5021"/>
                  <a:gd name="T24" fmla="*/ 3005 w 5033"/>
                  <a:gd name="T25" fmla="*/ 124 h 5021"/>
                  <a:gd name="T26" fmla="*/ 3368 w 5033"/>
                  <a:gd name="T27" fmla="*/ 696 h 5021"/>
                  <a:gd name="T28" fmla="*/ 3794 w 5033"/>
                  <a:gd name="T29" fmla="*/ 436 h 5021"/>
                  <a:gd name="T30" fmla="*/ 4551 w 5033"/>
                  <a:gd name="T31" fmla="*/ 1167 h 5021"/>
                  <a:gd name="T32" fmla="*/ 4518 w 5033"/>
                  <a:gd name="T33" fmla="*/ 1905 h 5021"/>
                  <a:gd name="T34" fmla="*/ 4984 w 5033"/>
                  <a:gd name="T35" fmla="*/ 2087 h 5021"/>
                  <a:gd name="T36" fmla="*/ 4786 w 5033"/>
                  <a:gd name="T37" fmla="*/ 3037 h 5021"/>
                  <a:gd name="T38" fmla="*/ 4531 w 5033"/>
                  <a:gd name="T39" fmla="*/ 3053 h 5021"/>
                  <a:gd name="T40" fmla="*/ 4599 w 5033"/>
                  <a:gd name="T41" fmla="*/ 3789 h 5021"/>
                  <a:gd name="T42" fmla="*/ 3863 w 5033"/>
                  <a:gd name="T43" fmla="*/ 4551 h 5021"/>
                  <a:gd name="T44" fmla="*/ 3437 w 5033"/>
                  <a:gd name="T45" fmla="*/ 4295 h 5021"/>
                  <a:gd name="T46" fmla="*/ 3087 w 5033"/>
                  <a:gd name="T47" fmla="*/ 4889 h 5021"/>
                  <a:gd name="T48" fmla="*/ 1667 w 5033"/>
                  <a:gd name="T49" fmla="*/ 4167 h 5021"/>
                  <a:gd name="T50" fmla="*/ 2155 w 5033"/>
                  <a:gd name="T51" fmla="*/ 4817 h 5021"/>
                  <a:gd name="T52" fmla="*/ 2955 w 5033"/>
                  <a:gd name="T53" fmla="*/ 4804 h 5021"/>
                  <a:gd name="T54" fmla="*/ 3437 w 5033"/>
                  <a:gd name="T55" fmla="*/ 4138 h 5021"/>
                  <a:gd name="T56" fmla="*/ 3891 w 5033"/>
                  <a:gd name="T57" fmla="*/ 4397 h 5021"/>
                  <a:gd name="T58" fmla="*/ 4446 w 5033"/>
                  <a:gd name="T59" fmla="*/ 3822 h 5021"/>
                  <a:gd name="T60" fmla="*/ 4467 w 5033"/>
                  <a:gd name="T61" fmla="*/ 2910 h 5021"/>
                  <a:gd name="T62" fmla="*/ 4786 w 5033"/>
                  <a:gd name="T63" fmla="*/ 2881 h 5021"/>
                  <a:gd name="T64" fmla="*/ 4830 w 5033"/>
                  <a:gd name="T65" fmla="*/ 2114 h 5021"/>
                  <a:gd name="T66" fmla="*/ 4462 w 5033"/>
                  <a:gd name="T67" fmla="*/ 2050 h 5021"/>
                  <a:gd name="T68" fmla="*/ 4397 w 5033"/>
                  <a:gd name="T69" fmla="*/ 1140 h 5021"/>
                  <a:gd name="T70" fmla="*/ 3826 w 5033"/>
                  <a:gd name="T71" fmla="*/ 589 h 5021"/>
                  <a:gd name="T72" fmla="*/ 3368 w 5033"/>
                  <a:gd name="T73" fmla="*/ 852 h 5021"/>
                  <a:gd name="T74" fmla="*/ 2877 w 5033"/>
                  <a:gd name="T75" fmla="*/ 213 h 5021"/>
                  <a:gd name="T76" fmla="*/ 2084 w 5033"/>
                  <a:gd name="T77" fmla="*/ 225 h 5021"/>
                  <a:gd name="T78" fmla="*/ 1598 w 5033"/>
                  <a:gd name="T79" fmla="*/ 881 h 5021"/>
                  <a:gd name="T80" fmla="*/ 1148 w 5033"/>
                  <a:gd name="T81" fmla="*/ 629 h 5021"/>
                  <a:gd name="T82" fmla="*/ 593 w 5033"/>
                  <a:gd name="T83" fmla="*/ 1199 h 5021"/>
                  <a:gd name="T84" fmla="*/ 827 w 5033"/>
                  <a:gd name="T85" fmla="*/ 1836 h 5021"/>
                  <a:gd name="T86" fmla="*/ 215 w 5033"/>
                  <a:gd name="T87" fmla="*/ 2148 h 5021"/>
                  <a:gd name="T88" fmla="*/ 225 w 5033"/>
                  <a:gd name="T89" fmla="*/ 2946 h 5021"/>
                  <a:gd name="T90" fmla="*/ 846 w 5033"/>
                  <a:gd name="T91" fmla="*/ 3228 h 5021"/>
                  <a:gd name="T92" fmla="*/ 629 w 5033"/>
                  <a:gd name="T93" fmla="*/ 3883 h 5021"/>
                  <a:gd name="T94" fmla="*/ 1203 w 5033"/>
                  <a:gd name="T95" fmla="*/ 4440 h 5021"/>
                  <a:gd name="T96" fmla="*/ 1667 w 5033"/>
                  <a:gd name="T97" fmla="*/ 4167 h 5021"/>
                  <a:gd name="T98" fmla="*/ 2171 w 5033"/>
                  <a:gd name="T99" fmla="*/ 1740 h 5021"/>
                  <a:gd name="T100" fmla="*/ 2861 w 5033"/>
                  <a:gd name="T101" fmla="*/ 3292 h 5021"/>
                  <a:gd name="T102" fmla="*/ 2234 w 5033"/>
                  <a:gd name="T103" fmla="*/ 1883 h 5021"/>
                  <a:gd name="T104" fmla="*/ 2798 w 5033"/>
                  <a:gd name="T105" fmla="*/ 3149 h 50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5033" h="5021">
                    <a:moveTo>
                      <a:pt x="2519" y="5021"/>
                    </a:moveTo>
                    <a:cubicBezTo>
                      <a:pt x="2404" y="5021"/>
                      <a:pt x="2287" y="5013"/>
                      <a:pt x="2173" y="4997"/>
                    </a:cubicBezTo>
                    <a:cubicBezTo>
                      <a:pt x="2114" y="4989"/>
                      <a:pt x="2060" y="4955"/>
                      <a:pt x="2026" y="4906"/>
                    </a:cubicBezTo>
                    <a:cubicBezTo>
                      <a:pt x="1992" y="4857"/>
                      <a:pt x="1980" y="4795"/>
                      <a:pt x="1994" y="4736"/>
                    </a:cubicBezTo>
                    <a:cubicBezTo>
                      <a:pt x="2011" y="4664"/>
                      <a:pt x="2004" y="4590"/>
                      <a:pt x="1974" y="4523"/>
                    </a:cubicBezTo>
                    <a:cubicBezTo>
                      <a:pt x="1920" y="4401"/>
                      <a:pt x="1800" y="4323"/>
                      <a:pt x="1667" y="4323"/>
                    </a:cubicBezTo>
                    <a:cubicBezTo>
                      <a:pt x="1620" y="4323"/>
                      <a:pt x="1574" y="4333"/>
                      <a:pt x="1530" y="4352"/>
                    </a:cubicBezTo>
                    <a:cubicBezTo>
                      <a:pt x="1465" y="4381"/>
                      <a:pt x="1412" y="4429"/>
                      <a:pt x="1376" y="4491"/>
                    </a:cubicBezTo>
                    <a:cubicBezTo>
                      <a:pt x="1346" y="4543"/>
                      <a:pt x="1295" y="4580"/>
                      <a:pt x="1237" y="4593"/>
                    </a:cubicBezTo>
                    <a:cubicBezTo>
                      <a:pt x="1181" y="4606"/>
                      <a:pt x="1116" y="4594"/>
                      <a:pt x="1067" y="4559"/>
                    </a:cubicBezTo>
                    <a:cubicBezTo>
                      <a:pt x="857" y="4410"/>
                      <a:pt x="671" y="4230"/>
                      <a:pt x="515" y="4022"/>
                    </a:cubicBezTo>
                    <a:cubicBezTo>
                      <a:pt x="479" y="3974"/>
                      <a:pt x="465" y="3913"/>
                      <a:pt x="476" y="3854"/>
                    </a:cubicBezTo>
                    <a:cubicBezTo>
                      <a:pt x="487" y="3796"/>
                      <a:pt x="522" y="3744"/>
                      <a:pt x="573" y="3712"/>
                    </a:cubicBezTo>
                    <a:cubicBezTo>
                      <a:pt x="637" y="3672"/>
                      <a:pt x="684" y="3616"/>
                      <a:pt x="710" y="3549"/>
                    </a:cubicBezTo>
                    <a:cubicBezTo>
                      <a:pt x="742" y="3465"/>
                      <a:pt x="740" y="3374"/>
                      <a:pt x="703" y="3292"/>
                    </a:cubicBezTo>
                    <a:cubicBezTo>
                      <a:pt x="666" y="3210"/>
                      <a:pt x="600" y="3147"/>
                      <a:pt x="516" y="3115"/>
                    </a:cubicBezTo>
                    <a:cubicBezTo>
                      <a:pt x="452" y="3090"/>
                      <a:pt x="380" y="3086"/>
                      <a:pt x="311" y="3104"/>
                    </a:cubicBezTo>
                    <a:cubicBezTo>
                      <a:pt x="252" y="3119"/>
                      <a:pt x="190" y="3109"/>
                      <a:pt x="141" y="3077"/>
                    </a:cubicBezTo>
                    <a:cubicBezTo>
                      <a:pt x="90" y="3044"/>
                      <a:pt x="56" y="2992"/>
                      <a:pt x="46" y="2933"/>
                    </a:cubicBezTo>
                    <a:cubicBezTo>
                      <a:pt x="3" y="2681"/>
                      <a:pt x="0" y="2423"/>
                      <a:pt x="36" y="2166"/>
                    </a:cubicBezTo>
                    <a:cubicBezTo>
                      <a:pt x="45" y="2107"/>
                      <a:pt x="77" y="2054"/>
                      <a:pt x="126" y="2020"/>
                    </a:cubicBezTo>
                    <a:cubicBezTo>
                      <a:pt x="175" y="1986"/>
                      <a:pt x="237" y="1974"/>
                      <a:pt x="295" y="1987"/>
                    </a:cubicBezTo>
                    <a:cubicBezTo>
                      <a:pt x="365" y="2003"/>
                      <a:pt x="439" y="1995"/>
                      <a:pt x="504" y="1967"/>
                    </a:cubicBezTo>
                    <a:cubicBezTo>
                      <a:pt x="586" y="1930"/>
                      <a:pt x="649" y="1864"/>
                      <a:pt x="681" y="1780"/>
                    </a:cubicBezTo>
                    <a:cubicBezTo>
                      <a:pt x="713" y="1696"/>
                      <a:pt x="711" y="1605"/>
                      <a:pt x="675" y="1523"/>
                    </a:cubicBezTo>
                    <a:cubicBezTo>
                      <a:pt x="646" y="1459"/>
                      <a:pt x="600" y="1407"/>
                      <a:pt x="540" y="1371"/>
                    </a:cubicBezTo>
                    <a:cubicBezTo>
                      <a:pt x="489" y="1341"/>
                      <a:pt x="453" y="1290"/>
                      <a:pt x="441" y="1232"/>
                    </a:cubicBezTo>
                    <a:cubicBezTo>
                      <a:pt x="429" y="1173"/>
                      <a:pt x="441" y="1112"/>
                      <a:pt x="476" y="1064"/>
                    </a:cubicBezTo>
                    <a:cubicBezTo>
                      <a:pt x="624" y="854"/>
                      <a:pt x="804" y="670"/>
                      <a:pt x="1009" y="515"/>
                    </a:cubicBezTo>
                    <a:cubicBezTo>
                      <a:pt x="1056" y="480"/>
                      <a:pt x="1117" y="466"/>
                      <a:pt x="1175" y="476"/>
                    </a:cubicBezTo>
                    <a:cubicBezTo>
                      <a:pt x="1233" y="486"/>
                      <a:pt x="1285" y="521"/>
                      <a:pt x="1317" y="570"/>
                    </a:cubicBezTo>
                    <a:cubicBezTo>
                      <a:pt x="1357" y="631"/>
                      <a:pt x="1412" y="677"/>
                      <a:pt x="1478" y="702"/>
                    </a:cubicBezTo>
                    <a:cubicBezTo>
                      <a:pt x="1517" y="717"/>
                      <a:pt x="1557" y="725"/>
                      <a:pt x="1598" y="725"/>
                    </a:cubicBezTo>
                    <a:cubicBezTo>
                      <a:pt x="1737" y="725"/>
                      <a:pt x="1863" y="638"/>
                      <a:pt x="1912" y="509"/>
                    </a:cubicBezTo>
                    <a:cubicBezTo>
                      <a:pt x="1937" y="445"/>
                      <a:pt x="1941" y="376"/>
                      <a:pt x="1925" y="308"/>
                    </a:cubicBezTo>
                    <a:cubicBezTo>
                      <a:pt x="1910" y="251"/>
                      <a:pt x="1921" y="189"/>
                      <a:pt x="1953" y="140"/>
                    </a:cubicBezTo>
                    <a:cubicBezTo>
                      <a:pt x="1986" y="90"/>
                      <a:pt x="2038" y="56"/>
                      <a:pt x="2096" y="46"/>
                    </a:cubicBezTo>
                    <a:cubicBezTo>
                      <a:pt x="2345" y="4"/>
                      <a:pt x="2607" y="0"/>
                      <a:pt x="2859" y="35"/>
                    </a:cubicBezTo>
                    <a:cubicBezTo>
                      <a:pt x="2917" y="43"/>
                      <a:pt x="2971" y="75"/>
                      <a:pt x="3005" y="124"/>
                    </a:cubicBezTo>
                    <a:cubicBezTo>
                      <a:pt x="3039" y="172"/>
                      <a:pt x="3051" y="233"/>
                      <a:pt x="3039" y="291"/>
                    </a:cubicBezTo>
                    <a:cubicBezTo>
                      <a:pt x="3024" y="361"/>
                      <a:pt x="3032" y="432"/>
                      <a:pt x="3060" y="496"/>
                    </a:cubicBezTo>
                    <a:cubicBezTo>
                      <a:pt x="3114" y="618"/>
                      <a:pt x="3235" y="696"/>
                      <a:pt x="3368" y="696"/>
                    </a:cubicBezTo>
                    <a:cubicBezTo>
                      <a:pt x="3415" y="696"/>
                      <a:pt x="3461" y="686"/>
                      <a:pt x="3504" y="667"/>
                    </a:cubicBezTo>
                    <a:cubicBezTo>
                      <a:pt x="3567" y="639"/>
                      <a:pt x="3619" y="593"/>
                      <a:pt x="3655" y="534"/>
                    </a:cubicBezTo>
                    <a:cubicBezTo>
                      <a:pt x="3685" y="484"/>
                      <a:pt x="3736" y="448"/>
                      <a:pt x="3794" y="436"/>
                    </a:cubicBezTo>
                    <a:cubicBezTo>
                      <a:pt x="3855" y="423"/>
                      <a:pt x="3913" y="437"/>
                      <a:pt x="3961" y="470"/>
                    </a:cubicBezTo>
                    <a:cubicBezTo>
                      <a:pt x="4171" y="618"/>
                      <a:pt x="4355" y="797"/>
                      <a:pt x="4510" y="1001"/>
                    </a:cubicBezTo>
                    <a:cubicBezTo>
                      <a:pt x="4546" y="1048"/>
                      <a:pt x="4561" y="1109"/>
                      <a:pt x="4551" y="1167"/>
                    </a:cubicBezTo>
                    <a:cubicBezTo>
                      <a:pt x="4540" y="1226"/>
                      <a:pt x="4506" y="1278"/>
                      <a:pt x="4456" y="1310"/>
                    </a:cubicBezTo>
                    <a:cubicBezTo>
                      <a:pt x="4395" y="1349"/>
                      <a:pt x="4350" y="1405"/>
                      <a:pt x="4325" y="1470"/>
                    </a:cubicBezTo>
                    <a:cubicBezTo>
                      <a:pt x="4258" y="1643"/>
                      <a:pt x="4345" y="1838"/>
                      <a:pt x="4518" y="1905"/>
                    </a:cubicBezTo>
                    <a:cubicBezTo>
                      <a:pt x="4582" y="1929"/>
                      <a:pt x="4653" y="1933"/>
                      <a:pt x="4721" y="1916"/>
                    </a:cubicBezTo>
                    <a:cubicBezTo>
                      <a:pt x="4779" y="1902"/>
                      <a:pt x="4840" y="1912"/>
                      <a:pt x="4890" y="1944"/>
                    </a:cubicBezTo>
                    <a:cubicBezTo>
                      <a:pt x="4939" y="1977"/>
                      <a:pt x="4974" y="2029"/>
                      <a:pt x="4984" y="2087"/>
                    </a:cubicBezTo>
                    <a:cubicBezTo>
                      <a:pt x="5028" y="2339"/>
                      <a:pt x="5033" y="2597"/>
                      <a:pt x="4998" y="2852"/>
                    </a:cubicBezTo>
                    <a:cubicBezTo>
                      <a:pt x="4990" y="2911"/>
                      <a:pt x="4957" y="2965"/>
                      <a:pt x="4908" y="2999"/>
                    </a:cubicBezTo>
                    <a:cubicBezTo>
                      <a:pt x="4872" y="3024"/>
                      <a:pt x="4830" y="3037"/>
                      <a:pt x="4786" y="3037"/>
                    </a:cubicBezTo>
                    <a:lnTo>
                      <a:pt x="4786" y="3037"/>
                    </a:lnTo>
                    <a:cubicBezTo>
                      <a:pt x="4770" y="3037"/>
                      <a:pt x="4755" y="3036"/>
                      <a:pt x="4740" y="3032"/>
                    </a:cubicBezTo>
                    <a:cubicBezTo>
                      <a:pt x="4668" y="3016"/>
                      <a:pt x="4596" y="3024"/>
                      <a:pt x="4531" y="3053"/>
                    </a:cubicBezTo>
                    <a:cubicBezTo>
                      <a:pt x="4361" y="3128"/>
                      <a:pt x="4285" y="3327"/>
                      <a:pt x="4360" y="3497"/>
                    </a:cubicBezTo>
                    <a:cubicBezTo>
                      <a:pt x="4389" y="3561"/>
                      <a:pt x="4436" y="3614"/>
                      <a:pt x="4497" y="3650"/>
                    </a:cubicBezTo>
                    <a:cubicBezTo>
                      <a:pt x="4549" y="3680"/>
                      <a:pt x="4586" y="3731"/>
                      <a:pt x="4599" y="3789"/>
                    </a:cubicBezTo>
                    <a:cubicBezTo>
                      <a:pt x="4611" y="3847"/>
                      <a:pt x="4599" y="3909"/>
                      <a:pt x="4565" y="3958"/>
                    </a:cubicBezTo>
                    <a:cubicBezTo>
                      <a:pt x="4416" y="4169"/>
                      <a:pt x="4237" y="4355"/>
                      <a:pt x="4031" y="4511"/>
                    </a:cubicBezTo>
                    <a:cubicBezTo>
                      <a:pt x="3983" y="4547"/>
                      <a:pt x="3922" y="4562"/>
                      <a:pt x="3863" y="4551"/>
                    </a:cubicBezTo>
                    <a:cubicBezTo>
                      <a:pt x="3804" y="4540"/>
                      <a:pt x="3752" y="4505"/>
                      <a:pt x="3720" y="4454"/>
                    </a:cubicBezTo>
                    <a:cubicBezTo>
                      <a:pt x="3680" y="4390"/>
                      <a:pt x="3624" y="4343"/>
                      <a:pt x="3557" y="4317"/>
                    </a:cubicBezTo>
                    <a:cubicBezTo>
                      <a:pt x="3518" y="4302"/>
                      <a:pt x="3477" y="4295"/>
                      <a:pt x="3437" y="4295"/>
                    </a:cubicBezTo>
                    <a:cubicBezTo>
                      <a:pt x="3298" y="4295"/>
                      <a:pt x="3172" y="4381"/>
                      <a:pt x="3122" y="4511"/>
                    </a:cubicBezTo>
                    <a:cubicBezTo>
                      <a:pt x="3097" y="4576"/>
                      <a:pt x="3094" y="4648"/>
                      <a:pt x="3113" y="4718"/>
                    </a:cubicBezTo>
                    <a:cubicBezTo>
                      <a:pt x="3128" y="4776"/>
                      <a:pt x="3119" y="4838"/>
                      <a:pt x="3087" y="4889"/>
                    </a:cubicBezTo>
                    <a:cubicBezTo>
                      <a:pt x="3054" y="4939"/>
                      <a:pt x="3002" y="4974"/>
                      <a:pt x="2943" y="4984"/>
                    </a:cubicBezTo>
                    <a:cubicBezTo>
                      <a:pt x="2803" y="5008"/>
                      <a:pt x="2660" y="5021"/>
                      <a:pt x="2519" y="5021"/>
                    </a:cubicBezTo>
                    <a:close/>
                    <a:moveTo>
                      <a:pt x="1667" y="4167"/>
                    </a:moveTo>
                    <a:cubicBezTo>
                      <a:pt x="1861" y="4167"/>
                      <a:pt x="2038" y="4282"/>
                      <a:pt x="2117" y="4459"/>
                    </a:cubicBezTo>
                    <a:cubicBezTo>
                      <a:pt x="2161" y="4558"/>
                      <a:pt x="2171" y="4666"/>
                      <a:pt x="2146" y="4772"/>
                    </a:cubicBezTo>
                    <a:cubicBezTo>
                      <a:pt x="2142" y="4787"/>
                      <a:pt x="2146" y="4804"/>
                      <a:pt x="2155" y="4817"/>
                    </a:cubicBezTo>
                    <a:cubicBezTo>
                      <a:pt x="2164" y="4831"/>
                      <a:pt x="2178" y="4840"/>
                      <a:pt x="2195" y="4842"/>
                    </a:cubicBezTo>
                    <a:cubicBezTo>
                      <a:pt x="2434" y="4875"/>
                      <a:pt x="2679" y="4872"/>
                      <a:pt x="2916" y="4830"/>
                    </a:cubicBezTo>
                    <a:cubicBezTo>
                      <a:pt x="2932" y="4828"/>
                      <a:pt x="2946" y="4818"/>
                      <a:pt x="2955" y="4804"/>
                    </a:cubicBezTo>
                    <a:cubicBezTo>
                      <a:pt x="2964" y="4791"/>
                      <a:pt x="2966" y="4774"/>
                      <a:pt x="2962" y="4758"/>
                    </a:cubicBezTo>
                    <a:cubicBezTo>
                      <a:pt x="2934" y="4656"/>
                      <a:pt x="2940" y="4551"/>
                      <a:pt x="2977" y="4454"/>
                    </a:cubicBezTo>
                    <a:cubicBezTo>
                      <a:pt x="3049" y="4265"/>
                      <a:pt x="3234" y="4138"/>
                      <a:pt x="3437" y="4138"/>
                    </a:cubicBezTo>
                    <a:cubicBezTo>
                      <a:pt x="3497" y="4138"/>
                      <a:pt x="3556" y="4149"/>
                      <a:pt x="3613" y="4171"/>
                    </a:cubicBezTo>
                    <a:cubicBezTo>
                      <a:pt x="3712" y="4209"/>
                      <a:pt x="3794" y="4278"/>
                      <a:pt x="3852" y="4371"/>
                    </a:cubicBezTo>
                    <a:cubicBezTo>
                      <a:pt x="3861" y="4385"/>
                      <a:pt x="3875" y="4394"/>
                      <a:pt x="3891" y="4397"/>
                    </a:cubicBezTo>
                    <a:cubicBezTo>
                      <a:pt x="3907" y="4400"/>
                      <a:pt x="3924" y="4396"/>
                      <a:pt x="3937" y="4386"/>
                    </a:cubicBezTo>
                    <a:cubicBezTo>
                      <a:pt x="4130" y="4240"/>
                      <a:pt x="4298" y="4066"/>
                      <a:pt x="4437" y="3868"/>
                    </a:cubicBezTo>
                    <a:cubicBezTo>
                      <a:pt x="4446" y="3855"/>
                      <a:pt x="4450" y="3838"/>
                      <a:pt x="4446" y="3822"/>
                    </a:cubicBezTo>
                    <a:cubicBezTo>
                      <a:pt x="4443" y="3806"/>
                      <a:pt x="4433" y="3793"/>
                      <a:pt x="4419" y="3784"/>
                    </a:cubicBezTo>
                    <a:cubicBezTo>
                      <a:pt x="4329" y="3732"/>
                      <a:pt x="4260" y="3655"/>
                      <a:pt x="4218" y="3560"/>
                    </a:cubicBezTo>
                    <a:cubicBezTo>
                      <a:pt x="4107" y="3312"/>
                      <a:pt x="4219" y="3020"/>
                      <a:pt x="4467" y="2910"/>
                    </a:cubicBezTo>
                    <a:cubicBezTo>
                      <a:pt x="4563" y="2868"/>
                      <a:pt x="4670" y="2857"/>
                      <a:pt x="4774" y="2880"/>
                    </a:cubicBezTo>
                    <a:cubicBezTo>
                      <a:pt x="4777" y="2881"/>
                      <a:pt x="4782" y="2881"/>
                      <a:pt x="4786" y="2881"/>
                    </a:cubicBezTo>
                    <a:lnTo>
                      <a:pt x="4786" y="2881"/>
                    </a:lnTo>
                    <a:cubicBezTo>
                      <a:pt x="4798" y="2881"/>
                      <a:pt x="4810" y="2877"/>
                      <a:pt x="4820" y="2871"/>
                    </a:cubicBezTo>
                    <a:cubicBezTo>
                      <a:pt x="4833" y="2862"/>
                      <a:pt x="4841" y="2847"/>
                      <a:pt x="4844" y="2831"/>
                    </a:cubicBezTo>
                    <a:cubicBezTo>
                      <a:pt x="4876" y="2592"/>
                      <a:pt x="4871" y="2350"/>
                      <a:pt x="4830" y="2114"/>
                    </a:cubicBezTo>
                    <a:cubicBezTo>
                      <a:pt x="4827" y="2098"/>
                      <a:pt x="4818" y="2084"/>
                      <a:pt x="4805" y="2075"/>
                    </a:cubicBezTo>
                    <a:cubicBezTo>
                      <a:pt x="4791" y="2066"/>
                      <a:pt x="4775" y="2063"/>
                      <a:pt x="4759" y="2067"/>
                    </a:cubicBezTo>
                    <a:cubicBezTo>
                      <a:pt x="4660" y="2092"/>
                      <a:pt x="4556" y="2086"/>
                      <a:pt x="4462" y="2050"/>
                    </a:cubicBezTo>
                    <a:cubicBezTo>
                      <a:pt x="4209" y="1953"/>
                      <a:pt x="4082" y="1667"/>
                      <a:pt x="4179" y="1414"/>
                    </a:cubicBezTo>
                    <a:cubicBezTo>
                      <a:pt x="4216" y="1318"/>
                      <a:pt x="4283" y="1236"/>
                      <a:pt x="4371" y="1179"/>
                    </a:cubicBezTo>
                    <a:cubicBezTo>
                      <a:pt x="4385" y="1170"/>
                      <a:pt x="4394" y="1156"/>
                      <a:pt x="4397" y="1140"/>
                    </a:cubicBezTo>
                    <a:cubicBezTo>
                      <a:pt x="4400" y="1124"/>
                      <a:pt x="4396" y="1108"/>
                      <a:pt x="4386" y="1095"/>
                    </a:cubicBezTo>
                    <a:cubicBezTo>
                      <a:pt x="4241" y="904"/>
                      <a:pt x="4068" y="736"/>
                      <a:pt x="3871" y="598"/>
                    </a:cubicBezTo>
                    <a:cubicBezTo>
                      <a:pt x="3859" y="589"/>
                      <a:pt x="3842" y="585"/>
                      <a:pt x="3826" y="589"/>
                    </a:cubicBezTo>
                    <a:cubicBezTo>
                      <a:pt x="3810" y="592"/>
                      <a:pt x="3797" y="601"/>
                      <a:pt x="3788" y="615"/>
                    </a:cubicBezTo>
                    <a:cubicBezTo>
                      <a:pt x="3736" y="701"/>
                      <a:pt x="3660" y="769"/>
                      <a:pt x="3568" y="809"/>
                    </a:cubicBezTo>
                    <a:cubicBezTo>
                      <a:pt x="3504" y="838"/>
                      <a:pt x="3437" y="852"/>
                      <a:pt x="3368" y="852"/>
                    </a:cubicBezTo>
                    <a:cubicBezTo>
                      <a:pt x="3174" y="852"/>
                      <a:pt x="2997" y="737"/>
                      <a:pt x="2918" y="560"/>
                    </a:cubicBezTo>
                    <a:cubicBezTo>
                      <a:pt x="2876" y="465"/>
                      <a:pt x="2865" y="361"/>
                      <a:pt x="2886" y="259"/>
                    </a:cubicBezTo>
                    <a:cubicBezTo>
                      <a:pt x="2889" y="243"/>
                      <a:pt x="2886" y="226"/>
                      <a:pt x="2877" y="213"/>
                    </a:cubicBezTo>
                    <a:cubicBezTo>
                      <a:pt x="2868" y="200"/>
                      <a:pt x="2853" y="192"/>
                      <a:pt x="2837" y="189"/>
                    </a:cubicBezTo>
                    <a:cubicBezTo>
                      <a:pt x="2601" y="156"/>
                      <a:pt x="2356" y="160"/>
                      <a:pt x="2123" y="200"/>
                    </a:cubicBezTo>
                    <a:cubicBezTo>
                      <a:pt x="2107" y="203"/>
                      <a:pt x="2093" y="212"/>
                      <a:pt x="2084" y="225"/>
                    </a:cubicBezTo>
                    <a:cubicBezTo>
                      <a:pt x="2075" y="239"/>
                      <a:pt x="2072" y="255"/>
                      <a:pt x="2076" y="271"/>
                    </a:cubicBezTo>
                    <a:cubicBezTo>
                      <a:pt x="2100" y="369"/>
                      <a:pt x="2094" y="471"/>
                      <a:pt x="2058" y="564"/>
                    </a:cubicBezTo>
                    <a:cubicBezTo>
                      <a:pt x="1985" y="754"/>
                      <a:pt x="1801" y="881"/>
                      <a:pt x="1598" y="881"/>
                    </a:cubicBezTo>
                    <a:cubicBezTo>
                      <a:pt x="1538" y="881"/>
                      <a:pt x="1479" y="869"/>
                      <a:pt x="1422" y="848"/>
                    </a:cubicBezTo>
                    <a:cubicBezTo>
                      <a:pt x="1325" y="810"/>
                      <a:pt x="1244" y="744"/>
                      <a:pt x="1186" y="655"/>
                    </a:cubicBezTo>
                    <a:cubicBezTo>
                      <a:pt x="1178" y="642"/>
                      <a:pt x="1164" y="632"/>
                      <a:pt x="1148" y="629"/>
                    </a:cubicBezTo>
                    <a:cubicBezTo>
                      <a:pt x="1132" y="627"/>
                      <a:pt x="1115" y="631"/>
                      <a:pt x="1103" y="640"/>
                    </a:cubicBezTo>
                    <a:cubicBezTo>
                      <a:pt x="910" y="785"/>
                      <a:pt x="742" y="958"/>
                      <a:pt x="603" y="1154"/>
                    </a:cubicBezTo>
                    <a:cubicBezTo>
                      <a:pt x="594" y="1167"/>
                      <a:pt x="590" y="1183"/>
                      <a:pt x="593" y="1199"/>
                    </a:cubicBezTo>
                    <a:cubicBezTo>
                      <a:pt x="597" y="1215"/>
                      <a:pt x="607" y="1229"/>
                      <a:pt x="620" y="1237"/>
                    </a:cubicBezTo>
                    <a:cubicBezTo>
                      <a:pt x="708" y="1289"/>
                      <a:pt x="776" y="1366"/>
                      <a:pt x="817" y="1459"/>
                    </a:cubicBezTo>
                    <a:cubicBezTo>
                      <a:pt x="871" y="1579"/>
                      <a:pt x="874" y="1713"/>
                      <a:pt x="827" y="1836"/>
                    </a:cubicBezTo>
                    <a:cubicBezTo>
                      <a:pt x="780" y="1959"/>
                      <a:pt x="687" y="2056"/>
                      <a:pt x="567" y="2109"/>
                    </a:cubicBezTo>
                    <a:cubicBezTo>
                      <a:pt x="471" y="2151"/>
                      <a:pt x="364" y="2162"/>
                      <a:pt x="261" y="2139"/>
                    </a:cubicBezTo>
                    <a:cubicBezTo>
                      <a:pt x="244" y="2136"/>
                      <a:pt x="228" y="2139"/>
                      <a:pt x="215" y="2148"/>
                    </a:cubicBezTo>
                    <a:cubicBezTo>
                      <a:pt x="202" y="2157"/>
                      <a:pt x="193" y="2172"/>
                      <a:pt x="191" y="2188"/>
                    </a:cubicBezTo>
                    <a:cubicBezTo>
                      <a:pt x="156" y="2429"/>
                      <a:pt x="159" y="2670"/>
                      <a:pt x="200" y="2906"/>
                    </a:cubicBezTo>
                    <a:cubicBezTo>
                      <a:pt x="202" y="2923"/>
                      <a:pt x="212" y="2937"/>
                      <a:pt x="225" y="2946"/>
                    </a:cubicBezTo>
                    <a:cubicBezTo>
                      <a:pt x="239" y="2954"/>
                      <a:pt x="256" y="2957"/>
                      <a:pt x="272" y="2953"/>
                    </a:cubicBezTo>
                    <a:cubicBezTo>
                      <a:pt x="371" y="2927"/>
                      <a:pt x="477" y="2932"/>
                      <a:pt x="572" y="2969"/>
                    </a:cubicBezTo>
                    <a:cubicBezTo>
                      <a:pt x="695" y="3016"/>
                      <a:pt x="792" y="3108"/>
                      <a:pt x="846" y="3228"/>
                    </a:cubicBezTo>
                    <a:cubicBezTo>
                      <a:pt x="899" y="3348"/>
                      <a:pt x="902" y="3482"/>
                      <a:pt x="855" y="3605"/>
                    </a:cubicBezTo>
                    <a:cubicBezTo>
                      <a:pt x="817" y="3704"/>
                      <a:pt x="748" y="3787"/>
                      <a:pt x="655" y="3844"/>
                    </a:cubicBezTo>
                    <a:cubicBezTo>
                      <a:pt x="642" y="3853"/>
                      <a:pt x="632" y="3867"/>
                      <a:pt x="629" y="3883"/>
                    </a:cubicBezTo>
                    <a:cubicBezTo>
                      <a:pt x="626" y="3899"/>
                      <a:pt x="630" y="3915"/>
                      <a:pt x="640" y="3928"/>
                    </a:cubicBezTo>
                    <a:cubicBezTo>
                      <a:pt x="786" y="4123"/>
                      <a:pt x="960" y="4292"/>
                      <a:pt x="1157" y="4431"/>
                    </a:cubicBezTo>
                    <a:cubicBezTo>
                      <a:pt x="1170" y="4440"/>
                      <a:pt x="1187" y="4444"/>
                      <a:pt x="1203" y="4440"/>
                    </a:cubicBezTo>
                    <a:cubicBezTo>
                      <a:pt x="1219" y="4437"/>
                      <a:pt x="1233" y="4427"/>
                      <a:pt x="1241" y="4413"/>
                    </a:cubicBezTo>
                    <a:cubicBezTo>
                      <a:pt x="1294" y="4322"/>
                      <a:pt x="1372" y="4252"/>
                      <a:pt x="1467" y="4209"/>
                    </a:cubicBezTo>
                    <a:cubicBezTo>
                      <a:pt x="1530" y="4181"/>
                      <a:pt x="1598" y="4167"/>
                      <a:pt x="1667" y="4167"/>
                    </a:cubicBezTo>
                    <a:close/>
                    <a:moveTo>
                      <a:pt x="2517" y="3365"/>
                    </a:moveTo>
                    <a:cubicBezTo>
                      <a:pt x="2181" y="3365"/>
                      <a:pt x="1876" y="3167"/>
                      <a:pt x="1740" y="2861"/>
                    </a:cubicBezTo>
                    <a:cubicBezTo>
                      <a:pt x="1550" y="2433"/>
                      <a:pt x="1743" y="1930"/>
                      <a:pt x="2171" y="1740"/>
                    </a:cubicBezTo>
                    <a:cubicBezTo>
                      <a:pt x="2281" y="1691"/>
                      <a:pt x="2397" y="1667"/>
                      <a:pt x="2516" y="1667"/>
                    </a:cubicBezTo>
                    <a:cubicBezTo>
                      <a:pt x="2851" y="1667"/>
                      <a:pt x="3156" y="1865"/>
                      <a:pt x="3292" y="2171"/>
                    </a:cubicBezTo>
                    <a:cubicBezTo>
                      <a:pt x="3482" y="2599"/>
                      <a:pt x="3289" y="3101"/>
                      <a:pt x="2861" y="3292"/>
                    </a:cubicBezTo>
                    <a:cubicBezTo>
                      <a:pt x="2752" y="3341"/>
                      <a:pt x="2636" y="3365"/>
                      <a:pt x="2517" y="3365"/>
                    </a:cubicBezTo>
                    <a:close/>
                    <a:moveTo>
                      <a:pt x="2516" y="1823"/>
                    </a:moveTo>
                    <a:cubicBezTo>
                      <a:pt x="2419" y="1823"/>
                      <a:pt x="2324" y="1843"/>
                      <a:pt x="2234" y="1883"/>
                    </a:cubicBezTo>
                    <a:cubicBezTo>
                      <a:pt x="1885" y="2038"/>
                      <a:pt x="1728" y="2449"/>
                      <a:pt x="1883" y="2798"/>
                    </a:cubicBezTo>
                    <a:cubicBezTo>
                      <a:pt x="1994" y="3048"/>
                      <a:pt x="2243" y="3209"/>
                      <a:pt x="2517" y="3209"/>
                    </a:cubicBezTo>
                    <a:cubicBezTo>
                      <a:pt x="2614" y="3209"/>
                      <a:pt x="2708" y="3189"/>
                      <a:pt x="2798" y="3149"/>
                    </a:cubicBezTo>
                    <a:cubicBezTo>
                      <a:pt x="3147" y="2994"/>
                      <a:pt x="3305" y="2583"/>
                      <a:pt x="3149" y="2234"/>
                    </a:cubicBezTo>
                    <a:cubicBezTo>
                      <a:pt x="3038" y="1984"/>
                      <a:pt x="2789" y="1823"/>
                      <a:pt x="2516" y="182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wrap="square" lIns="68580" tIns="34290" rIns="68580" bIns="3429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69" name="ïşlîḓê"/>
              <p:cNvSpPr/>
              <p:nvPr/>
            </p:nvSpPr>
            <p:spPr>
              <a:xfrm>
                <a:off x="7467900" y="3158083"/>
                <a:ext cx="408723" cy="40872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68580" tIns="34290" rIns="68580" bIns="34290" rtlCol="0" anchor="ctr">
                <a:normAutofit fontScale="82500" lnSpcReduction="20000"/>
              </a:bodyPr>
              <a:lstStyle/>
              <a:p>
                <a:pPr algn="ctr"/>
                <a:endParaRPr lang="zh-CN" altLang="en-US" sz="1350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67" name="iṣḷîḑê"/>
            <p:cNvSpPr/>
            <p:nvPr/>
          </p:nvSpPr>
          <p:spPr bwMode="auto">
            <a:xfrm>
              <a:off x="7576675" y="3259077"/>
              <a:ext cx="191172" cy="206734"/>
            </a:xfrm>
            <a:custGeom>
              <a:avLst/>
              <a:gdLst>
                <a:gd name="connsiteX0" fmla="*/ 516156 w 559684"/>
                <a:gd name="connsiteY0" fmla="*/ 190781 h 605240"/>
                <a:gd name="connsiteX1" fmla="*/ 534027 w 559684"/>
                <a:gd name="connsiteY1" fmla="*/ 194632 h 605240"/>
                <a:gd name="connsiteX2" fmla="*/ 536545 w 559684"/>
                <a:gd name="connsiteY2" fmla="*/ 421572 h 605240"/>
                <a:gd name="connsiteX3" fmla="*/ 424492 w 559684"/>
                <a:gd name="connsiteY3" fmla="*/ 538185 h 605240"/>
                <a:gd name="connsiteX4" fmla="*/ 412006 w 559684"/>
                <a:gd name="connsiteY4" fmla="*/ 590781 h 605240"/>
                <a:gd name="connsiteX5" fmla="*/ 399521 w 559684"/>
                <a:gd name="connsiteY5" fmla="*/ 605240 h 605240"/>
                <a:gd name="connsiteX6" fmla="*/ 338039 w 559684"/>
                <a:gd name="connsiteY6" fmla="*/ 605240 h 605240"/>
                <a:gd name="connsiteX7" fmla="*/ 322091 w 559684"/>
                <a:gd name="connsiteY7" fmla="*/ 591515 h 605240"/>
                <a:gd name="connsiteX8" fmla="*/ 398262 w 559684"/>
                <a:gd name="connsiteY8" fmla="*/ 366356 h 605240"/>
                <a:gd name="connsiteX9" fmla="*/ 443797 w 559684"/>
                <a:gd name="connsiteY9" fmla="*/ 271221 h 605240"/>
                <a:gd name="connsiteX10" fmla="*/ 483456 w 559684"/>
                <a:gd name="connsiteY10" fmla="*/ 277717 h 605240"/>
                <a:gd name="connsiteX11" fmla="*/ 447993 w 559684"/>
                <a:gd name="connsiteY11" fmla="*/ 397893 h 605240"/>
                <a:gd name="connsiteX12" fmla="*/ 460898 w 559684"/>
                <a:gd name="connsiteY12" fmla="*/ 405122 h 605240"/>
                <a:gd name="connsiteX13" fmla="*/ 496046 w 559684"/>
                <a:gd name="connsiteY13" fmla="*/ 240523 h 605240"/>
                <a:gd name="connsiteX14" fmla="*/ 516156 w 559684"/>
                <a:gd name="connsiteY14" fmla="*/ 190781 h 605240"/>
                <a:gd name="connsiteX15" fmla="*/ 43528 w 559684"/>
                <a:gd name="connsiteY15" fmla="*/ 190781 h 605240"/>
                <a:gd name="connsiteX16" fmla="*/ 63638 w 559684"/>
                <a:gd name="connsiteY16" fmla="*/ 240523 h 605240"/>
                <a:gd name="connsiteX17" fmla="*/ 98786 w 559684"/>
                <a:gd name="connsiteY17" fmla="*/ 405122 h 605240"/>
                <a:gd name="connsiteX18" fmla="*/ 111691 w 559684"/>
                <a:gd name="connsiteY18" fmla="*/ 397893 h 605240"/>
                <a:gd name="connsiteX19" fmla="*/ 76228 w 559684"/>
                <a:gd name="connsiteY19" fmla="*/ 277717 h 605240"/>
                <a:gd name="connsiteX20" fmla="*/ 115887 w 559684"/>
                <a:gd name="connsiteY20" fmla="*/ 271221 h 605240"/>
                <a:gd name="connsiteX21" fmla="*/ 161422 w 559684"/>
                <a:gd name="connsiteY21" fmla="*/ 366356 h 605240"/>
                <a:gd name="connsiteX22" fmla="*/ 237593 w 559684"/>
                <a:gd name="connsiteY22" fmla="*/ 591515 h 605240"/>
                <a:gd name="connsiteX23" fmla="*/ 221645 w 559684"/>
                <a:gd name="connsiteY23" fmla="*/ 605240 h 605240"/>
                <a:gd name="connsiteX24" fmla="*/ 160163 w 559684"/>
                <a:gd name="connsiteY24" fmla="*/ 605240 h 605240"/>
                <a:gd name="connsiteX25" fmla="*/ 147678 w 559684"/>
                <a:gd name="connsiteY25" fmla="*/ 590781 h 605240"/>
                <a:gd name="connsiteX26" fmla="*/ 135192 w 559684"/>
                <a:gd name="connsiteY26" fmla="*/ 538185 h 605240"/>
                <a:gd name="connsiteX27" fmla="*/ 23139 w 559684"/>
                <a:gd name="connsiteY27" fmla="*/ 421572 h 605240"/>
                <a:gd name="connsiteX28" fmla="*/ 25657 w 559684"/>
                <a:gd name="connsiteY28" fmla="*/ 194632 h 605240"/>
                <a:gd name="connsiteX29" fmla="*/ 43528 w 559684"/>
                <a:gd name="connsiteY29" fmla="*/ 190781 h 605240"/>
                <a:gd name="connsiteX30" fmla="*/ 197335 w 559684"/>
                <a:gd name="connsiteY30" fmla="*/ 0 h 605240"/>
                <a:gd name="connsiteX31" fmla="*/ 278643 w 559684"/>
                <a:gd name="connsiteY31" fmla="*/ 33001 h 605240"/>
                <a:gd name="connsiteX32" fmla="*/ 359950 w 559684"/>
                <a:gd name="connsiteY32" fmla="*/ 0 h 605240"/>
                <a:gd name="connsiteX33" fmla="*/ 476508 w 559684"/>
                <a:gd name="connsiteY33" fmla="*/ 116393 h 605240"/>
                <a:gd name="connsiteX34" fmla="*/ 455211 w 559684"/>
                <a:gd name="connsiteY34" fmla="*/ 183441 h 605240"/>
                <a:gd name="connsiteX35" fmla="*/ 436222 w 559684"/>
                <a:gd name="connsiteY35" fmla="*/ 205966 h 605240"/>
                <a:gd name="connsiteX36" fmla="*/ 315257 w 559684"/>
                <a:gd name="connsiteY36" fmla="*/ 326863 h 605240"/>
                <a:gd name="connsiteX37" fmla="*/ 278957 w 559684"/>
                <a:gd name="connsiteY37" fmla="*/ 351063 h 605240"/>
                <a:gd name="connsiteX38" fmla="*/ 278643 w 559684"/>
                <a:gd name="connsiteY38" fmla="*/ 351063 h 605240"/>
                <a:gd name="connsiteX39" fmla="*/ 278328 w 559684"/>
                <a:gd name="connsiteY39" fmla="*/ 351063 h 605240"/>
                <a:gd name="connsiteX40" fmla="*/ 242028 w 559684"/>
                <a:gd name="connsiteY40" fmla="*/ 326863 h 605240"/>
                <a:gd name="connsiteX41" fmla="*/ 121168 w 559684"/>
                <a:gd name="connsiteY41" fmla="*/ 205966 h 605240"/>
                <a:gd name="connsiteX42" fmla="*/ 102074 w 559684"/>
                <a:gd name="connsiteY42" fmla="*/ 183441 h 605240"/>
                <a:gd name="connsiteX43" fmla="*/ 80777 w 559684"/>
                <a:gd name="connsiteY43" fmla="*/ 116393 h 605240"/>
                <a:gd name="connsiteX44" fmla="*/ 197335 w 559684"/>
                <a:gd name="connsiteY44" fmla="*/ 0 h 605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559684" h="605240">
                  <a:moveTo>
                    <a:pt x="516156" y="190781"/>
                  </a:moveTo>
                  <a:cubicBezTo>
                    <a:pt x="521528" y="189596"/>
                    <a:pt x="527600" y="190624"/>
                    <a:pt x="534027" y="194632"/>
                  </a:cubicBezTo>
                  <a:cubicBezTo>
                    <a:pt x="559732" y="210557"/>
                    <a:pt x="574735" y="343725"/>
                    <a:pt x="536545" y="421572"/>
                  </a:cubicBezTo>
                  <a:cubicBezTo>
                    <a:pt x="504335" y="487370"/>
                    <a:pt x="436348" y="530746"/>
                    <a:pt x="424492" y="538185"/>
                  </a:cubicBezTo>
                  <a:cubicBezTo>
                    <a:pt x="416518" y="543319"/>
                    <a:pt x="413265" y="572551"/>
                    <a:pt x="412006" y="590781"/>
                  </a:cubicBezTo>
                  <a:cubicBezTo>
                    <a:pt x="411377" y="599373"/>
                    <a:pt x="409069" y="605240"/>
                    <a:pt x="399521" y="605240"/>
                  </a:cubicBezTo>
                  <a:cubicBezTo>
                    <a:pt x="389029" y="605240"/>
                    <a:pt x="367626" y="605240"/>
                    <a:pt x="338039" y="605240"/>
                  </a:cubicBezTo>
                  <a:cubicBezTo>
                    <a:pt x="322616" y="605240"/>
                    <a:pt x="322091" y="596020"/>
                    <a:pt x="322091" y="591515"/>
                  </a:cubicBezTo>
                  <a:cubicBezTo>
                    <a:pt x="322196" y="475425"/>
                    <a:pt x="315901" y="460652"/>
                    <a:pt x="398262" y="366356"/>
                  </a:cubicBezTo>
                  <a:cubicBezTo>
                    <a:pt x="423233" y="337753"/>
                    <a:pt x="426800" y="292805"/>
                    <a:pt x="443797" y="271221"/>
                  </a:cubicBezTo>
                  <a:cubicBezTo>
                    <a:pt x="458066" y="253095"/>
                    <a:pt x="480833" y="261896"/>
                    <a:pt x="483456" y="277717"/>
                  </a:cubicBezTo>
                  <a:cubicBezTo>
                    <a:pt x="487653" y="302339"/>
                    <a:pt x="461318" y="374633"/>
                    <a:pt x="447993" y="397893"/>
                  </a:cubicBezTo>
                  <a:cubicBezTo>
                    <a:pt x="444636" y="403655"/>
                    <a:pt x="450616" y="414342"/>
                    <a:pt x="460898" y="405122"/>
                  </a:cubicBezTo>
                  <a:cubicBezTo>
                    <a:pt x="471180" y="395902"/>
                    <a:pt x="511994" y="302339"/>
                    <a:pt x="496046" y="240523"/>
                  </a:cubicBezTo>
                  <a:cubicBezTo>
                    <a:pt x="490223" y="217813"/>
                    <a:pt x="500040" y="194337"/>
                    <a:pt x="516156" y="190781"/>
                  </a:cubicBezTo>
                  <a:close/>
                  <a:moveTo>
                    <a:pt x="43528" y="190781"/>
                  </a:moveTo>
                  <a:cubicBezTo>
                    <a:pt x="59644" y="194337"/>
                    <a:pt x="69461" y="217813"/>
                    <a:pt x="63638" y="240523"/>
                  </a:cubicBezTo>
                  <a:cubicBezTo>
                    <a:pt x="47795" y="302339"/>
                    <a:pt x="88504" y="395902"/>
                    <a:pt x="98786" y="405122"/>
                  </a:cubicBezTo>
                  <a:cubicBezTo>
                    <a:pt x="109068" y="414342"/>
                    <a:pt x="115048" y="403655"/>
                    <a:pt x="111691" y="397893"/>
                  </a:cubicBezTo>
                  <a:cubicBezTo>
                    <a:pt x="98366" y="374633"/>
                    <a:pt x="72031" y="302339"/>
                    <a:pt x="76228" y="277717"/>
                  </a:cubicBezTo>
                  <a:cubicBezTo>
                    <a:pt x="78851" y="261896"/>
                    <a:pt x="101618" y="253095"/>
                    <a:pt x="115887" y="271221"/>
                  </a:cubicBezTo>
                  <a:cubicBezTo>
                    <a:pt x="132884" y="292805"/>
                    <a:pt x="136451" y="337753"/>
                    <a:pt x="161422" y="366356"/>
                  </a:cubicBezTo>
                  <a:cubicBezTo>
                    <a:pt x="243783" y="460652"/>
                    <a:pt x="237488" y="475425"/>
                    <a:pt x="237593" y="591515"/>
                  </a:cubicBezTo>
                  <a:cubicBezTo>
                    <a:pt x="237593" y="596020"/>
                    <a:pt x="237068" y="605240"/>
                    <a:pt x="221645" y="605240"/>
                  </a:cubicBezTo>
                  <a:cubicBezTo>
                    <a:pt x="192058" y="605240"/>
                    <a:pt x="170655" y="605240"/>
                    <a:pt x="160163" y="605240"/>
                  </a:cubicBezTo>
                  <a:cubicBezTo>
                    <a:pt x="150615" y="605240"/>
                    <a:pt x="148307" y="599373"/>
                    <a:pt x="147678" y="590781"/>
                  </a:cubicBezTo>
                  <a:cubicBezTo>
                    <a:pt x="146419" y="572551"/>
                    <a:pt x="143166" y="543319"/>
                    <a:pt x="135192" y="538185"/>
                  </a:cubicBezTo>
                  <a:cubicBezTo>
                    <a:pt x="123337" y="530746"/>
                    <a:pt x="55349" y="487370"/>
                    <a:pt x="23139" y="421572"/>
                  </a:cubicBezTo>
                  <a:cubicBezTo>
                    <a:pt x="-15051" y="343725"/>
                    <a:pt x="-48" y="210557"/>
                    <a:pt x="25657" y="194632"/>
                  </a:cubicBezTo>
                  <a:cubicBezTo>
                    <a:pt x="32084" y="190624"/>
                    <a:pt x="38156" y="189596"/>
                    <a:pt x="43528" y="190781"/>
                  </a:cubicBezTo>
                  <a:close/>
                  <a:moveTo>
                    <a:pt x="197335" y="0"/>
                  </a:moveTo>
                  <a:cubicBezTo>
                    <a:pt x="229019" y="0"/>
                    <a:pt x="257660" y="12572"/>
                    <a:pt x="278643" y="33001"/>
                  </a:cubicBezTo>
                  <a:cubicBezTo>
                    <a:pt x="299625" y="12572"/>
                    <a:pt x="328371" y="0"/>
                    <a:pt x="359950" y="0"/>
                  </a:cubicBezTo>
                  <a:cubicBezTo>
                    <a:pt x="424366" y="0"/>
                    <a:pt x="476508" y="52068"/>
                    <a:pt x="476508" y="116393"/>
                  </a:cubicBezTo>
                  <a:cubicBezTo>
                    <a:pt x="476508" y="141326"/>
                    <a:pt x="468640" y="164479"/>
                    <a:pt x="455211" y="183441"/>
                  </a:cubicBezTo>
                  <a:cubicBezTo>
                    <a:pt x="449965" y="191718"/>
                    <a:pt x="443565" y="199261"/>
                    <a:pt x="436222" y="205966"/>
                  </a:cubicBezTo>
                  <a:lnTo>
                    <a:pt x="315257" y="326863"/>
                  </a:lnTo>
                  <a:cubicBezTo>
                    <a:pt x="303192" y="338911"/>
                    <a:pt x="291127" y="351063"/>
                    <a:pt x="278957" y="351063"/>
                  </a:cubicBezTo>
                  <a:cubicBezTo>
                    <a:pt x="278852" y="351063"/>
                    <a:pt x="278747" y="351063"/>
                    <a:pt x="278643" y="351063"/>
                  </a:cubicBezTo>
                  <a:cubicBezTo>
                    <a:pt x="278538" y="351063"/>
                    <a:pt x="278433" y="351063"/>
                    <a:pt x="278328" y="351063"/>
                  </a:cubicBezTo>
                  <a:cubicBezTo>
                    <a:pt x="266263" y="351063"/>
                    <a:pt x="254198" y="338911"/>
                    <a:pt x="242028" y="326863"/>
                  </a:cubicBezTo>
                  <a:lnTo>
                    <a:pt x="121168" y="205966"/>
                  </a:lnTo>
                  <a:cubicBezTo>
                    <a:pt x="113825" y="199261"/>
                    <a:pt x="107425" y="191718"/>
                    <a:pt x="102074" y="183441"/>
                  </a:cubicBezTo>
                  <a:cubicBezTo>
                    <a:pt x="88646" y="164479"/>
                    <a:pt x="80777" y="141326"/>
                    <a:pt x="80777" y="116393"/>
                  </a:cubicBezTo>
                  <a:cubicBezTo>
                    <a:pt x="80777" y="52068"/>
                    <a:pt x="133024" y="0"/>
                    <a:pt x="197335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 sz="1350">
                <a:solidFill>
                  <a:srgbClr val="000000"/>
                </a:solidFill>
              </a:endParaRPr>
            </a:p>
          </p:txBody>
        </p:sp>
      </p:grpSp>
      <p:sp>
        <p:nvSpPr>
          <p:cNvPr id="64" name="ïṣ1íde"/>
          <p:cNvSpPr txBox="1"/>
          <p:nvPr/>
        </p:nvSpPr>
        <p:spPr>
          <a:xfrm>
            <a:off x="4657598" y="3646867"/>
            <a:ext cx="1047395" cy="294384"/>
          </a:xfrm>
          <a:prstGeom prst="rect">
            <a:avLst/>
          </a:prstGeom>
          <a:noFill/>
          <a:ln>
            <a:noFill/>
          </a:ln>
        </p:spPr>
        <p:txBody>
          <a:bodyPr wrap="square" lIns="68580" tIns="34290" rIns="68580" bIns="34290" anchor="b" anchorCtr="0">
            <a:noAutofit/>
          </a:bodyPr>
          <a:lstStyle>
            <a:defPPr>
              <a:defRPr lang="zh-CN"/>
            </a:defPPr>
            <a:lvl1pPr algn="r">
              <a:lnSpc>
                <a:spcPct val="110000"/>
              </a:lnSpc>
              <a:buSzPct val="25000"/>
              <a:defRPr sz="3100" b="1"/>
            </a:lvl1pPr>
          </a:lstStyle>
          <a:p>
            <a:r>
              <a:rPr lang="zh-CN" altLang="en-US" sz="1800" dirty="0">
                <a:solidFill>
                  <a:srgbClr val="000000"/>
                </a:solidFill>
                <a:latin typeface="微软雅黑" panose="020B0503020204020204" pitchFamily="34" charset="-122"/>
              </a:rPr>
              <a:t>全流程</a:t>
            </a:r>
            <a:endParaRPr lang="de-DE" sz="1800" dirty="0">
              <a:solidFill>
                <a:srgbClr val="000000"/>
              </a:solidFill>
              <a:latin typeface="微软雅黑" panose="020B0503020204020204" pitchFamily="34" charset="-122"/>
            </a:endParaRPr>
          </a:p>
        </p:txBody>
      </p:sp>
      <p:sp>
        <p:nvSpPr>
          <p:cNvPr id="65" name="íSlíḓé"/>
          <p:cNvSpPr txBox="1"/>
          <p:nvPr/>
        </p:nvSpPr>
        <p:spPr>
          <a:xfrm>
            <a:off x="4886976" y="3943917"/>
            <a:ext cx="1349940" cy="549350"/>
          </a:xfrm>
          <a:prstGeom prst="rect">
            <a:avLst/>
          </a:prstGeom>
          <a:noFill/>
          <a:ln>
            <a:noFill/>
          </a:ln>
        </p:spPr>
        <p:txBody>
          <a:bodyPr wrap="square" lIns="68580" tIns="34290" rIns="68580" bIns="34290" anchor="t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30000"/>
              </a:lnSpc>
              <a:buSzPct val="25000"/>
            </a:pPr>
            <a:r>
              <a:rPr lang="zh-CN" altLang="en-US" sz="825" dirty="0" smtClean="0">
                <a:solidFill>
                  <a:srgbClr val="000000"/>
                </a:solidFill>
              </a:rPr>
              <a:t>打通从业务需求、开发到交付全流程，全</a:t>
            </a:r>
            <a:r>
              <a:rPr lang="zh-CN" altLang="en-US" sz="825" dirty="0">
                <a:solidFill>
                  <a:srgbClr val="000000"/>
                </a:solidFill>
              </a:rPr>
              <a:t>栈开发模式而非“流水线”模式。</a:t>
            </a:r>
            <a:r>
              <a:rPr lang="de-DE" sz="825" dirty="0" smtClean="0">
                <a:solidFill>
                  <a:srgbClr val="000000"/>
                </a:solidFill>
              </a:rPr>
              <a:t>.</a:t>
            </a:r>
            <a:endParaRPr lang="de-DE" sz="825" dirty="0">
              <a:solidFill>
                <a:srgbClr val="000000"/>
              </a:solidFill>
            </a:endParaRPr>
          </a:p>
        </p:txBody>
      </p:sp>
      <p:sp>
        <p:nvSpPr>
          <p:cNvPr id="62" name="ïṩ1iḍè"/>
          <p:cNvSpPr txBox="1"/>
          <p:nvPr/>
        </p:nvSpPr>
        <p:spPr>
          <a:xfrm>
            <a:off x="4490750" y="2480119"/>
            <a:ext cx="1182443" cy="294384"/>
          </a:xfrm>
          <a:prstGeom prst="rect">
            <a:avLst/>
          </a:prstGeom>
          <a:noFill/>
          <a:ln>
            <a:noFill/>
          </a:ln>
        </p:spPr>
        <p:txBody>
          <a:bodyPr wrap="square" lIns="68580" tIns="34290" rIns="68580" bIns="34290" anchor="b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>
              <a:lnSpc>
                <a:spcPct val="110000"/>
              </a:lnSpc>
              <a:buSzPct val="25000"/>
            </a:pPr>
            <a:r>
              <a:rPr lang="zh-CN" altLang="en-US" b="1" dirty="0">
                <a:solidFill>
                  <a:srgbClr val="000000"/>
                </a:solidFill>
                <a:latin typeface="微软雅黑" panose="020B0503020204020204" pitchFamily="34" charset="-122"/>
              </a:rPr>
              <a:t>短平快</a:t>
            </a:r>
            <a:endParaRPr lang="de-DE" b="1" dirty="0">
              <a:solidFill>
                <a:srgbClr val="000000"/>
              </a:solidFill>
              <a:latin typeface="微软雅黑" panose="020B0503020204020204" pitchFamily="34" charset="-122"/>
            </a:endParaRPr>
          </a:p>
        </p:txBody>
      </p:sp>
      <p:sp>
        <p:nvSpPr>
          <p:cNvPr id="63" name="ïṧ1ïḓê"/>
          <p:cNvSpPr txBox="1"/>
          <p:nvPr/>
        </p:nvSpPr>
        <p:spPr>
          <a:xfrm>
            <a:off x="4853621" y="2774747"/>
            <a:ext cx="1214936" cy="385017"/>
          </a:xfrm>
          <a:prstGeom prst="rect">
            <a:avLst/>
          </a:prstGeom>
          <a:noFill/>
          <a:ln>
            <a:noFill/>
          </a:ln>
        </p:spPr>
        <p:txBody>
          <a:bodyPr wrap="square" lIns="68580" tIns="34290" rIns="68580" bIns="34290" anchor="t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30000"/>
              </a:lnSpc>
              <a:buSzPct val="25000"/>
            </a:pPr>
            <a:r>
              <a:rPr lang="zh-CN" altLang="en-US" sz="900" dirty="0">
                <a:solidFill>
                  <a:srgbClr val="000000"/>
                </a:solidFill>
              </a:rPr>
              <a:t>开发周期短，见效快</a:t>
            </a:r>
            <a:endParaRPr lang="de-DE" sz="900" dirty="0">
              <a:solidFill>
                <a:srgbClr val="000000"/>
              </a:solidFill>
            </a:endParaRPr>
          </a:p>
        </p:txBody>
      </p:sp>
      <p:grpSp>
        <p:nvGrpSpPr>
          <p:cNvPr id="48" name="ïṣḷiḋè"/>
          <p:cNvGrpSpPr/>
          <p:nvPr/>
        </p:nvGrpSpPr>
        <p:grpSpPr>
          <a:xfrm>
            <a:off x="6213090" y="1483572"/>
            <a:ext cx="2143338" cy="627199"/>
            <a:chOff x="8473663" y="5443795"/>
            <a:chExt cx="3547234" cy="836265"/>
          </a:xfrm>
        </p:grpSpPr>
        <p:sp>
          <p:nvSpPr>
            <p:cNvPr id="60" name="íŝ1iḓê"/>
            <p:cNvSpPr txBox="1"/>
            <p:nvPr/>
          </p:nvSpPr>
          <p:spPr>
            <a:xfrm>
              <a:off x="8473663" y="5443795"/>
              <a:ext cx="1713072" cy="39251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68580" tIns="34290" rIns="68580" bIns="34290" anchor="b" anchorCtr="0">
              <a:noAutofit/>
            </a:bodyPr>
            <a:lstStyle>
              <a:defPPr>
                <a:defRPr lang="zh-CN"/>
              </a:defPPr>
              <a:lvl1pPr algn="r">
                <a:lnSpc>
                  <a:spcPct val="110000"/>
                </a:lnSpc>
                <a:buSzPct val="25000"/>
                <a:defRPr sz="3100" b="1"/>
              </a:lvl1pPr>
            </a:lstStyle>
            <a:p>
              <a:r>
                <a:rPr lang="zh-CN" altLang="en-US" sz="1800" dirty="0">
                  <a:solidFill>
                    <a:srgbClr val="000000"/>
                  </a:solidFill>
                  <a:latin typeface="微软雅黑" panose="020B0503020204020204" pitchFamily="34" charset="-122"/>
                </a:rPr>
                <a:t>小而美</a:t>
              </a:r>
              <a:endParaRPr lang="de-DE" sz="1800" dirty="0">
                <a:solidFill>
                  <a:srgbClr val="000000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61" name="îsḻïḋè"/>
            <p:cNvSpPr txBox="1"/>
            <p:nvPr/>
          </p:nvSpPr>
          <p:spPr>
            <a:xfrm>
              <a:off x="9805623" y="5766704"/>
              <a:ext cx="2215274" cy="51335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68580" tIns="34290" rIns="68580" bIns="34290" anchor="t" anchorCtr="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  <a:buSzPct val="25000"/>
              </a:pPr>
              <a:r>
                <a:rPr lang="zh-CN" altLang="en-US" sz="900" dirty="0">
                  <a:solidFill>
                    <a:srgbClr val="000000"/>
                  </a:solidFill>
                </a:rPr>
                <a:t>定位于中小规模自助式分析工具，而非大系统。</a:t>
              </a:r>
              <a:endParaRPr lang="de-DE" sz="900" dirty="0">
                <a:solidFill>
                  <a:srgbClr val="000000"/>
                </a:solidFill>
              </a:endParaRPr>
            </a:p>
          </p:txBody>
        </p:sp>
      </p:grpSp>
      <p:sp>
        <p:nvSpPr>
          <p:cNvPr id="58" name="i$1ïdè"/>
          <p:cNvSpPr txBox="1"/>
          <p:nvPr/>
        </p:nvSpPr>
        <p:spPr>
          <a:xfrm flipH="1">
            <a:off x="7876736" y="3644040"/>
            <a:ext cx="761372" cy="294384"/>
          </a:xfrm>
          <a:prstGeom prst="rect">
            <a:avLst/>
          </a:prstGeom>
          <a:noFill/>
          <a:ln>
            <a:noFill/>
          </a:ln>
        </p:spPr>
        <p:txBody>
          <a:bodyPr wrap="square" lIns="68580" tIns="34290" rIns="68580" bIns="34290" anchor="b" anchorCtr="0">
            <a:noAutofit/>
          </a:bodyPr>
          <a:lstStyle>
            <a:defPPr>
              <a:defRPr lang="zh-CN"/>
            </a:defPPr>
            <a:lvl1pPr algn="r">
              <a:lnSpc>
                <a:spcPct val="110000"/>
              </a:lnSpc>
              <a:buSzPct val="25000"/>
              <a:defRPr sz="2400" b="1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sz="1800" dirty="0">
                <a:solidFill>
                  <a:srgbClr val="000000"/>
                </a:solidFill>
              </a:rPr>
              <a:t>敏捷</a:t>
            </a:r>
            <a:endParaRPr lang="de-DE" sz="1800" dirty="0">
              <a:solidFill>
                <a:srgbClr val="000000"/>
              </a:solidFill>
            </a:endParaRPr>
          </a:p>
        </p:txBody>
      </p:sp>
      <p:sp>
        <p:nvSpPr>
          <p:cNvPr id="59" name="iṩlîďè"/>
          <p:cNvSpPr txBox="1"/>
          <p:nvPr/>
        </p:nvSpPr>
        <p:spPr>
          <a:xfrm flipH="1">
            <a:off x="7644409" y="3934045"/>
            <a:ext cx="1222538" cy="643117"/>
          </a:xfrm>
          <a:prstGeom prst="rect">
            <a:avLst/>
          </a:prstGeom>
          <a:noFill/>
          <a:ln>
            <a:noFill/>
          </a:ln>
        </p:spPr>
        <p:txBody>
          <a:bodyPr wrap="square" lIns="68580" tIns="34290" rIns="68580" bIns="34290" anchor="t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30000"/>
              </a:lnSpc>
              <a:buSzPct val="25000"/>
            </a:pPr>
            <a:r>
              <a:rPr lang="zh-CN" altLang="en-US" sz="825" dirty="0">
                <a:solidFill>
                  <a:srgbClr val="000000"/>
                </a:solidFill>
              </a:rPr>
              <a:t>适应不断变化的业务需求，能够及时响应快速迭代</a:t>
            </a:r>
            <a:r>
              <a:rPr lang="zh-CN" altLang="en-US" sz="825" dirty="0" smtClean="0">
                <a:solidFill>
                  <a:srgbClr val="000000"/>
                </a:solidFill>
              </a:rPr>
              <a:t>，维护修改容易。</a:t>
            </a:r>
            <a:endParaRPr lang="de-DE" sz="825" dirty="0">
              <a:solidFill>
                <a:srgbClr val="000000"/>
              </a:solidFill>
            </a:endParaRPr>
          </a:p>
        </p:txBody>
      </p:sp>
      <p:sp>
        <p:nvSpPr>
          <p:cNvPr id="56" name="ïšlíḓé"/>
          <p:cNvSpPr txBox="1"/>
          <p:nvPr/>
        </p:nvSpPr>
        <p:spPr>
          <a:xfrm flipH="1">
            <a:off x="7788728" y="2379951"/>
            <a:ext cx="1096986" cy="364002"/>
          </a:xfrm>
          <a:prstGeom prst="rect">
            <a:avLst/>
          </a:prstGeom>
          <a:noFill/>
          <a:ln>
            <a:noFill/>
          </a:ln>
        </p:spPr>
        <p:txBody>
          <a:bodyPr wrap="square" lIns="68580" tIns="34290" rIns="68580" bIns="34290" anchor="b" anchorCtr="0">
            <a:noAutofit/>
          </a:bodyPr>
          <a:lstStyle>
            <a:defPPr>
              <a:defRPr lang="zh-CN"/>
            </a:defPPr>
            <a:lvl1pPr algn="r">
              <a:lnSpc>
                <a:spcPct val="110000"/>
              </a:lnSpc>
              <a:buSzPct val="25000"/>
              <a:defRPr sz="3100" b="1"/>
            </a:lvl1pPr>
          </a:lstStyle>
          <a:p>
            <a:r>
              <a:rPr lang="zh-CN" altLang="en-US" sz="1800" dirty="0">
                <a:solidFill>
                  <a:srgbClr val="000000"/>
                </a:solidFill>
                <a:latin typeface="微软雅黑" panose="020B0503020204020204" pitchFamily="34" charset="-122"/>
              </a:rPr>
              <a:t>低成本</a:t>
            </a:r>
            <a:endParaRPr lang="de-DE" sz="1800" dirty="0">
              <a:solidFill>
                <a:srgbClr val="000000"/>
              </a:solidFill>
              <a:latin typeface="微软雅黑" panose="020B0503020204020204" pitchFamily="34" charset="-122"/>
            </a:endParaRPr>
          </a:p>
        </p:txBody>
      </p:sp>
      <p:sp>
        <p:nvSpPr>
          <p:cNvPr id="57" name="ïşḻídè"/>
          <p:cNvSpPr txBox="1"/>
          <p:nvPr/>
        </p:nvSpPr>
        <p:spPr>
          <a:xfrm flipH="1">
            <a:off x="7787609" y="2730965"/>
            <a:ext cx="1209985" cy="720698"/>
          </a:xfrm>
          <a:prstGeom prst="rect">
            <a:avLst/>
          </a:prstGeom>
          <a:noFill/>
          <a:ln>
            <a:noFill/>
          </a:ln>
        </p:spPr>
        <p:txBody>
          <a:bodyPr wrap="square" lIns="68580" tIns="34290" rIns="68580" bIns="34290" anchor="t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30000"/>
              </a:lnSpc>
              <a:buSzPct val="25000"/>
            </a:pPr>
            <a:r>
              <a:rPr lang="zh-CN" altLang="en-US" sz="825" dirty="0">
                <a:solidFill>
                  <a:srgbClr val="000000"/>
                </a:solidFill>
              </a:rPr>
              <a:t>分析与开发语言统一，分析方案代码可快速转换为产品</a:t>
            </a:r>
            <a:r>
              <a:rPr lang="zh-CN" altLang="en-US" sz="825" dirty="0" smtClean="0">
                <a:solidFill>
                  <a:srgbClr val="000000"/>
                </a:solidFill>
              </a:rPr>
              <a:t>代码，开发维护成本低。</a:t>
            </a:r>
            <a:endParaRPr lang="zh-CN" altLang="en-US" sz="825" dirty="0">
              <a:solidFill>
                <a:srgbClr val="000000"/>
              </a:solidFill>
            </a:endParaRPr>
          </a:p>
        </p:txBody>
      </p:sp>
      <p:grpSp>
        <p:nvGrpSpPr>
          <p:cNvPr id="51" name="îŝlïḋé"/>
          <p:cNvGrpSpPr/>
          <p:nvPr/>
        </p:nvGrpSpPr>
        <p:grpSpPr>
          <a:xfrm>
            <a:off x="6619881" y="1754896"/>
            <a:ext cx="416169" cy="414575"/>
            <a:chOff x="5818554" y="2156076"/>
            <a:chExt cx="554892" cy="552766"/>
          </a:xfrm>
        </p:grpSpPr>
        <p:grpSp>
          <p:nvGrpSpPr>
            <p:cNvPr id="52" name="iṧľíḋè"/>
            <p:cNvGrpSpPr/>
            <p:nvPr/>
          </p:nvGrpSpPr>
          <p:grpSpPr>
            <a:xfrm>
              <a:off x="5818554" y="2156076"/>
              <a:ext cx="554892" cy="552766"/>
              <a:chOff x="5818554" y="2156076"/>
              <a:chExt cx="554892" cy="552766"/>
            </a:xfrm>
            <a:solidFill>
              <a:schemeClr val="bg1">
                <a:lumMod val="85000"/>
              </a:schemeClr>
            </a:solidFill>
          </p:grpSpPr>
          <p:sp>
            <p:nvSpPr>
              <p:cNvPr id="54" name="ïślîḓé"/>
              <p:cNvSpPr/>
              <p:nvPr/>
            </p:nvSpPr>
            <p:spPr>
              <a:xfrm>
                <a:off x="5818554" y="2156076"/>
                <a:ext cx="554892" cy="552766"/>
              </a:xfrm>
              <a:custGeom>
                <a:avLst/>
                <a:gdLst>
                  <a:gd name="T0" fmla="*/ 2026 w 5033"/>
                  <a:gd name="T1" fmla="*/ 4906 h 5021"/>
                  <a:gd name="T2" fmla="*/ 1667 w 5033"/>
                  <a:gd name="T3" fmla="*/ 4323 h 5021"/>
                  <a:gd name="T4" fmla="*/ 1237 w 5033"/>
                  <a:gd name="T5" fmla="*/ 4593 h 5021"/>
                  <a:gd name="T6" fmla="*/ 476 w 5033"/>
                  <a:gd name="T7" fmla="*/ 3854 h 5021"/>
                  <a:gd name="T8" fmla="*/ 703 w 5033"/>
                  <a:gd name="T9" fmla="*/ 3292 h 5021"/>
                  <a:gd name="T10" fmla="*/ 141 w 5033"/>
                  <a:gd name="T11" fmla="*/ 3077 h 5021"/>
                  <a:gd name="T12" fmla="*/ 126 w 5033"/>
                  <a:gd name="T13" fmla="*/ 2020 h 5021"/>
                  <a:gd name="T14" fmla="*/ 681 w 5033"/>
                  <a:gd name="T15" fmla="*/ 1780 h 5021"/>
                  <a:gd name="T16" fmla="*/ 441 w 5033"/>
                  <a:gd name="T17" fmla="*/ 1232 h 5021"/>
                  <a:gd name="T18" fmla="*/ 1175 w 5033"/>
                  <a:gd name="T19" fmla="*/ 476 h 5021"/>
                  <a:gd name="T20" fmla="*/ 1598 w 5033"/>
                  <a:gd name="T21" fmla="*/ 725 h 5021"/>
                  <a:gd name="T22" fmla="*/ 1953 w 5033"/>
                  <a:gd name="T23" fmla="*/ 140 h 5021"/>
                  <a:gd name="T24" fmla="*/ 3005 w 5033"/>
                  <a:gd name="T25" fmla="*/ 124 h 5021"/>
                  <a:gd name="T26" fmla="*/ 3368 w 5033"/>
                  <a:gd name="T27" fmla="*/ 696 h 5021"/>
                  <a:gd name="T28" fmla="*/ 3794 w 5033"/>
                  <a:gd name="T29" fmla="*/ 436 h 5021"/>
                  <a:gd name="T30" fmla="*/ 4551 w 5033"/>
                  <a:gd name="T31" fmla="*/ 1167 h 5021"/>
                  <a:gd name="T32" fmla="*/ 4518 w 5033"/>
                  <a:gd name="T33" fmla="*/ 1905 h 5021"/>
                  <a:gd name="T34" fmla="*/ 4984 w 5033"/>
                  <a:gd name="T35" fmla="*/ 2087 h 5021"/>
                  <a:gd name="T36" fmla="*/ 4786 w 5033"/>
                  <a:gd name="T37" fmla="*/ 3037 h 5021"/>
                  <a:gd name="T38" fmla="*/ 4531 w 5033"/>
                  <a:gd name="T39" fmla="*/ 3053 h 5021"/>
                  <a:gd name="T40" fmla="*/ 4599 w 5033"/>
                  <a:gd name="T41" fmla="*/ 3789 h 5021"/>
                  <a:gd name="T42" fmla="*/ 3863 w 5033"/>
                  <a:gd name="T43" fmla="*/ 4551 h 5021"/>
                  <a:gd name="T44" fmla="*/ 3437 w 5033"/>
                  <a:gd name="T45" fmla="*/ 4295 h 5021"/>
                  <a:gd name="T46" fmla="*/ 3087 w 5033"/>
                  <a:gd name="T47" fmla="*/ 4889 h 5021"/>
                  <a:gd name="T48" fmla="*/ 1667 w 5033"/>
                  <a:gd name="T49" fmla="*/ 4167 h 5021"/>
                  <a:gd name="T50" fmla="*/ 2155 w 5033"/>
                  <a:gd name="T51" fmla="*/ 4817 h 5021"/>
                  <a:gd name="T52" fmla="*/ 2955 w 5033"/>
                  <a:gd name="T53" fmla="*/ 4804 h 5021"/>
                  <a:gd name="T54" fmla="*/ 3437 w 5033"/>
                  <a:gd name="T55" fmla="*/ 4138 h 5021"/>
                  <a:gd name="T56" fmla="*/ 3891 w 5033"/>
                  <a:gd name="T57" fmla="*/ 4397 h 5021"/>
                  <a:gd name="T58" fmla="*/ 4446 w 5033"/>
                  <a:gd name="T59" fmla="*/ 3822 h 5021"/>
                  <a:gd name="T60" fmla="*/ 4467 w 5033"/>
                  <a:gd name="T61" fmla="*/ 2910 h 5021"/>
                  <a:gd name="T62" fmla="*/ 4786 w 5033"/>
                  <a:gd name="T63" fmla="*/ 2881 h 5021"/>
                  <a:gd name="T64" fmla="*/ 4830 w 5033"/>
                  <a:gd name="T65" fmla="*/ 2114 h 5021"/>
                  <a:gd name="T66" fmla="*/ 4462 w 5033"/>
                  <a:gd name="T67" fmla="*/ 2050 h 5021"/>
                  <a:gd name="T68" fmla="*/ 4397 w 5033"/>
                  <a:gd name="T69" fmla="*/ 1140 h 5021"/>
                  <a:gd name="T70" fmla="*/ 3826 w 5033"/>
                  <a:gd name="T71" fmla="*/ 589 h 5021"/>
                  <a:gd name="T72" fmla="*/ 3368 w 5033"/>
                  <a:gd name="T73" fmla="*/ 852 h 5021"/>
                  <a:gd name="T74" fmla="*/ 2877 w 5033"/>
                  <a:gd name="T75" fmla="*/ 213 h 5021"/>
                  <a:gd name="T76" fmla="*/ 2084 w 5033"/>
                  <a:gd name="T77" fmla="*/ 225 h 5021"/>
                  <a:gd name="T78" fmla="*/ 1598 w 5033"/>
                  <a:gd name="T79" fmla="*/ 881 h 5021"/>
                  <a:gd name="T80" fmla="*/ 1148 w 5033"/>
                  <a:gd name="T81" fmla="*/ 629 h 5021"/>
                  <a:gd name="T82" fmla="*/ 593 w 5033"/>
                  <a:gd name="T83" fmla="*/ 1199 h 5021"/>
                  <a:gd name="T84" fmla="*/ 827 w 5033"/>
                  <a:gd name="T85" fmla="*/ 1836 h 5021"/>
                  <a:gd name="T86" fmla="*/ 215 w 5033"/>
                  <a:gd name="T87" fmla="*/ 2148 h 5021"/>
                  <a:gd name="T88" fmla="*/ 225 w 5033"/>
                  <a:gd name="T89" fmla="*/ 2946 h 5021"/>
                  <a:gd name="T90" fmla="*/ 846 w 5033"/>
                  <a:gd name="T91" fmla="*/ 3228 h 5021"/>
                  <a:gd name="T92" fmla="*/ 629 w 5033"/>
                  <a:gd name="T93" fmla="*/ 3883 h 5021"/>
                  <a:gd name="T94" fmla="*/ 1203 w 5033"/>
                  <a:gd name="T95" fmla="*/ 4440 h 5021"/>
                  <a:gd name="T96" fmla="*/ 1667 w 5033"/>
                  <a:gd name="T97" fmla="*/ 4167 h 5021"/>
                  <a:gd name="T98" fmla="*/ 2171 w 5033"/>
                  <a:gd name="T99" fmla="*/ 1740 h 5021"/>
                  <a:gd name="T100" fmla="*/ 2861 w 5033"/>
                  <a:gd name="T101" fmla="*/ 3292 h 5021"/>
                  <a:gd name="T102" fmla="*/ 2234 w 5033"/>
                  <a:gd name="T103" fmla="*/ 1883 h 5021"/>
                  <a:gd name="T104" fmla="*/ 2798 w 5033"/>
                  <a:gd name="T105" fmla="*/ 3149 h 50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5033" h="5021">
                    <a:moveTo>
                      <a:pt x="2519" y="5021"/>
                    </a:moveTo>
                    <a:cubicBezTo>
                      <a:pt x="2404" y="5021"/>
                      <a:pt x="2287" y="5013"/>
                      <a:pt x="2173" y="4997"/>
                    </a:cubicBezTo>
                    <a:cubicBezTo>
                      <a:pt x="2114" y="4989"/>
                      <a:pt x="2060" y="4955"/>
                      <a:pt x="2026" y="4906"/>
                    </a:cubicBezTo>
                    <a:cubicBezTo>
                      <a:pt x="1992" y="4857"/>
                      <a:pt x="1980" y="4795"/>
                      <a:pt x="1994" y="4736"/>
                    </a:cubicBezTo>
                    <a:cubicBezTo>
                      <a:pt x="2011" y="4664"/>
                      <a:pt x="2004" y="4590"/>
                      <a:pt x="1974" y="4523"/>
                    </a:cubicBezTo>
                    <a:cubicBezTo>
                      <a:pt x="1920" y="4401"/>
                      <a:pt x="1800" y="4323"/>
                      <a:pt x="1667" y="4323"/>
                    </a:cubicBezTo>
                    <a:cubicBezTo>
                      <a:pt x="1620" y="4323"/>
                      <a:pt x="1574" y="4333"/>
                      <a:pt x="1530" y="4352"/>
                    </a:cubicBezTo>
                    <a:cubicBezTo>
                      <a:pt x="1465" y="4381"/>
                      <a:pt x="1412" y="4429"/>
                      <a:pt x="1376" y="4491"/>
                    </a:cubicBezTo>
                    <a:cubicBezTo>
                      <a:pt x="1346" y="4543"/>
                      <a:pt x="1295" y="4580"/>
                      <a:pt x="1237" y="4593"/>
                    </a:cubicBezTo>
                    <a:cubicBezTo>
                      <a:pt x="1181" y="4606"/>
                      <a:pt x="1116" y="4594"/>
                      <a:pt x="1067" y="4559"/>
                    </a:cubicBezTo>
                    <a:cubicBezTo>
                      <a:pt x="857" y="4410"/>
                      <a:pt x="671" y="4230"/>
                      <a:pt x="515" y="4022"/>
                    </a:cubicBezTo>
                    <a:cubicBezTo>
                      <a:pt x="479" y="3974"/>
                      <a:pt x="465" y="3913"/>
                      <a:pt x="476" y="3854"/>
                    </a:cubicBezTo>
                    <a:cubicBezTo>
                      <a:pt x="487" y="3796"/>
                      <a:pt x="522" y="3744"/>
                      <a:pt x="573" y="3712"/>
                    </a:cubicBezTo>
                    <a:cubicBezTo>
                      <a:pt x="637" y="3672"/>
                      <a:pt x="684" y="3616"/>
                      <a:pt x="710" y="3549"/>
                    </a:cubicBezTo>
                    <a:cubicBezTo>
                      <a:pt x="742" y="3465"/>
                      <a:pt x="740" y="3374"/>
                      <a:pt x="703" y="3292"/>
                    </a:cubicBezTo>
                    <a:cubicBezTo>
                      <a:pt x="666" y="3210"/>
                      <a:pt x="600" y="3147"/>
                      <a:pt x="516" y="3115"/>
                    </a:cubicBezTo>
                    <a:cubicBezTo>
                      <a:pt x="452" y="3090"/>
                      <a:pt x="380" y="3086"/>
                      <a:pt x="311" y="3104"/>
                    </a:cubicBezTo>
                    <a:cubicBezTo>
                      <a:pt x="252" y="3119"/>
                      <a:pt x="190" y="3109"/>
                      <a:pt x="141" y="3077"/>
                    </a:cubicBezTo>
                    <a:cubicBezTo>
                      <a:pt x="90" y="3044"/>
                      <a:pt x="56" y="2992"/>
                      <a:pt x="46" y="2933"/>
                    </a:cubicBezTo>
                    <a:cubicBezTo>
                      <a:pt x="3" y="2681"/>
                      <a:pt x="0" y="2423"/>
                      <a:pt x="36" y="2166"/>
                    </a:cubicBezTo>
                    <a:cubicBezTo>
                      <a:pt x="45" y="2107"/>
                      <a:pt x="77" y="2054"/>
                      <a:pt x="126" y="2020"/>
                    </a:cubicBezTo>
                    <a:cubicBezTo>
                      <a:pt x="175" y="1986"/>
                      <a:pt x="237" y="1974"/>
                      <a:pt x="295" y="1987"/>
                    </a:cubicBezTo>
                    <a:cubicBezTo>
                      <a:pt x="365" y="2003"/>
                      <a:pt x="439" y="1995"/>
                      <a:pt x="504" y="1967"/>
                    </a:cubicBezTo>
                    <a:cubicBezTo>
                      <a:pt x="586" y="1930"/>
                      <a:pt x="649" y="1864"/>
                      <a:pt x="681" y="1780"/>
                    </a:cubicBezTo>
                    <a:cubicBezTo>
                      <a:pt x="713" y="1696"/>
                      <a:pt x="711" y="1605"/>
                      <a:pt x="675" y="1523"/>
                    </a:cubicBezTo>
                    <a:cubicBezTo>
                      <a:pt x="646" y="1459"/>
                      <a:pt x="600" y="1407"/>
                      <a:pt x="540" y="1371"/>
                    </a:cubicBezTo>
                    <a:cubicBezTo>
                      <a:pt x="489" y="1341"/>
                      <a:pt x="453" y="1290"/>
                      <a:pt x="441" y="1232"/>
                    </a:cubicBezTo>
                    <a:cubicBezTo>
                      <a:pt x="429" y="1173"/>
                      <a:pt x="441" y="1112"/>
                      <a:pt x="476" y="1064"/>
                    </a:cubicBezTo>
                    <a:cubicBezTo>
                      <a:pt x="624" y="854"/>
                      <a:pt x="804" y="670"/>
                      <a:pt x="1009" y="515"/>
                    </a:cubicBezTo>
                    <a:cubicBezTo>
                      <a:pt x="1056" y="480"/>
                      <a:pt x="1117" y="466"/>
                      <a:pt x="1175" y="476"/>
                    </a:cubicBezTo>
                    <a:cubicBezTo>
                      <a:pt x="1233" y="486"/>
                      <a:pt x="1285" y="521"/>
                      <a:pt x="1317" y="570"/>
                    </a:cubicBezTo>
                    <a:cubicBezTo>
                      <a:pt x="1357" y="631"/>
                      <a:pt x="1412" y="677"/>
                      <a:pt x="1478" y="702"/>
                    </a:cubicBezTo>
                    <a:cubicBezTo>
                      <a:pt x="1517" y="717"/>
                      <a:pt x="1557" y="725"/>
                      <a:pt x="1598" y="725"/>
                    </a:cubicBezTo>
                    <a:cubicBezTo>
                      <a:pt x="1737" y="725"/>
                      <a:pt x="1863" y="638"/>
                      <a:pt x="1912" y="509"/>
                    </a:cubicBezTo>
                    <a:cubicBezTo>
                      <a:pt x="1937" y="445"/>
                      <a:pt x="1941" y="376"/>
                      <a:pt x="1925" y="308"/>
                    </a:cubicBezTo>
                    <a:cubicBezTo>
                      <a:pt x="1910" y="251"/>
                      <a:pt x="1921" y="189"/>
                      <a:pt x="1953" y="140"/>
                    </a:cubicBezTo>
                    <a:cubicBezTo>
                      <a:pt x="1986" y="90"/>
                      <a:pt x="2038" y="56"/>
                      <a:pt x="2096" y="46"/>
                    </a:cubicBezTo>
                    <a:cubicBezTo>
                      <a:pt x="2345" y="4"/>
                      <a:pt x="2607" y="0"/>
                      <a:pt x="2859" y="35"/>
                    </a:cubicBezTo>
                    <a:cubicBezTo>
                      <a:pt x="2917" y="43"/>
                      <a:pt x="2971" y="75"/>
                      <a:pt x="3005" y="124"/>
                    </a:cubicBezTo>
                    <a:cubicBezTo>
                      <a:pt x="3039" y="172"/>
                      <a:pt x="3051" y="233"/>
                      <a:pt x="3039" y="291"/>
                    </a:cubicBezTo>
                    <a:cubicBezTo>
                      <a:pt x="3024" y="361"/>
                      <a:pt x="3032" y="432"/>
                      <a:pt x="3060" y="496"/>
                    </a:cubicBezTo>
                    <a:cubicBezTo>
                      <a:pt x="3114" y="618"/>
                      <a:pt x="3235" y="696"/>
                      <a:pt x="3368" y="696"/>
                    </a:cubicBezTo>
                    <a:cubicBezTo>
                      <a:pt x="3415" y="696"/>
                      <a:pt x="3461" y="686"/>
                      <a:pt x="3504" y="667"/>
                    </a:cubicBezTo>
                    <a:cubicBezTo>
                      <a:pt x="3567" y="639"/>
                      <a:pt x="3619" y="593"/>
                      <a:pt x="3655" y="534"/>
                    </a:cubicBezTo>
                    <a:cubicBezTo>
                      <a:pt x="3685" y="484"/>
                      <a:pt x="3736" y="448"/>
                      <a:pt x="3794" y="436"/>
                    </a:cubicBezTo>
                    <a:cubicBezTo>
                      <a:pt x="3855" y="423"/>
                      <a:pt x="3913" y="437"/>
                      <a:pt x="3961" y="470"/>
                    </a:cubicBezTo>
                    <a:cubicBezTo>
                      <a:pt x="4171" y="618"/>
                      <a:pt x="4355" y="797"/>
                      <a:pt x="4510" y="1001"/>
                    </a:cubicBezTo>
                    <a:cubicBezTo>
                      <a:pt x="4546" y="1048"/>
                      <a:pt x="4561" y="1109"/>
                      <a:pt x="4551" y="1167"/>
                    </a:cubicBezTo>
                    <a:cubicBezTo>
                      <a:pt x="4540" y="1226"/>
                      <a:pt x="4506" y="1278"/>
                      <a:pt x="4456" y="1310"/>
                    </a:cubicBezTo>
                    <a:cubicBezTo>
                      <a:pt x="4395" y="1349"/>
                      <a:pt x="4350" y="1405"/>
                      <a:pt x="4325" y="1470"/>
                    </a:cubicBezTo>
                    <a:cubicBezTo>
                      <a:pt x="4258" y="1643"/>
                      <a:pt x="4345" y="1838"/>
                      <a:pt x="4518" y="1905"/>
                    </a:cubicBezTo>
                    <a:cubicBezTo>
                      <a:pt x="4582" y="1929"/>
                      <a:pt x="4653" y="1933"/>
                      <a:pt x="4721" y="1916"/>
                    </a:cubicBezTo>
                    <a:cubicBezTo>
                      <a:pt x="4779" y="1902"/>
                      <a:pt x="4840" y="1912"/>
                      <a:pt x="4890" y="1944"/>
                    </a:cubicBezTo>
                    <a:cubicBezTo>
                      <a:pt x="4939" y="1977"/>
                      <a:pt x="4974" y="2029"/>
                      <a:pt x="4984" y="2087"/>
                    </a:cubicBezTo>
                    <a:cubicBezTo>
                      <a:pt x="5028" y="2339"/>
                      <a:pt x="5033" y="2597"/>
                      <a:pt x="4998" y="2852"/>
                    </a:cubicBezTo>
                    <a:cubicBezTo>
                      <a:pt x="4990" y="2911"/>
                      <a:pt x="4957" y="2965"/>
                      <a:pt x="4908" y="2999"/>
                    </a:cubicBezTo>
                    <a:cubicBezTo>
                      <a:pt x="4872" y="3024"/>
                      <a:pt x="4830" y="3037"/>
                      <a:pt x="4786" y="3037"/>
                    </a:cubicBezTo>
                    <a:lnTo>
                      <a:pt x="4786" y="3037"/>
                    </a:lnTo>
                    <a:cubicBezTo>
                      <a:pt x="4770" y="3037"/>
                      <a:pt x="4755" y="3036"/>
                      <a:pt x="4740" y="3032"/>
                    </a:cubicBezTo>
                    <a:cubicBezTo>
                      <a:pt x="4668" y="3016"/>
                      <a:pt x="4596" y="3024"/>
                      <a:pt x="4531" y="3053"/>
                    </a:cubicBezTo>
                    <a:cubicBezTo>
                      <a:pt x="4361" y="3128"/>
                      <a:pt x="4285" y="3327"/>
                      <a:pt x="4360" y="3497"/>
                    </a:cubicBezTo>
                    <a:cubicBezTo>
                      <a:pt x="4389" y="3561"/>
                      <a:pt x="4436" y="3614"/>
                      <a:pt x="4497" y="3650"/>
                    </a:cubicBezTo>
                    <a:cubicBezTo>
                      <a:pt x="4549" y="3680"/>
                      <a:pt x="4586" y="3731"/>
                      <a:pt x="4599" y="3789"/>
                    </a:cubicBezTo>
                    <a:cubicBezTo>
                      <a:pt x="4611" y="3847"/>
                      <a:pt x="4599" y="3909"/>
                      <a:pt x="4565" y="3958"/>
                    </a:cubicBezTo>
                    <a:cubicBezTo>
                      <a:pt x="4416" y="4169"/>
                      <a:pt x="4237" y="4355"/>
                      <a:pt x="4031" y="4511"/>
                    </a:cubicBezTo>
                    <a:cubicBezTo>
                      <a:pt x="3983" y="4547"/>
                      <a:pt x="3922" y="4562"/>
                      <a:pt x="3863" y="4551"/>
                    </a:cubicBezTo>
                    <a:cubicBezTo>
                      <a:pt x="3804" y="4540"/>
                      <a:pt x="3752" y="4505"/>
                      <a:pt x="3720" y="4454"/>
                    </a:cubicBezTo>
                    <a:cubicBezTo>
                      <a:pt x="3680" y="4390"/>
                      <a:pt x="3624" y="4343"/>
                      <a:pt x="3557" y="4317"/>
                    </a:cubicBezTo>
                    <a:cubicBezTo>
                      <a:pt x="3518" y="4302"/>
                      <a:pt x="3477" y="4295"/>
                      <a:pt x="3437" y="4295"/>
                    </a:cubicBezTo>
                    <a:cubicBezTo>
                      <a:pt x="3298" y="4295"/>
                      <a:pt x="3172" y="4381"/>
                      <a:pt x="3122" y="4511"/>
                    </a:cubicBezTo>
                    <a:cubicBezTo>
                      <a:pt x="3097" y="4576"/>
                      <a:pt x="3094" y="4648"/>
                      <a:pt x="3113" y="4718"/>
                    </a:cubicBezTo>
                    <a:cubicBezTo>
                      <a:pt x="3128" y="4776"/>
                      <a:pt x="3119" y="4838"/>
                      <a:pt x="3087" y="4889"/>
                    </a:cubicBezTo>
                    <a:cubicBezTo>
                      <a:pt x="3054" y="4939"/>
                      <a:pt x="3002" y="4974"/>
                      <a:pt x="2943" y="4984"/>
                    </a:cubicBezTo>
                    <a:cubicBezTo>
                      <a:pt x="2803" y="5008"/>
                      <a:pt x="2660" y="5021"/>
                      <a:pt x="2519" y="5021"/>
                    </a:cubicBezTo>
                    <a:close/>
                    <a:moveTo>
                      <a:pt x="1667" y="4167"/>
                    </a:moveTo>
                    <a:cubicBezTo>
                      <a:pt x="1861" y="4167"/>
                      <a:pt x="2038" y="4282"/>
                      <a:pt x="2117" y="4459"/>
                    </a:cubicBezTo>
                    <a:cubicBezTo>
                      <a:pt x="2161" y="4558"/>
                      <a:pt x="2171" y="4666"/>
                      <a:pt x="2146" y="4772"/>
                    </a:cubicBezTo>
                    <a:cubicBezTo>
                      <a:pt x="2142" y="4787"/>
                      <a:pt x="2146" y="4804"/>
                      <a:pt x="2155" y="4817"/>
                    </a:cubicBezTo>
                    <a:cubicBezTo>
                      <a:pt x="2164" y="4831"/>
                      <a:pt x="2178" y="4840"/>
                      <a:pt x="2195" y="4842"/>
                    </a:cubicBezTo>
                    <a:cubicBezTo>
                      <a:pt x="2434" y="4875"/>
                      <a:pt x="2679" y="4872"/>
                      <a:pt x="2916" y="4830"/>
                    </a:cubicBezTo>
                    <a:cubicBezTo>
                      <a:pt x="2932" y="4828"/>
                      <a:pt x="2946" y="4818"/>
                      <a:pt x="2955" y="4804"/>
                    </a:cubicBezTo>
                    <a:cubicBezTo>
                      <a:pt x="2964" y="4791"/>
                      <a:pt x="2966" y="4774"/>
                      <a:pt x="2962" y="4758"/>
                    </a:cubicBezTo>
                    <a:cubicBezTo>
                      <a:pt x="2934" y="4656"/>
                      <a:pt x="2940" y="4551"/>
                      <a:pt x="2977" y="4454"/>
                    </a:cubicBezTo>
                    <a:cubicBezTo>
                      <a:pt x="3049" y="4265"/>
                      <a:pt x="3234" y="4138"/>
                      <a:pt x="3437" y="4138"/>
                    </a:cubicBezTo>
                    <a:cubicBezTo>
                      <a:pt x="3497" y="4138"/>
                      <a:pt x="3556" y="4149"/>
                      <a:pt x="3613" y="4171"/>
                    </a:cubicBezTo>
                    <a:cubicBezTo>
                      <a:pt x="3712" y="4209"/>
                      <a:pt x="3794" y="4278"/>
                      <a:pt x="3852" y="4371"/>
                    </a:cubicBezTo>
                    <a:cubicBezTo>
                      <a:pt x="3861" y="4385"/>
                      <a:pt x="3875" y="4394"/>
                      <a:pt x="3891" y="4397"/>
                    </a:cubicBezTo>
                    <a:cubicBezTo>
                      <a:pt x="3907" y="4400"/>
                      <a:pt x="3924" y="4396"/>
                      <a:pt x="3937" y="4386"/>
                    </a:cubicBezTo>
                    <a:cubicBezTo>
                      <a:pt x="4130" y="4240"/>
                      <a:pt x="4298" y="4066"/>
                      <a:pt x="4437" y="3868"/>
                    </a:cubicBezTo>
                    <a:cubicBezTo>
                      <a:pt x="4446" y="3855"/>
                      <a:pt x="4450" y="3838"/>
                      <a:pt x="4446" y="3822"/>
                    </a:cubicBezTo>
                    <a:cubicBezTo>
                      <a:pt x="4443" y="3806"/>
                      <a:pt x="4433" y="3793"/>
                      <a:pt x="4419" y="3784"/>
                    </a:cubicBezTo>
                    <a:cubicBezTo>
                      <a:pt x="4329" y="3732"/>
                      <a:pt x="4260" y="3655"/>
                      <a:pt x="4218" y="3560"/>
                    </a:cubicBezTo>
                    <a:cubicBezTo>
                      <a:pt x="4107" y="3312"/>
                      <a:pt x="4219" y="3020"/>
                      <a:pt x="4467" y="2910"/>
                    </a:cubicBezTo>
                    <a:cubicBezTo>
                      <a:pt x="4563" y="2868"/>
                      <a:pt x="4670" y="2857"/>
                      <a:pt x="4774" y="2880"/>
                    </a:cubicBezTo>
                    <a:cubicBezTo>
                      <a:pt x="4777" y="2881"/>
                      <a:pt x="4782" y="2881"/>
                      <a:pt x="4786" y="2881"/>
                    </a:cubicBezTo>
                    <a:lnTo>
                      <a:pt x="4786" y="2881"/>
                    </a:lnTo>
                    <a:cubicBezTo>
                      <a:pt x="4798" y="2881"/>
                      <a:pt x="4810" y="2877"/>
                      <a:pt x="4820" y="2871"/>
                    </a:cubicBezTo>
                    <a:cubicBezTo>
                      <a:pt x="4833" y="2862"/>
                      <a:pt x="4841" y="2847"/>
                      <a:pt x="4844" y="2831"/>
                    </a:cubicBezTo>
                    <a:cubicBezTo>
                      <a:pt x="4876" y="2592"/>
                      <a:pt x="4871" y="2350"/>
                      <a:pt x="4830" y="2114"/>
                    </a:cubicBezTo>
                    <a:cubicBezTo>
                      <a:pt x="4827" y="2098"/>
                      <a:pt x="4818" y="2084"/>
                      <a:pt x="4805" y="2075"/>
                    </a:cubicBezTo>
                    <a:cubicBezTo>
                      <a:pt x="4791" y="2066"/>
                      <a:pt x="4775" y="2063"/>
                      <a:pt x="4759" y="2067"/>
                    </a:cubicBezTo>
                    <a:cubicBezTo>
                      <a:pt x="4660" y="2092"/>
                      <a:pt x="4556" y="2086"/>
                      <a:pt x="4462" y="2050"/>
                    </a:cubicBezTo>
                    <a:cubicBezTo>
                      <a:pt x="4209" y="1953"/>
                      <a:pt x="4082" y="1667"/>
                      <a:pt x="4179" y="1414"/>
                    </a:cubicBezTo>
                    <a:cubicBezTo>
                      <a:pt x="4216" y="1318"/>
                      <a:pt x="4283" y="1236"/>
                      <a:pt x="4371" y="1179"/>
                    </a:cubicBezTo>
                    <a:cubicBezTo>
                      <a:pt x="4385" y="1170"/>
                      <a:pt x="4394" y="1156"/>
                      <a:pt x="4397" y="1140"/>
                    </a:cubicBezTo>
                    <a:cubicBezTo>
                      <a:pt x="4400" y="1124"/>
                      <a:pt x="4396" y="1108"/>
                      <a:pt x="4386" y="1095"/>
                    </a:cubicBezTo>
                    <a:cubicBezTo>
                      <a:pt x="4241" y="904"/>
                      <a:pt x="4068" y="736"/>
                      <a:pt x="3871" y="598"/>
                    </a:cubicBezTo>
                    <a:cubicBezTo>
                      <a:pt x="3859" y="589"/>
                      <a:pt x="3842" y="585"/>
                      <a:pt x="3826" y="589"/>
                    </a:cubicBezTo>
                    <a:cubicBezTo>
                      <a:pt x="3810" y="592"/>
                      <a:pt x="3797" y="601"/>
                      <a:pt x="3788" y="615"/>
                    </a:cubicBezTo>
                    <a:cubicBezTo>
                      <a:pt x="3736" y="701"/>
                      <a:pt x="3660" y="769"/>
                      <a:pt x="3568" y="809"/>
                    </a:cubicBezTo>
                    <a:cubicBezTo>
                      <a:pt x="3504" y="838"/>
                      <a:pt x="3437" y="852"/>
                      <a:pt x="3368" y="852"/>
                    </a:cubicBezTo>
                    <a:cubicBezTo>
                      <a:pt x="3174" y="852"/>
                      <a:pt x="2997" y="737"/>
                      <a:pt x="2918" y="560"/>
                    </a:cubicBezTo>
                    <a:cubicBezTo>
                      <a:pt x="2876" y="465"/>
                      <a:pt x="2865" y="361"/>
                      <a:pt x="2886" y="259"/>
                    </a:cubicBezTo>
                    <a:cubicBezTo>
                      <a:pt x="2889" y="243"/>
                      <a:pt x="2886" y="226"/>
                      <a:pt x="2877" y="213"/>
                    </a:cubicBezTo>
                    <a:cubicBezTo>
                      <a:pt x="2868" y="200"/>
                      <a:pt x="2853" y="192"/>
                      <a:pt x="2837" y="189"/>
                    </a:cubicBezTo>
                    <a:cubicBezTo>
                      <a:pt x="2601" y="156"/>
                      <a:pt x="2356" y="160"/>
                      <a:pt x="2123" y="200"/>
                    </a:cubicBezTo>
                    <a:cubicBezTo>
                      <a:pt x="2107" y="203"/>
                      <a:pt x="2093" y="212"/>
                      <a:pt x="2084" y="225"/>
                    </a:cubicBezTo>
                    <a:cubicBezTo>
                      <a:pt x="2075" y="239"/>
                      <a:pt x="2072" y="255"/>
                      <a:pt x="2076" y="271"/>
                    </a:cubicBezTo>
                    <a:cubicBezTo>
                      <a:pt x="2100" y="369"/>
                      <a:pt x="2094" y="471"/>
                      <a:pt x="2058" y="564"/>
                    </a:cubicBezTo>
                    <a:cubicBezTo>
                      <a:pt x="1985" y="754"/>
                      <a:pt x="1801" y="881"/>
                      <a:pt x="1598" y="881"/>
                    </a:cubicBezTo>
                    <a:cubicBezTo>
                      <a:pt x="1538" y="881"/>
                      <a:pt x="1479" y="869"/>
                      <a:pt x="1422" y="848"/>
                    </a:cubicBezTo>
                    <a:cubicBezTo>
                      <a:pt x="1325" y="810"/>
                      <a:pt x="1244" y="744"/>
                      <a:pt x="1186" y="655"/>
                    </a:cubicBezTo>
                    <a:cubicBezTo>
                      <a:pt x="1178" y="642"/>
                      <a:pt x="1164" y="632"/>
                      <a:pt x="1148" y="629"/>
                    </a:cubicBezTo>
                    <a:cubicBezTo>
                      <a:pt x="1132" y="627"/>
                      <a:pt x="1115" y="631"/>
                      <a:pt x="1103" y="640"/>
                    </a:cubicBezTo>
                    <a:cubicBezTo>
                      <a:pt x="910" y="785"/>
                      <a:pt x="742" y="958"/>
                      <a:pt x="603" y="1154"/>
                    </a:cubicBezTo>
                    <a:cubicBezTo>
                      <a:pt x="594" y="1167"/>
                      <a:pt x="590" y="1183"/>
                      <a:pt x="593" y="1199"/>
                    </a:cubicBezTo>
                    <a:cubicBezTo>
                      <a:pt x="597" y="1215"/>
                      <a:pt x="607" y="1229"/>
                      <a:pt x="620" y="1237"/>
                    </a:cubicBezTo>
                    <a:cubicBezTo>
                      <a:pt x="708" y="1289"/>
                      <a:pt x="776" y="1366"/>
                      <a:pt x="817" y="1459"/>
                    </a:cubicBezTo>
                    <a:cubicBezTo>
                      <a:pt x="871" y="1579"/>
                      <a:pt x="874" y="1713"/>
                      <a:pt x="827" y="1836"/>
                    </a:cubicBezTo>
                    <a:cubicBezTo>
                      <a:pt x="780" y="1959"/>
                      <a:pt x="687" y="2056"/>
                      <a:pt x="567" y="2109"/>
                    </a:cubicBezTo>
                    <a:cubicBezTo>
                      <a:pt x="471" y="2151"/>
                      <a:pt x="364" y="2162"/>
                      <a:pt x="261" y="2139"/>
                    </a:cubicBezTo>
                    <a:cubicBezTo>
                      <a:pt x="244" y="2136"/>
                      <a:pt x="228" y="2139"/>
                      <a:pt x="215" y="2148"/>
                    </a:cubicBezTo>
                    <a:cubicBezTo>
                      <a:pt x="202" y="2157"/>
                      <a:pt x="193" y="2172"/>
                      <a:pt x="191" y="2188"/>
                    </a:cubicBezTo>
                    <a:cubicBezTo>
                      <a:pt x="156" y="2429"/>
                      <a:pt x="159" y="2670"/>
                      <a:pt x="200" y="2906"/>
                    </a:cubicBezTo>
                    <a:cubicBezTo>
                      <a:pt x="202" y="2923"/>
                      <a:pt x="212" y="2937"/>
                      <a:pt x="225" y="2946"/>
                    </a:cubicBezTo>
                    <a:cubicBezTo>
                      <a:pt x="239" y="2954"/>
                      <a:pt x="256" y="2957"/>
                      <a:pt x="272" y="2953"/>
                    </a:cubicBezTo>
                    <a:cubicBezTo>
                      <a:pt x="371" y="2927"/>
                      <a:pt x="477" y="2932"/>
                      <a:pt x="572" y="2969"/>
                    </a:cubicBezTo>
                    <a:cubicBezTo>
                      <a:pt x="695" y="3016"/>
                      <a:pt x="792" y="3108"/>
                      <a:pt x="846" y="3228"/>
                    </a:cubicBezTo>
                    <a:cubicBezTo>
                      <a:pt x="899" y="3348"/>
                      <a:pt x="902" y="3482"/>
                      <a:pt x="855" y="3605"/>
                    </a:cubicBezTo>
                    <a:cubicBezTo>
                      <a:pt x="817" y="3704"/>
                      <a:pt x="748" y="3787"/>
                      <a:pt x="655" y="3844"/>
                    </a:cubicBezTo>
                    <a:cubicBezTo>
                      <a:pt x="642" y="3853"/>
                      <a:pt x="632" y="3867"/>
                      <a:pt x="629" y="3883"/>
                    </a:cubicBezTo>
                    <a:cubicBezTo>
                      <a:pt x="626" y="3899"/>
                      <a:pt x="630" y="3915"/>
                      <a:pt x="640" y="3928"/>
                    </a:cubicBezTo>
                    <a:cubicBezTo>
                      <a:pt x="786" y="4123"/>
                      <a:pt x="960" y="4292"/>
                      <a:pt x="1157" y="4431"/>
                    </a:cubicBezTo>
                    <a:cubicBezTo>
                      <a:pt x="1170" y="4440"/>
                      <a:pt x="1187" y="4444"/>
                      <a:pt x="1203" y="4440"/>
                    </a:cubicBezTo>
                    <a:cubicBezTo>
                      <a:pt x="1219" y="4437"/>
                      <a:pt x="1233" y="4427"/>
                      <a:pt x="1241" y="4413"/>
                    </a:cubicBezTo>
                    <a:cubicBezTo>
                      <a:pt x="1294" y="4322"/>
                      <a:pt x="1372" y="4252"/>
                      <a:pt x="1467" y="4209"/>
                    </a:cubicBezTo>
                    <a:cubicBezTo>
                      <a:pt x="1530" y="4181"/>
                      <a:pt x="1598" y="4167"/>
                      <a:pt x="1667" y="4167"/>
                    </a:cubicBezTo>
                    <a:close/>
                    <a:moveTo>
                      <a:pt x="2517" y="3365"/>
                    </a:moveTo>
                    <a:cubicBezTo>
                      <a:pt x="2181" y="3365"/>
                      <a:pt x="1876" y="3167"/>
                      <a:pt x="1740" y="2861"/>
                    </a:cubicBezTo>
                    <a:cubicBezTo>
                      <a:pt x="1550" y="2433"/>
                      <a:pt x="1743" y="1930"/>
                      <a:pt x="2171" y="1740"/>
                    </a:cubicBezTo>
                    <a:cubicBezTo>
                      <a:pt x="2281" y="1691"/>
                      <a:pt x="2397" y="1667"/>
                      <a:pt x="2516" y="1667"/>
                    </a:cubicBezTo>
                    <a:cubicBezTo>
                      <a:pt x="2851" y="1667"/>
                      <a:pt x="3156" y="1865"/>
                      <a:pt x="3292" y="2171"/>
                    </a:cubicBezTo>
                    <a:cubicBezTo>
                      <a:pt x="3482" y="2599"/>
                      <a:pt x="3289" y="3101"/>
                      <a:pt x="2861" y="3292"/>
                    </a:cubicBezTo>
                    <a:cubicBezTo>
                      <a:pt x="2752" y="3341"/>
                      <a:pt x="2636" y="3365"/>
                      <a:pt x="2517" y="3365"/>
                    </a:cubicBezTo>
                    <a:close/>
                    <a:moveTo>
                      <a:pt x="2516" y="1823"/>
                    </a:moveTo>
                    <a:cubicBezTo>
                      <a:pt x="2419" y="1823"/>
                      <a:pt x="2324" y="1843"/>
                      <a:pt x="2234" y="1883"/>
                    </a:cubicBezTo>
                    <a:cubicBezTo>
                      <a:pt x="1885" y="2038"/>
                      <a:pt x="1728" y="2449"/>
                      <a:pt x="1883" y="2798"/>
                    </a:cubicBezTo>
                    <a:cubicBezTo>
                      <a:pt x="1994" y="3048"/>
                      <a:pt x="2243" y="3209"/>
                      <a:pt x="2517" y="3209"/>
                    </a:cubicBezTo>
                    <a:cubicBezTo>
                      <a:pt x="2614" y="3209"/>
                      <a:pt x="2708" y="3189"/>
                      <a:pt x="2798" y="3149"/>
                    </a:cubicBezTo>
                    <a:cubicBezTo>
                      <a:pt x="3147" y="2994"/>
                      <a:pt x="3305" y="2583"/>
                      <a:pt x="3149" y="2234"/>
                    </a:cubicBezTo>
                    <a:cubicBezTo>
                      <a:pt x="3038" y="1984"/>
                      <a:pt x="2789" y="1823"/>
                      <a:pt x="2516" y="182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wrap="square" lIns="68580" tIns="34290" rIns="68580" bIns="3429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îṧlîde"/>
              <p:cNvSpPr/>
              <p:nvPr/>
            </p:nvSpPr>
            <p:spPr>
              <a:xfrm>
                <a:off x="5891639" y="2228098"/>
                <a:ext cx="408723" cy="40872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68580" tIns="34290" rIns="68580" bIns="34290" rtlCol="0" anchor="ctr">
                <a:normAutofit fontScale="82500" lnSpcReduction="20000"/>
              </a:bodyPr>
              <a:lstStyle/>
              <a:p>
                <a:pPr algn="ctr"/>
                <a:endParaRPr lang="zh-CN" altLang="en-US" sz="1350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53" name="íšḷïḑè"/>
            <p:cNvSpPr/>
            <p:nvPr/>
          </p:nvSpPr>
          <p:spPr bwMode="auto">
            <a:xfrm>
              <a:off x="6000414" y="2329092"/>
              <a:ext cx="191172" cy="206734"/>
            </a:xfrm>
            <a:custGeom>
              <a:avLst/>
              <a:gdLst>
                <a:gd name="connsiteX0" fmla="*/ 516156 w 559684"/>
                <a:gd name="connsiteY0" fmla="*/ 190781 h 605240"/>
                <a:gd name="connsiteX1" fmla="*/ 534027 w 559684"/>
                <a:gd name="connsiteY1" fmla="*/ 194632 h 605240"/>
                <a:gd name="connsiteX2" fmla="*/ 536545 w 559684"/>
                <a:gd name="connsiteY2" fmla="*/ 421572 h 605240"/>
                <a:gd name="connsiteX3" fmla="*/ 424492 w 559684"/>
                <a:gd name="connsiteY3" fmla="*/ 538185 h 605240"/>
                <a:gd name="connsiteX4" fmla="*/ 412006 w 559684"/>
                <a:gd name="connsiteY4" fmla="*/ 590781 h 605240"/>
                <a:gd name="connsiteX5" fmla="*/ 399521 w 559684"/>
                <a:gd name="connsiteY5" fmla="*/ 605240 h 605240"/>
                <a:gd name="connsiteX6" fmla="*/ 338039 w 559684"/>
                <a:gd name="connsiteY6" fmla="*/ 605240 h 605240"/>
                <a:gd name="connsiteX7" fmla="*/ 322091 w 559684"/>
                <a:gd name="connsiteY7" fmla="*/ 591515 h 605240"/>
                <a:gd name="connsiteX8" fmla="*/ 398262 w 559684"/>
                <a:gd name="connsiteY8" fmla="*/ 366356 h 605240"/>
                <a:gd name="connsiteX9" fmla="*/ 443797 w 559684"/>
                <a:gd name="connsiteY9" fmla="*/ 271221 h 605240"/>
                <a:gd name="connsiteX10" fmla="*/ 483456 w 559684"/>
                <a:gd name="connsiteY10" fmla="*/ 277717 h 605240"/>
                <a:gd name="connsiteX11" fmla="*/ 447993 w 559684"/>
                <a:gd name="connsiteY11" fmla="*/ 397893 h 605240"/>
                <a:gd name="connsiteX12" fmla="*/ 460898 w 559684"/>
                <a:gd name="connsiteY12" fmla="*/ 405122 h 605240"/>
                <a:gd name="connsiteX13" fmla="*/ 496046 w 559684"/>
                <a:gd name="connsiteY13" fmla="*/ 240523 h 605240"/>
                <a:gd name="connsiteX14" fmla="*/ 516156 w 559684"/>
                <a:gd name="connsiteY14" fmla="*/ 190781 h 605240"/>
                <a:gd name="connsiteX15" fmla="*/ 43528 w 559684"/>
                <a:gd name="connsiteY15" fmla="*/ 190781 h 605240"/>
                <a:gd name="connsiteX16" fmla="*/ 63638 w 559684"/>
                <a:gd name="connsiteY16" fmla="*/ 240523 h 605240"/>
                <a:gd name="connsiteX17" fmla="*/ 98786 w 559684"/>
                <a:gd name="connsiteY17" fmla="*/ 405122 h 605240"/>
                <a:gd name="connsiteX18" fmla="*/ 111691 w 559684"/>
                <a:gd name="connsiteY18" fmla="*/ 397893 h 605240"/>
                <a:gd name="connsiteX19" fmla="*/ 76228 w 559684"/>
                <a:gd name="connsiteY19" fmla="*/ 277717 h 605240"/>
                <a:gd name="connsiteX20" fmla="*/ 115887 w 559684"/>
                <a:gd name="connsiteY20" fmla="*/ 271221 h 605240"/>
                <a:gd name="connsiteX21" fmla="*/ 161422 w 559684"/>
                <a:gd name="connsiteY21" fmla="*/ 366356 h 605240"/>
                <a:gd name="connsiteX22" fmla="*/ 237593 w 559684"/>
                <a:gd name="connsiteY22" fmla="*/ 591515 h 605240"/>
                <a:gd name="connsiteX23" fmla="*/ 221645 w 559684"/>
                <a:gd name="connsiteY23" fmla="*/ 605240 h 605240"/>
                <a:gd name="connsiteX24" fmla="*/ 160163 w 559684"/>
                <a:gd name="connsiteY24" fmla="*/ 605240 h 605240"/>
                <a:gd name="connsiteX25" fmla="*/ 147678 w 559684"/>
                <a:gd name="connsiteY25" fmla="*/ 590781 h 605240"/>
                <a:gd name="connsiteX26" fmla="*/ 135192 w 559684"/>
                <a:gd name="connsiteY26" fmla="*/ 538185 h 605240"/>
                <a:gd name="connsiteX27" fmla="*/ 23139 w 559684"/>
                <a:gd name="connsiteY27" fmla="*/ 421572 h 605240"/>
                <a:gd name="connsiteX28" fmla="*/ 25657 w 559684"/>
                <a:gd name="connsiteY28" fmla="*/ 194632 h 605240"/>
                <a:gd name="connsiteX29" fmla="*/ 43528 w 559684"/>
                <a:gd name="connsiteY29" fmla="*/ 190781 h 605240"/>
                <a:gd name="connsiteX30" fmla="*/ 197335 w 559684"/>
                <a:gd name="connsiteY30" fmla="*/ 0 h 605240"/>
                <a:gd name="connsiteX31" fmla="*/ 278643 w 559684"/>
                <a:gd name="connsiteY31" fmla="*/ 33001 h 605240"/>
                <a:gd name="connsiteX32" fmla="*/ 359950 w 559684"/>
                <a:gd name="connsiteY32" fmla="*/ 0 h 605240"/>
                <a:gd name="connsiteX33" fmla="*/ 476508 w 559684"/>
                <a:gd name="connsiteY33" fmla="*/ 116393 h 605240"/>
                <a:gd name="connsiteX34" fmla="*/ 455211 w 559684"/>
                <a:gd name="connsiteY34" fmla="*/ 183441 h 605240"/>
                <a:gd name="connsiteX35" fmla="*/ 436222 w 559684"/>
                <a:gd name="connsiteY35" fmla="*/ 205966 h 605240"/>
                <a:gd name="connsiteX36" fmla="*/ 315257 w 559684"/>
                <a:gd name="connsiteY36" fmla="*/ 326863 h 605240"/>
                <a:gd name="connsiteX37" fmla="*/ 278957 w 559684"/>
                <a:gd name="connsiteY37" fmla="*/ 351063 h 605240"/>
                <a:gd name="connsiteX38" fmla="*/ 278643 w 559684"/>
                <a:gd name="connsiteY38" fmla="*/ 351063 h 605240"/>
                <a:gd name="connsiteX39" fmla="*/ 278328 w 559684"/>
                <a:gd name="connsiteY39" fmla="*/ 351063 h 605240"/>
                <a:gd name="connsiteX40" fmla="*/ 242028 w 559684"/>
                <a:gd name="connsiteY40" fmla="*/ 326863 h 605240"/>
                <a:gd name="connsiteX41" fmla="*/ 121168 w 559684"/>
                <a:gd name="connsiteY41" fmla="*/ 205966 h 605240"/>
                <a:gd name="connsiteX42" fmla="*/ 102074 w 559684"/>
                <a:gd name="connsiteY42" fmla="*/ 183441 h 605240"/>
                <a:gd name="connsiteX43" fmla="*/ 80777 w 559684"/>
                <a:gd name="connsiteY43" fmla="*/ 116393 h 605240"/>
                <a:gd name="connsiteX44" fmla="*/ 197335 w 559684"/>
                <a:gd name="connsiteY44" fmla="*/ 0 h 605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559684" h="605240">
                  <a:moveTo>
                    <a:pt x="516156" y="190781"/>
                  </a:moveTo>
                  <a:cubicBezTo>
                    <a:pt x="521528" y="189596"/>
                    <a:pt x="527600" y="190624"/>
                    <a:pt x="534027" y="194632"/>
                  </a:cubicBezTo>
                  <a:cubicBezTo>
                    <a:pt x="559732" y="210557"/>
                    <a:pt x="574735" y="343725"/>
                    <a:pt x="536545" y="421572"/>
                  </a:cubicBezTo>
                  <a:cubicBezTo>
                    <a:pt x="504335" y="487370"/>
                    <a:pt x="436348" y="530746"/>
                    <a:pt x="424492" y="538185"/>
                  </a:cubicBezTo>
                  <a:cubicBezTo>
                    <a:pt x="416518" y="543319"/>
                    <a:pt x="413265" y="572551"/>
                    <a:pt x="412006" y="590781"/>
                  </a:cubicBezTo>
                  <a:cubicBezTo>
                    <a:pt x="411377" y="599373"/>
                    <a:pt x="409069" y="605240"/>
                    <a:pt x="399521" y="605240"/>
                  </a:cubicBezTo>
                  <a:cubicBezTo>
                    <a:pt x="389029" y="605240"/>
                    <a:pt x="367626" y="605240"/>
                    <a:pt x="338039" y="605240"/>
                  </a:cubicBezTo>
                  <a:cubicBezTo>
                    <a:pt x="322616" y="605240"/>
                    <a:pt x="322091" y="596020"/>
                    <a:pt x="322091" y="591515"/>
                  </a:cubicBezTo>
                  <a:cubicBezTo>
                    <a:pt x="322196" y="475425"/>
                    <a:pt x="315901" y="460652"/>
                    <a:pt x="398262" y="366356"/>
                  </a:cubicBezTo>
                  <a:cubicBezTo>
                    <a:pt x="423233" y="337753"/>
                    <a:pt x="426800" y="292805"/>
                    <a:pt x="443797" y="271221"/>
                  </a:cubicBezTo>
                  <a:cubicBezTo>
                    <a:pt x="458066" y="253095"/>
                    <a:pt x="480833" y="261896"/>
                    <a:pt x="483456" y="277717"/>
                  </a:cubicBezTo>
                  <a:cubicBezTo>
                    <a:pt x="487653" y="302339"/>
                    <a:pt x="461318" y="374633"/>
                    <a:pt x="447993" y="397893"/>
                  </a:cubicBezTo>
                  <a:cubicBezTo>
                    <a:pt x="444636" y="403655"/>
                    <a:pt x="450616" y="414342"/>
                    <a:pt x="460898" y="405122"/>
                  </a:cubicBezTo>
                  <a:cubicBezTo>
                    <a:pt x="471180" y="395902"/>
                    <a:pt x="511994" y="302339"/>
                    <a:pt x="496046" y="240523"/>
                  </a:cubicBezTo>
                  <a:cubicBezTo>
                    <a:pt x="490223" y="217813"/>
                    <a:pt x="500040" y="194337"/>
                    <a:pt x="516156" y="190781"/>
                  </a:cubicBezTo>
                  <a:close/>
                  <a:moveTo>
                    <a:pt x="43528" y="190781"/>
                  </a:moveTo>
                  <a:cubicBezTo>
                    <a:pt x="59644" y="194337"/>
                    <a:pt x="69461" y="217813"/>
                    <a:pt x="63638" y="240523"/>
                  </a:cubicBezTo>
                  <a:cubicBezTo>
                    <a:pt x="47795" y="302339"/>
                    <a:pt x="88504" y="395902"/>
                    <a:pt x="98786" y="405122"/>
                  </a:cubicBezTo>
                  <a:cubicBezTo>
                    <a:pt x="109068" y="414342"/>
                    <a:pt x="115048" y="403655"/>
                    <a:pt x="111691" y="397893"/>
                  </a:cubicBezTo>
                  <a:cubicBezTo>
                    <a:pt x="98366" y="374633"/>
                    <a:pt x="72031" y="302339"/>
                    <a:pt x="76228" y="277717"/>
                  </a:cubicBezTo>
                  <a:cubicBezTo>
                    <a:pt x="78851" y="261896"/>
                    <a:pt x="101618" y="253095"/>
                    <a:pt x="115887" y="271221"/>
                  </a:cubicBezTo>
                  <a:cubicBezTo>
                    <a:pt x="132884" y="292805"/>
                    <a:pt x="136451" y="337753"/>
                    <a:pt x="161422" y="366356"/>
                  </a:cubicBezTo>
                  <a:cubicBezTo>
                    <a:pt x="243783" y="460652"/>
                    <a:pt x="237488" y="475425"/>
                    <a:pt x="237593" y="591515"/>
                  </a:cubicBezTo>
                  <a:cubicBezTo>
                    <a:pt x="237593" y="596020"/>
                    <a:pt x="237068" y="605240"/>
                    <a:pt x="221645" y="605240"/>
                  </a:cubicBezTo>
                  <a:cubicBezTo>
                    <a:pt x="192058" y="605240"/>
                    <a:pt x="170655" y="605240"/>
                    <a:pt x="160163" y="605240"/>
                  </a:cubicBezTo>
                  <a:cubicBezTo>
                    <a:pt x="150615" y="605240"/>
                    <a:pt x="148307" y="599373"/>
                    <a:pt x="147678" y="590781"/>
                  </a:cubicBezTo>
                  <a:cubicBezTo>
                    <a:pt x="146419" y="572551"/>
                    <a:pt x="143166" y="543319"/>
                    <a:pt x="135192" y="538185"/>
                  </a:cubicBezTo>
                  <a:cubicBezTo>
                    <a:pt x="123337" y="530746"/>
                    <a:pt x="55349" y="487370"/>
                    <a:pt x="23139" y="421572"/>
                  </a:cubicBezTo>
                  <a:cubicBezTo>
                    <a:pt x="-15051" y="343725"/>
                    <a:pt x="-48" y="210557"/>
                    <a:pt x="25657" y="194632"/>
                  </a:cubicBezTo>
                  <a:cubicBezTo>
                    <a:pt x="32084" y="190624"/>
                    <a:pt x="38156" y="189596"/>
                    <a:pt x="43528" y="190781"/>
                  </a:cubicBezTo>
                  <a:close/>
                  <a:moveTo>
                    <a:pt x="197335" y="0"/>
                  </a:moveTo>
                  <a:cubicBezTo>
                    <a:pt x="229019" y="0"/>
                    <a:pt x="257660" y="12572"/>
                    <a:pt x="278643" y="33001"/>
                  </a:cubicBezTo>
                  <a:cubicBezTo>
                    <a:pt x="299625" y="12572"/>
                    <a:pt x="328371" y="0"/>
                    <a:pt x="359950" y="0"/>
                  </a:cubicBezTo>
                  <a:cubicBezTo>
                    <a:pt x="424366" y="0"/>
                    <a:pt x="476508" y="52068"/>
                    <a:pt x="476508" y="116393"/>
                  </a:cubicBezTo>
                  <a:cubicBezTo>
                    <a:pt x="476508" y="141326"/>
                    <a:pt x="468640" y="164479"/>
                    <a:pt x="455211" y="183441"/>
                  </a:cubicBezTo>
                  <a:cubicBezTo>
                    <a:pt x="449965" y="191718"/>
                    <a:pt x="443565" y="199261"/>
                    <a:pt x="436222" y="205966"/>
                  </a:cubicBezTo>
                  <a:lnTo>
                    <a:pt x="315257" y="326863"/>
                  </a:lnTo>
                  <a:cubicBezTo>
                    <a:pt x="303192" y="338911"/>
                    <a:pt x="291127" y="351063"/>
                    <a:pt x="278957" y="351063"/>
                  </a:cubicBezTo>
                  <a:cubicBezTo>
                    <a:pt x="278852" y="351063"/>
                    <a:pt x="278747" y="351063"/>
                    <a:pt x="278643" y="351063"/>
                  </a:cubicBezTo>
                  <a:cubicBezTo>
                    <a:pt x="278538" y="351063"/>
                    <a:pt x="278433" y="351063"/>
                    <a:pt x="278328" y="351063"/>
                  </a:cubicBezTo>
                  <a:cubicBezTo>
                    <a:pt x="266263" y="351063"/>
                    <a:pt x="254198" y="338911"/>
                    <a:pt x="242028" y="326863"/>
                  </a:cubicBezTo>
                  <a:lnTo>
                    <a:pt x="121168" y="205966"/>
                  </a:lnTo>
                  <a:cubicBezTo>
                    <a:pt x="113825" y="199261"/>
                    <a:pt x="107425" y="191718"/>
                    <a:pt x="102074" y="183441"/>
                  </a:cubicBezTo>
                  <a:cubicBezTo>
                    <a:pt x="88646" y="164479"/>
                    <a:pt x="80777" y="141326"/>
                    <a:pt x="80777" y="116393"/>
                  </a:cubicBezTo>
                  <a:cubicBezTo>
                    <a:pt x="80777" y="52068"/>
                    <a:pt x="133024" y="0"/>
                    <a:pt x="197335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 sz="1350">
                <a:solidFill>
                  <a:srgbClr val="000000"/>
                </a:solidFill>
              </a:endParaRPr>
            </a:p>
          </p:txBody>
        </p:sp>
      </p:grpSp>
      <p:sp>
        <p:nvSpPr>
          <p:cNvPr id="3" name="矩形 2"/>
          <p:cNvSpPr/>
          <p:nvPr/>
        </p:nvSpPr>
        <p:spPr>
          <a:xfrm>
            <a:off x="6284841" y="3001099"/>
            <a:ext cx="1211580" cy="29908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1350" b="1" dirty="0">
                <a:solidFill>
                  <a:srgbClr val="000000"/>
                </a:solidFill>
              </a:rPr>
              <a:t>产品开发模式</a:t>
            </a:r>
            <a:endParaRPr lang="zh-CN" altLang="en-US" sz="1350" dirty="0">
              <a:solidFill>
                <a:srgbClr val="000000"/>
              </a:solidFill>
            </a:endParaRPr>
          </a:p>
        </p:txBody>
      </p:sp>
      <p:sp>
        <p:nvSpPr>
          <p:cNvPr id="95" name="右箭头 94"/>
          <p:cNvSpPr/>
          <p:nvPr/>
        </p:nvSpPr>
        <p:spPr>
          <a:xfrm>
            <a:off x="4270439" y="2454959"/>
            <a:ext cx="491647" cy="1172697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>
              <a:solidFill>
                <a:srgbClr val="FFFFFF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椭圆 60"/>
          <p:cNvSpPr/>
          <p:nvPr/>
        </p:nvSpPr>
        <p:spPr>
          <a:xfrm>
            <a:off x="196082" y="1484906"/>
            <a:ext cx="3900964" cy="3290276"/>
          </a:xfrm>
          <a:prstGeom prst="ellipse">
            <a:avLst/>
          </a:prstGeom>
          <a:solidFill>
            <a:srgbClr val="00B0F0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>
              <a:solidFill>
                <a:srgbClr val="FFFFFF"/>
              </a:solidFill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AA</a:t>
            </a:r>
            <a:r>
              <a:rPr lang="zh-CN" altLang="en-US" dirty="0" smtClean="0"/>
              <a:t>模式：从</a:t>
            </a:r>
            <a:r>
              <a:rPr lang="zh-CN" altLang="en-US" dirty="0"/>
              <a:t>“流水线”作业到</a:t>
            </a:r>
            <a:r>
              <a:rPr lang="zh-CN" altLang="en-US" dirty="0" smtClean="0"/>
              <a:t>“一条龙”服务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6457949" y="4874207"/>
            <a:ext cx="2182416" cy="154813"/>
          </a:xfrm>
        </p:spPr>
        <p:txBody>
          <a:bodyPr/>
          <a:lstStyle/>
          <a:p>
            <a:pPr>
              <a:defRPr/>
            </a:pPr>
            <a:fld id="{5DD3DB80-B894-403A-B48E-6FDC1A72010E}" type="slidenum">
              <a:rPr lang="zh-CN" altLang="en-US" sz="425" smtClean="0">
                <a:solidFill>
                  <a:srgbClr val="000000"/>
                </a:solidFill>
              </a:rPr>
              <a:t>6</a:t>
            </a:fld>
            <a:endParaRPr lang="zh-CN" altLang="en-US" sz="425" dirty="0">
              <a:solidFill>
                <a:srgbClr val="000000"/>
              </a:solidFill>
            </a:endParaRPr>
          </a:p>
        </p:txBody>
      </p:sp>
      <p:grpSp>
        <p:nvGrpSpPr>
          <p:cNvPr id="10" name="组合 9"/>
          <p:cNvGrpSpPr/>
          <p:nvPr/>
        </p:nvGrpSpPr>
        <p:grpSpPr>
          <a:xfrm>
            <a:off x="4607480" y="1252038"/>
            <a:ext cx="4199338" cy="3660198"/>
            <a:chOff x="5954106" y="1481372"/>
            <a:chExt cx="5599117" cy="4880264"/>
          </a:xfrm>
        </p:grpSpPr>
        <p:pic>
          <p:nvPicPr>
            <p:cNvPr id="5" name="图片 4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6859"/>
            <a:stretch>
              <a:fillRect/>
            </a:stretch>
          </p:blipFill>
          <p:spPr>
            <a:xfrm>
              <a:off x="6095205" y="1481372"/>
              <a:ext cx="5239603" cy="4880264"/>
            </a:xfrm>
            <a:prstGeom prst="rect">
              <a:avLst/>
            </a:prstGeom>
          </p:spPr>
        </p:pic>
        <p:sp>
          <p:nvSpPr>
            <p:cNvPr id="7" name="矩形 6"/>
            <p:cNvSpPr/>
            <p:nvPr/>
          </p:nvSpPr>
          <p:spPr>
            <a:xfrm>
              <a:off x="7609728" y="1571840"/>
              <a:ext cx="3422066" cy="2012018"/>
            </a:xfrm>
            <a:prstGeom prst="rect">
              <a:avLst/>
            </a:prstGeom>
            <a:solidFill>
              <a:srgbClr val="69584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350">
                <a:solidFill>
                  <a:srgbClr val="FFFFFF"/>
                </a:solidFill>
              </a:endParaRPr>
            </a:p>
          </p:txBody>
        </p:sp>
        <p:sp>
          <p:nvSpPr>
            <p:cNvPr id="8" name="文本框 7"/>
            <p:cNvSpPr txBox="1"/>
            <p:nvPr/>
          </p:nvSpPr>
          <p:spPr>
            <a:xfrm>
              <a:off x="5954106" y="1656218"/>
              <a:ext cx="5581060" cy="45974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650" b="1" dirty="0">
                  <a:solidFill>
                    <a:srgbClr val="FFFFFF"/>
                  </a:solidFill>
                  <a:latin typeface="微软雅黑" panose="020B0503020204020204" pitchFamily="34" charset="-122"/>
                </a:rPr>
                <a:t>“听说你们大数据中心提供一条龙服务</a:t>
              </a:r>
              <a:r>
                <a:rPr lang="en-US" altLang="zh-CN" sz="1650" b="1" dirty="0">
                  <a:solidFill>
                    <a:srgbClr val="FFFFFF"/>
                  </a:solidFill>
                  <a:latin typeface="微软雅黑" panose="020B0503020204020204" pitchFamily="34" charset="-122"/>
                </a:rPr>
                <a:t>?</a:t>
              </a:r>
              <a:r>
                <a:rPr lang="zh-CN" altLang="en-US" sz="1650" b="1" dirty="0">
                  <a:solidFill>
                    <a:srgbClr val="FFFFFF"/>
                  </a:solidFill>
                  <a:latin typeface="微软雅黑" panose="020B0503020204020204" pitchFamily="34" charset="-122"/>
                </a:rPr>
                <a:t>”</a:t>
              </a:r>
            </a:p>
          </p:txBody>
        </p:sp>
        <p:sp>
          <p:nvSpPr>
            <p:cNvPr id="9" name="文本框 8"/>
            <p:cNvSpPr txBox="1"/>
            <p:nvPr/>
          </p:nvSpPr>
          <p:spPr>
            <a:xfrm>
              <a:off x="7939428" y="2310294"/>
              <a:ext cx="3613795" cy="45974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650" b="1" dirty="0">
                  <a:solidFill>
                    <a:srgbClr val="FFFFFF"/>
                  </a:solidFill>
                  <a:latin typeface="微软雅黑" panose="020B0503020204020204" pitchFamily="34" charset="-122"/>
                </a:rPr>
                <a:t>“对啊，我就是那条龙</a:t>
              </a:r>
              <a:r>
                <a:rPr lang="en-US" altLang="zh-CN" sz="1650" b="1" dirty="0">
                  <a:solidFill>
                    <a:srgbClr val="FFFFFF"/>
                  </a:solidFill>
                  <a:latin typeface="微软雅黑" panose="020B0503020204020204" pitchFamily="34" charset="-122"/>
                </a:rPr>
                <a:t>!</a:t>
              </a:r>
              <a:r>
                <a:rPr lang="zh-CN" altLang="en-US" sz="1650" b="1" dirty="0">
                  <a:solidFill>
                    <a:srgbClr val="FFFFFF"/>
                  </a:solidFill>
                  <a:latin typeface="微软雅黑" panose="020B0503020204020204" pitchFamily="34" charset="-122"/>
                </a:rPr>
                <a:t>”</a:t>
              </a:r>
            </a:p>
          </p:txBody>
        </p:sp>
      </p:grpSp>
      <p:sp>
        <p:nvSpPr>
          <p:cNvPr id="6" name="右箭头 5"/>
          <p:cNvSpPr/>
          <p:nvPr/>
        </p:nvSpPr>
        <p:spPr>
          <a:xfrm>
            <a:off x="4160432" y="2678620"/>
            <a:ext cx="442709" cy="1172697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>
              <a:solidFill>
                <a:srgbClr val="FFFFFF"/>
              </a:solidFill>
            </a:endParaRPr>
          </a:p>
        </p:txBody>
      </p:sp>
      <p:sp>
        <p:nvSpPr>
          <p:cNvPr id="18" name="business-card_259070"/>
          <p:cNvSpPr>
            <a:spLocks noChangeAspect="1"/>
          </p:cNvSpPr>
          <p:nvPr/>
        </p:nvSpPr>
        <p:spPr bwMode="auto">
          <a:xfrm>
            <a:off x="5537779" y="4317255"/>
            <a:ext cx="622835" cy="565622"/>
          </a:xfrm>
          <a:custGeom>
            <a:avLst/>
            <a:gdLst>
              <a:gd name="connsiteX0" fmla="*/ 369095 w 607639"/>
              <a:gd name="connsiteY0" fmla="*/ 413655 h 551822"/>
              <a:gd name="connsiteX1" fmla="*/ 528145 w 607639"/>
              <a:gd name="connsiteY1" fmla="*/ 413655 h 551822"/>
              <a:gd name="connsiteX2" fmla="*/ 540249 w 607639"/>
              <a:gd name="connsiteY2" fmla="*/ 425722 h 551822"/>
              <a:gd name="connsiteX3" fmla="*/ 528145 w 607639"/>
              <a:gd name="connsiteY3" fmla="*/ 437788 h 551822"/>
              <a:gd name="connsiteX4" fmla="*/ 369095 w 607639"/>
              <a:gd name="connsiteY4" fmla="*/ 437788 h 551822"/>
              <a:gd name="connsiteX5" fmla="*/ 356991 w 607639"/>
              <a:gd name="connsiteY5" fmla="*/ 425722 h 551822"/>
              <a:gd name="connsiteX6" fmla="*/ 369095 w 607639"/>
              <a:gd name="connsiteY6" fmla="*/ 413655 h 551822"/>
              <a:gd name="connsiteX7" fmla="*/ 193641 w 607639"/>
              <a:gd name="connsiteY7" fmla="*/ 366609 h 551822"/>
              <a:gd name="connsiteX8" fmla="*/ 136234 w 607639"/>
              <a:gd name="connsiteY8" fmla="*/ 399852 h 551822"/>
              <a:gd name="connsiteX9" fmla="*/ 251048 w 607639"/>
              <a:gd name="connsiteY9" fmla="*/ 399852 h 551822"/>
              <a:gd name="connsiteX10" fmla="*/ 193641 w 607639"/>
              <a:gd name="connsiteY10" fmla="*/ 366609 h 551822"/>
              <a:gd name="connsiteX11" fmla="*/ 369095 w 607639"/>
              <a:gd name="connsiteY11" fmla="*/ 335186 h 551822"/>
              <a:gd name="connsiteX12" fmla="*/ 528145 w 607639"/>
              <a:gd name="connsiteY12" fmla="*/ 335186 h 551822"/>
              <a:gd name="connsiteX13" fmla="*/ 540249 w 607639"/>
              <a:gd name="connsiteY13" fmla="*/ 347253 h 551822"/>
              <a:gd name="connsiteX14" fmla="*/ 528145 w 607639"/>
              <a:gd name="connsiteY14" fmla="*/ 359319 h 551822"/>
              <a:gd name="connsiteX15" fmla="*/ 369095 w 607639"/>
              <a:gd name="connsiteY15" fmla="*/ 359319 h 551822"/>
              <a:gd name="connsiteX16" fmla="*/ 356991 w 607639"/>
              <a:gd name="connsiteY16" fmla="*/ 347253 h 551822"/>
              <a:gd name="connsiteX17" fmla="*/ 369095 w 607639"/>
              <a:gd name="connsiteY17" fmla="*/ 335186 h 551822"/>
              <a:gd name="connsiteX18" fmla="*/ 193641 w 607639"/>
              <a:gd name="connsiteY18" fmla="*/ 299947 h 551822"/>
              <a:gd name="connsiteX19" fmla="*/ 172369 w 607639"/>
              <a:gd name="connsiteY19" fmla="*/ 321101 h 551822"/>
              <a:gd name="connsiteX20" fmla="*/ 193641 w 607639"/>
              <a:gd name="connsiteY20" fmla="*/ 342344 h 551822"/>
              <a:gd name="connsiteX21" fmla="*/ 214824 w 607639"/>
              <a:gd name="connsiteY21" fmla="*/ 321101 h 551822"/>
              <a:gd name="connsiteX22" fmla="*/ 193641 w 607639"/>
              <a:gd name="connsiteY22" fmla="*/ 299947 h 551822"/>
              <a:gd name="connsiteX23" fmla="*/ 193641 w 607639"/>
              <a:gd name="connsiteY23" fmla="*/ 275770 h 551822"/>
              <a:gd name="connsiteX24" fmla="*/ 239033 w 607639"/>
              <a:gd name="connsiteY24" fmla="*/ 321101 h 551822"/>
              <a:gd name="connsiteX25" fmla="*/ 229331 w 607639"/>
              <a:gd name="connsiteY25" fmla="*/ 349099 h 551822"/>
              <a:gd name="connsiteX26" fmla="*/ 277393 w 607639"/>
              <a:gd name="connsiteY26" fmla="*/ 411940 h 551822"/>
              <a:gd name="connsiteX27" fmla="*/ 265289 w 607639"/>
              <a:gd name="connsiteY27" fmla="*/ 424028 h 551822"/>
              <a:gd name="connsiteX28" fmla="*/ 121904 w 607639"/>
              <a:gd name="connsiteY28" fmla="*/ 424028 h 551822"/>
              <a:gd name="connsiteX29" fmla="*/ 109800 w 607639"/>
              <a:gd name="connsiteY29" fmla="*/ 411940 h 551822"/>
              <a:gd name="connsiteX30" fmla="*/ 157862 w 607639"/>
              <a:gd name="connsiteY30" fmla="*/ 349099 h 551822"/>
              <a:gd name="connsiteX31" fmla="*/ 148160 w 607639"/>
              <a:gd name="connsiteY31" fmla="*/ 321101 h 551822"/>
              <a:gd name="connsiteX32" fmla="*/ 193641 w 607639"/>
              <a:gd name="connsiteY32" fmla="*/ 275770 h 551822"/>
              <a:gd name="connsiteX33" fmla="*/ 519258 w 607639"/>
              <a:gd name="connsiteY33" fmla="*/ 257493 h 551822"/>
              <a:gd name="connsiteX34" fmla="*/ 528780 w 607639"/>
              <a:gd name="connsiteY34" fmla="*/ 257493 h 551822"/>
              <a:gd name="connsiteX35" fmla="*/ 540884 w 607639"/>
              <a:gd name="connsiteY35" fmla="*/ 269560 h 551822"/>
              <a:gd name="connsiteX36" fmla="*/ 528780 w 607639"/>
              <a:gd name="connsiteY36" fmla="*/ 281626 h 551822"/>
              <a:gd name="connsiteX37" fmla="*/ 519258 w 607639"/>
              <a:gd name="connsiteY37" fmla="*/ 281626 h 551822"/>
              <a:gd name="connsiteX38" fmla="*/ 507154 w 607639"/>
              <a:gd name="connsiteY38" fmla="*/ 269560 h 551822"/>
              <a:gd name="connsiteX39" fmla="*/ 519258 w 607639"/>
              <a:gd name="connsiteY39" fmla="*/ 257493 h 551822"/>
              <a:gd name="connsiteX40" fmla="*/ 369097 w 607639"/>
              <a:gd name="connsiteY40" fmla="*/ 257493 h 551822"/>
              <a:gd name="connsiteX41" fmla="*/ 473244 w 607639"/>
              <a:gd name="connsiteY41" fmla="*/ 257493 h 551822"/>
              <a:gd name="connsiteX42" fmla="*/ 485350 w 607639"/>
              <a:gd name="connsiteY42" fmla="*/ 269560 h 551822"/>
              <a:gd name="connsiteX43" fmla="*/ 473244 w 607639"/>
              <a:gd name="connsiteY43" fmla="*/ 281626 h 551822"/>
              <a:gd name="connsiteX44" fmla="*/ 369097 w 607639"/>
              <a:gd name="connsiteY44" fmla="*/ 281626 h 551822"/>
              <a:gd name="connsiteX45" fmla="*/ 356991 w 607639"/>
              <a:gd name="connsiteY45" fmla="*/ 269560 h 551822"/>
              <a:gd name="connsiteX46" fmla="*/ 369097 w 607639"/>
              <a:gd name="connsiteY46" fmla="*/ 257493 h 551822"/>
              <a:gd name="connsiteX47" fmla="*/ 94423 w 607639"/>
              <a:gd name="connsiteY47" fmla="*/ 252385 h 551822"/>
              <a:gd name="connsiteX48" fmla="*/ 94423 w 607639"/>
              <a:gd name="connsiteY48" fmla="*/ 450590 h 551822"/>
              <a:gd name="connsiteX49" fmla="*/ 292911 w 607639"/>
              <a:gd name="connsiteY49" fmla="*/ 450590 h 551822"/>
              <a:gd name="connsiteX50" fmla="*/ 292911 w 607639"/>
              <a:gd name="connsiteY50" fmla="*/ 252385 h 551822"/>
              <a:gd name="connsiteX51" fmla="*/ 82318 w 607639"/>
              <a:gd name="connsiteY51" fmla="*/ 228209 h 551822"/>
              <a:gd name="connsiteX52" fmla="*/ 305016 w 607639"/>
              <a:gd name="connsiteY52" fmla="*/ 228209 h 551822"/>
              <a:gd name="connsiteX53" fmla="*/ 317121 w 607639"/>
              <a:gd name="connsiteY53" fmla="*/ 240297 h 551822"/>
              <a:gd name="connsiteX54" fmla="*/ 317121 w 607639"/>
              <a:gd name="connsiteY54" fmla="*/ 462677 h 551822"/>
              <a:gd name="connsiteX55" fmla="*/ 305016 w 607639"/>
              <a:gd name="connsiteY55" fmla="*/ 474765 h 551822"/>
              <a:gd name="connsiteX56" fmla="*/ 82318 w 607639"/>
              <a:gd name="connsiteY56" fmla="*/ 474765 h 551822"/>
              <a:gd name="connsiteX57" fmla="*/ 70213 w 607639"/>
              <a:gd name="connsiteY57" fmla="*/ 462677 h 551822"/>
              <a:gd name="connsiteX58" fmla="*/ 70213 w 607639"/>
              <a:gd name="connsiteY58" fmla="*/ 240297 h 551822"/>
              <a:gd name="connsiteX59" fmla="*/ 82318 w 607639"/>
              <a:gd name="connsiteY59" fmla="*/ 228209 h 551822"/>
              <a:gd name="connsiteX60" fmla="*/ 24209 w 607639"/>
              <a:gd name="connsiteY60" fmla="*/ 169839 h 551822"/>
              <a:gd name="connsiteX61" fmla="*/ 24209 w 607639"/>
              <a:gd name="connsiteY61" fmla="*/ 527648 h 551822"/>
              <a:gd name="connsiteX62" fmla="*/ 583430 w 607639"/>
              <a:gd name="connsiteY62" fmla="*/ 527648 h 551822"/>
              <a:gd name="connsiteX63" fmla="*/ 583430 w 607639"/>
              <a:gd name="connsiteY63" fmla="*/ 169839 h 551822"/>
              <a:gd name="connsiteX64" fmla="*/ 254377 w 607639"/>
              <a:gd name="connsiteY64" fmla="*/ 100073 h 551822"/>
              <a:gd name="connsiteX65" fmla="*/ 220288 w 607639"/>
              <a:gd name="connsiteY65" fmla="*/ 134112 h 551822"/>
              <a:gd name="connsiteX66" fmla="*/ 220288 w 607639"/>
              <a:gd name="connsiteY66" fmla="*/ 145666 h 551822"/>
              <a:gd name="connsiteX67" fmla="*/ 387351 w 607639"/>
              <a:gd name="connsiteY67" fmla="*/ 145666 h 551822"/>
              <a:gd name="connsiteX68" fmla="*/ 387351 w 607639"/>
              <a:gd name="connsiteY68" fmla="*/ 134112 h 551822"/>
              <a:gd name="connsiteX69" fmla="*/ 353262 w 607639"/>
              <a:gd name="connsiteY69" fmla="*/ 100073 h 551822"/>
              <a:gd name="connsiteX70" fmla="*/ 351571 w 607639"/>
              <a:gd name="connsiteY70" fmla="*/ 100073 h 551822"/>
              <a:gd name="connsiteX71" fmla="*/ 351571 w 607639"/>
              <a:gd name="connsiteY71" fmla="*/ 119448 h 551822"/>
              <a:gd name="connsiteX72" fmla="*/ 339466 w 607639"/>
              <a:gd name="connsiteY72" fmla="*/ 131535 h 551822"/>
              <a:gd name="connsiteX73" fmla="*/ 268084 w 607639"/>
              <a:gd name="connsiteY73" fmla="*/ 131535 h 551822"/>
              <a:gd name="connsiteX74" fmla="*/ 255979 w 607639"/>
              <a:gd name="connsiteY74" fmla="*/ 119448 h 551822"/>
              <a:gd name="connsiteX75" fmla="*/ 255979 w 607639"/>
              <a:gd name="connsiteY75" fmla="*/ 100073 h 551822"/>
              <a:gd name="connsiteX76" fmla="*/ 303749 w 607639"/>
              <a:gd name="connsiteY76" fmla="*/ 34648 h 551822"/>
              <a:gd name="connsiteX77" fmla="*/ 315851 w 607639"/>
              <a:gd name="connsiteY77" fmla="*/ 46732 h 551822"/>
              <a:gd name="connsiteX78" fmla="*/ 315851 w 607639"/>
              <a:gd name="connsiteY78" fmla="*/ 49309 h 551822"/>
              <a:gd name="connsiteX79" fmla="*/ 303749 w 607639"/>
              <a:gd name="connsiteY79" fmla="*/ 61392 h 551822"/>
              <a:gd name="connsiteX80" fmla="*/ 291647 w 607639"/>
              <a:gd name="connsiteY80" fmla="*/ 49309 h 551822"/>
              <a:gd name="connsiteX81" fmla="*/ 291647 w 607639"/>
              <a:gd name="connsiteY81" fmla="*/ 46732 h 551822"/>
              <a:gd name="connsiteX82" fmla="*/ 303749 w 607639"/>
              <a:gd name="connsiteY82" fmla="*/ 34648 h 551822"/>
              <a:gd name="connsiteX83" fmla="*/ 280189 w 607639"/>
              <a:gd name="connsiteY83" fmla="*/ 24174 h 551822"/>
              <a:gd name="connsiteX84" fmla="*/ 280189 w 607639"/>
              <a:gd name="connsiteY84" fmla="*/ 107361 h 551822"/>
              <a:gd name="connsiteX85" fmla="*/ 327450 w 607639"/>
              <a:gd name="connsiteY85" fmla="*/ 107361 h 551822"/>
              <a:gd name="connsiteX86" fmla="*/ 327450 w 607639"/>
              <a:gd name="connsiteY86" fmla="*/ 24174 h 551822"/>
              <a:gd name="connsiteX87" fmla="*/ 268084 w 607639"/>
              <a:gd name="connsiteY87" fmla="*/ 0 h 551822"/>
              <a:gd name="connsiteX88" fmla="*/ 339466 w 607639"/>
              <a:gd name="connsiteY88" fmla="*/ 0 h 551822"/>
              <a:gd name="connsiteX89" fmla="*/ 351571 w 607639"/>
              <a:gd name="connsiteY89" fmla="*/ 12087 h 551822"/>
              <a:gd name="connsiteX90" fmla="*/ 351571 w 607639"/>
              <a:gd name="connsiteY90" fmla="*/ 75899 h 551822"/>
              <a:gd name="connsiteX91" fmla="*/ 353262 w 607639"/>
              <a:gd name="connsiteY91" fmla="*/ 75899 h 551822"/>
              <a:gd name="connsiteX92" fmla="*/ 411560 w 607639"/>
              <a:gd name="connsiteY92" fmla="*/ 134112 h 551822"/>
              <a:gd name="connsiteX93" fmla="*/ 411560 w 607639"/>
              <a:gd name="connsiteY93" fmla="*/ 145666 h 551822"/>
              <a:gd name="connsiteX94" fmla="*/ 595534 w 607639"/>
              <a:gd name="connsiteY94" fmla="*/ 145666 h 551822"/>
              <a:gd name="connsiteX95" fmla="*/ 607639 w 607639"/>
              <a:gd name="connsiteY95" fmla="*/ 157753 h 551822"/>
              <a:gd name="connsiteX96" fmla="*/ 607639 w 607639"/>
              <a:gd name="connsiteY96" fmla="*/ 539735 h 551822"/>
              <a:gd name="connsiteX97" fmla="*/ 595534 w 607639"/>
              <a:gd name="connsiteY97" fmla="*/ 551822 h 551822"/>
              <a:gd name="connsiteX98" fmla="*/ 12105 w 607639"/>
              <a:gd name="connsiteY98" fmla="*/ 551822 h 551822"/>
              <a:gd name="connsiteX99" fmla="*/ 0 w 607639"/>
              <a:gd name="connsiteY99" fmla="*/ 539735 h 551822"/>
              <a:gd name="connsiteX100" fmla="*/ 0 w 607639"/>
              <a:gd name="connsiteY100" fmla="*/ 157753 h 551822"/>
              <a:gd name="connsiteX101" fmla="*/ 12105 w 607639"/>
              <a:gd name="connsiteY101" fmla="*/ 145666 h 551822"/>
              <a:gd name="connsiteX102" fmla="*/ 196079 w 607639"/>
              <a:gd name="connsiteY102" fmla="*/ 145666 h 551822"/>
              <a:gd name="connsiteX103" fmla="*/ 196079 w 607639"/>
              <a:gd name="connsiteY103" fmla="*/ 134112 h 551822"/>
              <a:gd name="connsiteX104" fmla="*/ 254377 w 607639"/>
              <a:gd name="connsiteY104" fmla="*/ 75899 h 551822"/>
              <a:gd name="connsiteX105" fmla="*/ 255979 w 607639"/>
              <a:gd name="connsiteY105" fmla="*/ 75899 h 551822"/>
              <a:gd name="connsiteX106" fmla="*/ 255979 w 607639"/>
              <a:gd name="connsiteY106" fmla="*/ 12087 h 551822"/>
              <a:gd name="connsiteX107" fmla="*/ 268084 w 607639"/>
              <a:gd name="connsiteY107" fmla="*/ 0 h 5518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</a:cxnLst>
            <a:rect l="l" t="t" r="r" b="b"/>
            <a:pathLst>
              <a:path w="607639" h="551822">
                <a:moveTo>
                  <a:pt x="369095" y="413655"/>
                </a:moveTo>
                <a:lnTo>
                  <a:pt x="528145" y="413655"/>
                </a:lnTo>
                <a:cubicBezTo>
                  <a:pt x="534820" y="413655"/>
                  <a:pt x="540249" y="419067"/>
                  <a:pt x="540249" y="425722"/>
                </a:cubicBezTo>
                <a:cubicBezTo>
                  <a:pt x="540249" y="432465"/>
                  <a:pt x="534820" y="437788"/>
                  <a:pt x="528145" y="437788"/>
                </a:cubicBezTo>
                <a:lnTo>
                  <a:pt x="369095" y="437788"/>
                </a:lnTo>
                <a:cubicBezTo>
                  <a:pt x="362420" y="437788"/>
                  <a:pt x="356991" y="432465"/>
                  <a:pt x="356991" y="425722"/>
                </a:cubicBezTo>
                <a:cubicBezTo>
                  <a:pt x="356991" y="419067"/>
                  <a:pt x="362420" y="413655"/>
                  <a:pt x="369095" y="413655"/>
                </a:cubicBezTo>
                <a:close/>
                <a:moveTo>
                  <a:pt x="193641" y="366609"/>
                </a:moveTo>
                <a:cubicBezTo>
                  <a:pt x="166317" y="366609"/>
                  <a:pt x="143176" y="380653"/>
                  <a:pt x="136234" y="399852"/>
                </a:cubicBezTo>
                <a:lnTo>
                  <a:pt x="251048" y="399852"/>
                </a:lnTo>
                <a:cubicBezTo>
                  <a:pt x="244106" y="380653"/>
                  <a:pt x="220965" y="366609"/>
                  <a:pt x="193641" y="366609"/>
                </a:cubicBezTo>
                <a:close/>
                <a:moveTo>
                  <a:pt x="369095" y="335186"/>
                </a:moveTo>
                <a:lnTo>
                  <a:pt x="528145" y="335186"/>
                </a:lnTo>
                <a:cubicBezTo>
                  <a:pt x="534820" y="335186"/>
                  <a:pt x="540249" y="340510"/>
                  <a:pt x="540249" y="347253"/>
                </a:cubicBezTo>
                <a:cubicBezTo>
                  <a:pt x="540249" y="353907"/>
                  <a:pt x="534820" y="359319"/>
                  <a:pt x="528145" y="359319"/>
                </a:cubicBezTo>
                <a:lnTo>
                  <a:pt x="369095" y="359319"/>
                </a:lnTo>
                <a:cubicBezTo>
                  <a:pt x="362420" y="359319"/>
                  <a:pt x="356991" y="353907"/>
                  <a:pt x="356991" y="347253"/>
                </a:cubicBezTo>
                <a:cubicBezTo>
                  <a:pt x="356991" y="340510"/>
                  <a:pt x="362420" y="335186"/>
                  <a:pt x="369095" y="335186"/>
                </a:cubicBezTo>
                <a:close/>
                <a:moveTo>
                  <a:pt x="193641" y="299947"/>
                </a:moveTo>
                <a:cubicBezTo>
                  <a:pt x="181893" y="299947"/>
                  <a:pt x="172369" y="309457"/>
                  <a:pt x="172369" y="321101"/>
                </a:cubicBezTo>
                <a:cubicBezTo>
                  <a:pt x="172369" y="332834"/>
                  <a:pt x="181893" y="342344"/>
                  <a:pt x="193641" y="342344"/>
                </a:cubicBezTo>
                <a:cubicBezTo>
                  <a:pt x="205300" y="342344"/>
                  <a:pt x="214824" y="332834"/>
                  <a:pt x="214824" y="321101"/>
                </a:cubicBezTo>
                <a:cubicBezTo>
                  <a:pt x="214824" y="309457"/>
                  <a:pt x="205300" y="299947"/>
                  <a:pt x="193641" y="299947"/>
                </a:cubicBezTo>
                <a:close/>
                <a:moveTo>
                  <a:pt x="193641" y="275770"/>
                </a:moveTo>
                <a:cubicBezTo>
                  <a:pt x="218651" y="275770"/>
                  <a:pt x="239033" y="296125"/>
                  <a:pt x="239033" y="321101"/>
                </a:cubicBezTo>
                <a:cubicBezTo>
                  <a:pt x="239033" y="331678"/>
                  <a:pt x="235383" y="341366"/>
                  <a:pt x="229331" y="349099"/>
                </a:cubicBezTo>
                <a:cubicBezTo>
                  <a:pt x="257723" y="360210"/>
                  <a:pt x="277393" y="384208"/>
                  <a:pt x="277393" y="411940"/>
                </a:cubicBezTo>
                <a:cubicBezTo>
                  <a:pt x="277393" y="418606"/>
                  <a:pt x="271964" y="424028"/>
                  <a:pt x="265289" y="424028"/>
                </a:cubicBezTo>
                <a:lnTo>
                  <a:pt x="121904" y="424028"/>
                </a:lnTo>
                <a:cubicBezTo>
                  <a:pt x="115229" y="424028"/>
                  <a:pt x="109800" y="418606"/>
                  <a:pt x="109800" y="411940"/>
                </a:cubicBezTo>
                <a:cubicBezTo>
                  <a:pt x="109800" y="384208"/>
                  <a:pt x="129470" y="360210"/>
                  <a:pt x="157862" y="349099"/>
                </a:cubicBezTo>
                <a:cubicBezTo>
                  <a:pt x="151810" y="341366"/>
                  <a:pt x="148160" y="331678"/>
                  <a:pt x="148160" y="321101"/>
                </a:cubicBezTo>
                <a:cubicBezTo>
                  <a:pt x="148160" y="296125"/>
                  <a:pt x="168542" y="275770"/>
                  <a:pt x="193641" y="275770"/>
                </a:cubicBezTo>
                <a:close/>
                <a:moveTo>
                  <a:pt x="519258" y="257493"/>
                </a:moveTo>
                <a:lnTo>
                  <a:pt x="528780" y="257493"/>
                </a:lnTo>
                <a:cubicBezTo>
                  <a:pt x="535455" y="257493"/>
                  <a:pt x="540884" y="262905"/>
                  <a:pt x="540884" y="269560"/>
                </a:cubicBezTo>
                <a:cubicBezTo>
                  <a:pt x="540884" y="276214"/>
                  <a:pt x="535455" y="281626"/>
                  <a:pt x="528780" y="281626"/>
                </a:cubicBezTo>
                <a:lnTo>
                  <a:pt x="519258" y="281626"/>
                </a:lnTo>
                <a:cubicBezTo>
                  <a:pt x="512583" y="281626"/>
                  <a:pt x="507154" y="276214"/>
                  <a:pt x="507154" y="269560"/>
                </a:cubicBezTo>
                <a:cubicBezTo>
                  <a:pt x="507154" y="262905"/>
                  <a:pt x="512583" y="257493"/>
                  <a:pt x="519258" y="257493"/>
                </a:cubicBezTo>
                <a:close/>
                <a:moveTo>
                  <a:pt x="369097" y="257493"/>
                </a:moveTo>
                <a:lnTo>
                  <a:pt x="473244" y="257493"/>
                </a:lnTo>
                <a:cubicBezTo>
                  <a:pt x="479920" y="257493"/>
                  <a:pt x="485350" y="262905"/>
                  <a:pt x="485350" y="269560"/>
                </a:cubicBezTo>
                <a:cubicBezTo>
                  <a:pt x="485350" y="276214"/>
                  <a:pt x="479920" y="281626"/>
                  <a:pt x="473244" y="281626"/>
                </a:cubicBezTo>
                <a:lnTo>
                  <a:pt x="369097" y="281626"/>
                </a:lnTo>
                <a:cubicBezTo>
                  <a:pt x="362421" y="281626"/>
                  <a:pt x="356991" y="276214"/>
                  <a:pt x="356991" y="269560"/>
                </a:cubicBezTo>
                <a:cubicBezTo>
                  <a:pt x="356991" y="262905"/>
                  <a:pt x="362421" y="257493"/>
                  <a:pt x="369097" y="257493"/>
                </a:cubicBezTo>
                <a:close/>
                <a:moveTo>
                  <a:pt x="94423" y="252385"/>
                </a:moveTo>
                <a:lnTo>
                  <a:pt x="94423" y="450590"/>
                </a:lnTo>
                <a:lnTo>
                  <a:pt x="292911" y="450590"/>
                </a:lnTo>
                <a:lnTo>
                  <a:pt x="292911" y="252385"/>
                </a:lnTo>
                <a:close/>
                <a:moveTo>
                  <a:pt x="82318" y="228209"/>
                </a:moveTo>
                <a:lnTo>
                  <a:pt x="305016" y="228209"/>
                </a:lnTo>
                <a:cubicBezTo>
                  <a:pt x="311692" y="228209"/>
                  <a:pt x="317121" y="233542"/>
                  <a:pt x="317121" y="240297"/>
                </a:cubicBezTo>
                <a:lnTo>
                  <a:pt x="317121" y="462677"/>
                </a:lnTo>
                <a:cubicBezTo>
                  <a:pt x="317121" y="469343"/>
                  <a:pt x="311692" y="474765"/>
                  <a:pt x="305016" y="474765"/>
                </a:cubicBezTo>
                <a:lnTo>
                  <a:pt x="82318" y="474765"/>
                </a:lnTo>
                <a:cubicBezTo>
                  <a:pt x="75642" y="474765"/>
                  <a:pt x="70213" y="469343"/>
                  <a:pt x="70213" y="462677"/>
                </a:cubicBezTo>
                <a:lnTo>
                  <a:pt x="70213" y="240297"/>
                </a:lnTo>
                <a:cubicBezTo>
                  <a:pt x="70213" y="233542"/>
                  <a:pt x="75642" y="228209"/>
                  <a:pt x="82318" y="228209"/>
                </a:cubicBezTo>
                <a:close/>
                <a:moveTo>
                  <a:pt x="24209" y="169839"/>
                </a:moveTo>
                <a:lnTo>
                  <a:pt x="24209" y="527648"/>
                </a:lnTo>
                <a:lnTo>
                  <a:pt x="583430" y="527648"/>
                </a:lnTo>
                <a:lnTo>
                  <a:pt x="583430" y="169839"/>
                </a:lnTo>
                <a:close/>
                <a:moveTo>
                  <a:pt x="254377" y="100073"/>
                </a:moveTo>
                <a:cubicBezTo>
                  <a:pt x="235597" y="100073"/>
                  <a:pt x="220288" y="115359"/>
                  <a:pt x="220288" y="134112"/>
                </a:cubicBezTo>
                <a:lnTo>
                  <a:pt x="220288" y="145666"/>
                </a:lnTo>
                <a:lnTo>
                  <a:pt x="387351" y="145666"/>
                </a:lnTo>
                <a:lnTo>
                  <a:pt x="387351" y="134112"/>
                </a:lnTo>
                <a:cubicBezTo>
                  <a:pt x="387351" y="115359"/>
                  <a:pt x="372042" y="100073"/>
                  <a:pt x="353262" y="100073"/>
                </a:cubicBezTo>
                <a:lnTo>
                  <a:pt x="351571" y="100073"/>
                </a:lnTo>
                <a:lnTo>
                  <a:pt x="351571" y="119448"/>
                </a:lnTo>
                <a:cubicBezTo>
                  <a:pt x="351571" y="126113"/>
                  <a:pt x="346230" y="131535"/>
                  <a:pt x="339466" y="131535"/>
                </a:cubicBezTo>
                <a:lnTo>
                  <a:pt x="268084" y="131535"/>
                </a:lnTo>
                <a:cubicBezTo>
                  <a:pt x="261408" y="131535"/>
                  <a:pt x="255979" y="126113"/>
                  <a:pt x="255979" y="119448"/>
                </a:cubicBezTo>
                <a:lnTo>
                  <a:pt x="255979" y="100073"/>
                </a:lnTo>
                <a:close/>
                <a:moveTo>
                  <a:pt x="303749" y="34648"/>
                </a:moveTo>
                <a:cubicBezTo>
                  <a:pt x="310423" y="34648"/>
                  <a:pt x="315851" y="40068"/>
                  <a:pt x="315851" y="46732"/>
                </a:cubicBezTo>
                <a:lnTo>
                  <a:pt x="315851" y="49309"/>
                </a:lnTo>
                <a:cubicBezTo>
                  <a:pt x="315851" y="55972"/>
                  <a:pt x="310423" y="61392"/>
                  <a:pt x="303749" y="61392"/>
                </a:cubicBezTo>
                <a:cubicBezTo>
                  <a:pt x="297075" y="61392"/>
                  <a:pt x="291647" y="55972"/>
                  <a:pt x="291647" y="49309"/>
                </a:cubicBezTo>
                <a:lnTo>
                  <a:pt x="291647" y="46732"/>
                </a:lnTo>
                <a:cubicBezTo>
                  <a:pt x="291647" y="40068"/>
                  <a:pt x="297075" y="34648"/>
                  <a:pt x="303749" y="34648"/>
                </a:cubicBezTo>
                <a:close/>
                <a:moveTo>
                  <a:pt x="280189" y="24174"/>
                </a:moveTo>
                <a:lnTo>
                  <a:pt x="280189" y="107361"/>
                </a:lnTo>
                <a:lnTo>
                  <a:pt x="327450" y="107361"/>
                </a:lnTo>
                <a:lnTo>
                  <a:pt x="327450" y="24174"/>
                </a:lnTo>
                <a:close/>
                <a:moveTo>
                  <a:pt x="268084" y="0"/>
                </a:moveTo>
                <a:lnTo>
                  <a:pt x="339466" y="0"/>
                </a:lnTo>
                <a:cubicBezTo>
                  <a:pt x="346230" y="0"/>
                  <a:pt x="351571" y="5421"/>
                  <a:pt x="351571" y="12087"/>
                </a:cubicBezTo>
                <a:lnTo>
                  <a:pt x="351571" y="75899"/>
                </a:lnTo>
                <a:lnTo>
                  <a:pt x="353262" y="75899"/>
                </a:lnTo>
                <a:cubicBezTo>
                  <a:pt x="385393" y="75899"/>
                  <a:pt x="411560" y="102028"/>
                  <a:pt x="411560" y="134112"/>
                </a:cubicBezTo>
                <a:lnTo>
                  <a:pt x="411560" y="145666"/>
                </a:lnTo>
                <a:lnTo>
                  <a:pt x="595534" y="145666"/>
                </a:lnTo>
                <a:cubicBezTo>
                  <a:pt x="602210" y="145666"/>
                  <a:pt x="607639" y="151087"/>
                  <a:pt x="607639" y="157753"/>
                </a:cubicBezTo>
                <a:lnTo>
                  <a:pt x="607639" y="539735"/>
                </a:lnTo>
                <a:cubicBezTo>
                  <a:pt x="607639" y="546401"/>
                  <a:pt x="602210" y="551822"/>
                  <a:pt x="595534" y="551822"/>
                </a:cubicBezTo>
                <a:lnTo>
                  <a:pt x="12105" y="551822"/>
                </a:lnTo>
                <a:cubicBezTo>
                  <a:pt x="5429" y="551822"/>
                  <a:pt x="0" y="546401"/>
                  <a:pt x="0" y="539735"/>
                </a:cubicBezTo>
                <a:lnTo>
                  <a:pt x="0" y="157753"/>
                </a:lnTo>
                <a:cubicBezTo>
                  <a:pt x="0" y="151087"/>
                  <a:pt x="5429" y="145666"/>
                  <a:pt x="12105" y="145666"/>
                </a:cubicBezTo>
                <a:lnTo>
                  <a:pt x="196079" y="145666"/>
                </a:lnTo>
                <a:lnTo>
                  <a:pt x="196079" y="134112"/>
                </a:lnTo>
                <a:cubicBezTo>
                  <a:pt x="196079" y="102028"/>
                  <a:pt x="222246" y="75899"/>
                  <a:pt x="254377" y="75899"/>
                </a:cubicBezTo>
                <a:lnTo>
                  <a:pt x="255979" y="75899"/>
                </a:lnTo>
                <a:lnTo>
                  <a:pt x="255979" y="12087"/>
                </a:lnTo>
                <a:cubicBezTo>
                  <a:pt x="255979" y="5421"/>
                  <a:pt x="261408" y="0"/>
                  <a:pt x="26808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</p:sp>
      <p:sp>
        <p:nvSpPr>
          <p:cNvPr id="20" name="圆角矩形标注 19"/>
          <p:cNvSpPr/>
          <p:nvPr/>
        </p:nvSpPr>
        <p:spPr>
          <a:xfrm>
            <a:off x="6985088" y="2420645"/>
            <a:ext cx="1574455" cy="2382951"/>
          </a:xfrm>
          <a:prstGeom prst="wedgeRoundRectCallout">
            <a:avLst>
              <a:gd name="adj1" fmla="val -117729"/>
              <a:gd name="adj2" fmla="val 43086"/>
              <a:gd name="adj3" fmla="val 16667"/>
            </a:avLst>
          </a:prstGeom>
          <a:solidFill>
            <a:srgbClr val="FFFFCC">
              <a:alpha val="5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>
              <a:solidFill>
                <a:srgbClr val="FFFFFF"/>
              </a:solidFill>
            </a:endParaRPr>
          </a:p>
        </p:txBody>
      </p:sp>
      <p:sp>
        <p:nvSpPr>
          <p:cNvPr id="21" name="矩形 20"/>
          <p:cNvSpPr/>
          <p:nvPr/>
        </p:nvSpPr>
        <p:spPr>
          <a:xfrm>
            <a:off x="7051064" y="2406773"/>
            <a:ext cx="1656080" cy="23761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1350" dirty="0">
                <a:solidFill>
                  <a:prstClr val="black"/>
                </a:solidFill>
                <a:latin typeface="仿宋" panose="02010609060101010101" charset="-122"/>
                <a:ea typeface="仿宋" panose="02010609060101010101" charset="-122"/>
              </a:rPr>
              <a:t>姓名：李小龙</a:t>
            </a:r>
            <a:endParaRPr lang="en-US" altLang="zh-CN" sz="1350" dirty="0">
              <a:solidFill>
                <a:prstClr val="black"/>
              </a:solidFill>
              <a:latin typeface="仿宋" panose="02010609060101010101" charset="-122"/>
              <a:ea typeface="仿宋" panose="02010609060101010101" charset="-122"/>
            </a:endParaRPr>
          </a:p>
          <a:p>
            <a:r>
              <a:rPr lang="zh-CN" altLang="en-US" sz="1350" dirty="0">
                <a:solidFill>
                  <a:prstClr val="black"/>
                </a:solidFill>
                <a:latin typeface="仿宋" panose="02010609060101010101" charset="-122"/>
                <a:ea typeface="仿宋" panose="02010609060101010101" charset="-122"/>
              </a:rPr>
              <a:t>部门：大数据中心</a:t>
            </a:r>
            <a:endParaRPr lang="en-US" altLang="zh-CN" sz="1350" dirty="0">
              <a:solidFill>
                <a:prstClr val="black"/>
              </a:solidFill>
              <a:latin typeface="仿宋" panose="02010609060101010101" charset="-122"/>
              <a:ea typeface="仿宋" panose="02010609060101010101" charset="-122"/>
            </a:endParaRPr>
          </a:p>
          <a:p>
            <a:r>
              <a:rPr lang="zh-CN" altLang="en-US" sz="1350" dirty="0">
                <a:solidFill>
                  <a:prstClr val="black"/>
                </a:solidFill>
                <a:latin typeface="仿宋" panose="02010609060101010101" charset="-122"/>
                <a:ea typeface="仿宋" panose="02010609060101010101" charset="-122"/>
              </a:rPr>
              <a:t>职位：</a:t>
            </a:r>
            <a:endParaRPr lang="en-US" altLang="zh-CN" sz="1350" dirty="0">
              <a:solidFill>
                <a:prstClr val="black"/>
              </a:solidFill>
              <a:latin typeface="仿宋" panose="02010609060101010101" charset="-122"/>
              <a:ea typeface="仿宋" panose="02010609060101010101" charset="-122"/>
            </a:endParaRPr>
          </a:p>
          <a:p>
            <a:pPr indent="273050"/>
            <a:r>
              <a:rPr lang="zh-CN" altLang="en-US" sz="1350" dirty="0">
                <a:solidFill>
                  <a:prstClr val="black"/>
                </a:solidFill>
                <a:latin typeface="仿宋" panose="02010609060101010101" charset="-122"/>
                <a:ea typeface="仿宋" panose="02010609060101010101" charset="-122"/>
              </a:rPr>
              <a:t>业务分析师</a:t>
            </a:r>
            <a:endParaRPr lang="en-US" altLang="zh-CN" sz="1350" dirty="0">
              <a:solidFill>
                <a:prstClr val="black"/>
              </a:solidFill>
              <a:latin typeface="仿宋" panose="02010609060101010101" charset="-122"/>
              <a:ea typeface="仿宋" panose="02010609060101010101" charset="-122"/>
            </a:endParaRPr>
          </a:p>
          <a:p>
            <a:pPr indent="273050"/>
            <a:r>
              <a:rPr lang="zh-CN" altLang="en-US" sz="1350" dirty="0">
                <a:solidFill>
                  <a:prstClr val="black"/>
                </a:solidFill>
                <a:latin typeface="仿宋" panose="02010609060101010101" charset="-122"/>
                <a:ea typeface="仿宋" panose="02010609060101010101" charset="-122"/>
              </a:rPr>
              <a:t>数据分析师</a:t>
            </a:r>
            <a:endParaRPr lang="en-US" altLang="zh-CN" sz="1350" dirty="0">
              <a:solidFill>
                <a:prstClr val="black"/>
              </a:solidFill>
              <a:latin typeface="仿宋" panose="02010609060101010101" charset="-122"/>
              <a:ea typeface="仿宋" panose="02010609060101010101" charset="-122"/>
            </a:endParaRPr>
          </a:p>
          <a:p>
            <a:pPr indent="273050"/>
            <a:r>
              <a:rPr lang="zh-CN" altLang="en-US" sz="1350" dirty="0">
                <a:solidFill>
                  <a:prstClr val="black"/>
                </a:solidFill>
                <a:latin typeface="仿宋" panose="02010609060101010101" charset="-122"/>
                <a:ea typeface="仿宋" panose="02010609060101010101" charset="-122"/>
              </a:rPr>
              <a:t>数据产品经理</a:t>
            </a:r>
            <a:endParaRPr lang="en-US" altLang="zh-CN" sz="1350" dirty="0">
              <a:solidFill>
                <a:prstClr val="black"/>
              </a:solidFill>
              <a:latin typeface="仿宋" panose="02010609060101010101" charset="-122"/>
              <a:ea typeface="仿宋" panose="02010609060101010101" charset="-122"/>
            </a:endParaRPr>
          </a:p>
          <a:p>
            <a:pPr indent="273050"/>
            <a:r>
              <a:rPr lang="zh-CN" altLang="en-US" sz="1350" dirty="0">
                <a:solidFill>
                  <a:prstClr val="black"/>
                </a:solidFill>
                <a:latin typeface="仿宋" panose="02010609060101010101" charset="-122"/>
                <a:ea typeface="仿宋" panose="02010609060101010101" charset="-122"/>
              </a:rPr>
              <a:t>算法科学家</a:t>
            </a:r>
            <a:endParaRPr lang="en-US" altLang="zh-CN" sz="1350" dirty="0">
              <a:solidFill>
                <a:prstClr val="black"/>
              </a:solidFill>
              <a:latin typeface="仿宋" panose="02010609060101010101" charset="-122"/>
              <a:ea typeface="仿宋" panose="02010609060101010101" charset="-122"/>
            </a:endParaRPr>
          </a:p>
          <a:p>
            <a:pPr indent="273050"/>
            <a:r>
              <a:rPr lang="en-US" altLang="zh-CN" sz="1350" dirty="0">
                <a:solidFill>
                  <a:prstClr val="black"/>
                </a:solidFill>
                <a:latin typeface="仿宋" panose="02010609060101010101" charset="-122"/>
                <a:ea typeface="仿宋" panose="02010609060101010101" charset="-122"/>
              </a:rPr>
              <a:t>ETL</a:t>
            </a:r>
            <a:r>
              <a:rPr lang="zh-CN" altLang="en-US" sz="1350" dirty="0">
                <a:solidFill>
                  <a:prstClr val="black"/>
                </a:solidFill>
                <a:latin typeface="仿宋" panose="02010609060101010101" charset="-122"/>
                <a:ea typeface="仿宋" panose="02010609060101010101" charset="-122"/>
              </a:rPr>
              <a:t>工程师</a:t>
            </a:r>
            <a:endParaRPr lang="en-US" altLang="zh-CN" sz="1350" dirty="0">
              <a:solidFill>
                <a:prstClr val="black"/>
              </a:solidFill>
              <a:latin typeface="仿宋" panose="02010609060101010101" charset="-122"/>
              <a:ea typeface="仿宋" panose="02010609060101010101" charset="-122"/>
            </a:endParaRPr>
          </a:p>
          <a:p>
            <a:pPr indent="273050"/>
            <a:r>
              <a:rPr lang="zh-CN" altLang="en-US" sz="1350" dirty="0">
                <a:solidFill>
                  <a:prstClr val="black"/>
                </a:solidFill>
                <a:latin typeface="仿宋" panose="02010609060101010101" charset="-122"/>
                <a:ea typeface="仿宋" panose="02010609060101010101" charset="-122"/>
              </a:rPr>
              <a:t>前端开发工程师</a:t>
            </a:r>
            <a:endParaRPr lang="en-US" altLang="zh-CN" sz="1350" dirty="0">
              <a:solidFill>
                <a:prstClr val="black"/>
              </a:solidFill>
              <a:latin typeface="仿宋" panose="02010609060101010101" charset="-122"/>
              <a:ea typeface="仿宋" panose="02010609060101010101" charset="-122"/>
            </a:endParaRPr>
          </a:p>
          <a:p>
            <a:pPr indent="273050"/>
            <a:r>
              <a:rPr lang="zh-CN" altLang="en-US" sz="1350" dirty="0">
                <a:solidFill>
                  <a:prstClr val="black"/>
                </a:solidFill>
                <a:latin typeface="仿宋" panose="02010609060101010101" charset="-122"/>
                <a:ea typeface="仿宋" panose="02010609060101010101" charset="-122"/>
              </a:rPr>
              <a:t>测试工程师</a:t>
            </a:r>
            <a:endParaRPr lang="en-US" altLang="zh-CN" sz="1350" dirty="0">
              <a:solidFill>
                <a:prstClr val="black"/>
              </a:solidFill>
              <a:latin typeface="仿宋" panose="02010609060101010101" charset="-122"/>
              <a:ea typeface="仿宋" panose="02010609060101010101" charset="-122"/>
            </a:endParaRPr>
          </a:p>
          <a:p>
            <a:r>
              <a:rPr lang="en-US" altLang="zh-CN" sz="1350" dirty="0">
                <a:solidFill>
                  <a:prstClr val="black"/>
                </a:solidFill>
                <a:latin typeface="仿宋" panose="02010609060101010101" charset="-122"/>
                <a:ea typeface="仿宋" panose="02010609060101010101" charset="-122"/>
              </a:rPr>
              <a:t>   ……</a:t>
            </a:r>
          </a:p>
        </p:txBody>
      </p:sp>
      <p:grpSp>
        <p:nvGrpSpPr>
          <p:cNvPr id="22" name="Group 14"/>
          <p:cNvGrpSpPr/>
          <p:nvPr/>
        </p:nvGrpSpPr>
        <p:grpSpPr>
          <a:xfrm>
            <a:off x="1868486" y="3131909"/>
            <a:ext cx="441043" cy="410927"/>
            <a:chOff x="5452110" y="2803779"/>
            <a:chExt cx="1288923" cy="1200912"/>
          </a:xfrm>
          <a:solidFill>
            <a:srgbClr val="C00000"/>
          </a:solidFill>
        </p:grpSpPr>
        <p:sp>
          <p:nvSpPr>
            <p:cNvPr id="23" name="Freeform 15"/>
            <p:cNvSpPr>
              <a:spLocks noEditPoints="1"/>
            </p:cNvSpPr>
            <p:nvPr/>
          </p:nvSpPr>
          <p:spPr bwMode="auto">
            <a:xfrm>
              <a:off x="5759196" y="2803779"/>
              <a:ext cx="675132" cy="1200912"/>
            </a:xfrm>
            <a:custGeom>
              <a:avLst/>
              <a:gdLst>
                <a:gd name="T0" fmla="*/ 928 w 946"/>
                <a:gd name="T1" fmla="*/ 647 h 1681"/>
                <a:gd name="T2" fmla="*/ 928 w 946"/>
                <a:gd name="T3" fmla="*/ 646 h 1681"/>
                <a:gd name="T4" fmla="*/ 874 w 946"/>
                <a:gd name="T5" fmla="*/ 722 h 1681"/>
                <a:gd name="T6" fmla="*/ 840 w 946"/>
                <a:gd name="T7" fmla="*/ 722 h 1681"/>
                <a:gd name="T8" fmla="*/ 835 w 946"/>
                <a:gd name="T9" fmla="*/ 366 h 1681"/>
                <a:gd name="T10" fmla="*/ 214 w 946"/>
                <a:gd name="T11" fmla="*/ 388 h 1681"/>
                <a:gd name="T12" fmla="*/ 98 w 946"/>
                <a:gd name="T13" fmla="*/ 716 h 1681"/>
                <a:gd name="T14" fmla="*/ 67 w 946"/>
                <a:gd name="T15" fmla="*/ 713 h 1681"/>
                <a:gd name="T16" fmla="*/ 20 w 946"/>
                <a:gd name="T17" fmla="*/ 653 h 1681"/>
                <a:gd name="T18" fmla="*/ 20 w 946"/>
                <a:gd name="T19" fmla="*/ 652 h 1681"/>
                <a:gd name="T20" fmla="*/ 1 w 946"/>
                <a:gd name="T21" fmla="*/ 483 h 1681"/>
                <a:gd name="T22" fmla="*/ 473 w 946"/>
                <a:gd name="T23" fmla="*/ 0 h 1681"/>
                <a:gd name="T24" fmla="*/ 945 w 946"/>
                <a:gd name="T25" fmla="*/ 483 h 1681"/>
                <a:gd name="T26" fmla="*/ 928 w 946"/>
                <a:gd name="T27" fmla="*/ 647 h 1681"/>
                <a:gd name="T28" fmla="*/ 583 w 946"/>
                <a:gd name="T29" fmla="*/ 1667 h 1681"/>
                <a:gd name="T30" fmla="*/ 514 w 946"/>
                <a:gd name="T31" fmla="*/ 1465 h 1681"/>
                <a:gd name="T32" fmla="*/ 515 w 946"/>
                <a:gd name="T33" fmla="*/ 1457 h 1681"/>
                <a:gd name="T34" fmla="*/ 579 w 946"/>
                <a:gd name="T35" fmla="*/ 1356 h 1681"/>
                <a:gd name="T36" fmla="*/ 573 w 946"/>
                <a:gd name="T37" fmla="*/ 1342 h 1681"/>
                <a:gd name="T38" fmla="*/ 476 w 946"/>
                <a:gd name="T39" fmla="*/ 1329 h 1681"/>
                <a:gd name="T40" fmla="*/ 374 w 946"/>
                <a:gd name="T41" fmla="*/ 1342 h 1681"/>
                <a:gd name="T42" fmla="*/ 368 w 946"/>
                <a:gd name="T43" fmla="*/ 1357 h 1681"/>
                <a:gd name="T44" fmla="*/ 432 w 946"/>
                <a:gd name="T45" fmla="*/ 1457 h 1681"/>
                <a:gd name="T46" fmla="*/ 433 w 946"/>
                <a:gd name="T47" fmla="*/ 1465 h 1681"/>
                <a:gd name="T48" fmla="*/ 358 w 946"/>
                <a:gd name="T49" fmla="*/ 1667 h 1681"/>
                <a:gd name="T50" fmla="*/ 368 w 946"/>
                <a:gd name="T51" fmla="*/ 1681 h 1681"/>
                <a:gd name="T52" fmla="*/ 574 w 946"/>
                <a:gd name="T53" fmla="*/ 1681 h 1681"/>
                <a:gd name="T54" fmla="*/ 583 w 946"/>
                <a:gd name="T55" fmla="*/ 1667 h 16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946" h="1681">
                  <a:moveTo>
                    <a:pt x="928" y="647"/>
                  </a:moveTo>
                  <a:cubicBezTo>
                    <a:pt x="928" y="647"/>
                    <a:pt x="928" y="647"/>
                    <a:pt x="928" y="646"/>
                  </a:cubicBezTo>
                  <a:cubicBezTo>
                    <a:pt x="926" y="647"/>
                    <a:pt x="919" y="672"/>
                    <a:pt x="874" y="722"/>
                  </a:cubicBezTo>
                  <a:cubicBezTo>
                    <a:pt x="874" y="722"/>
                    <a:pt x="874" y="722"/>
                    <a:pt x="840" y="722"/>
                  </a:cubicBezTo>
                  <a:cubicBezTo>
                    <a:pt x="840" y="722"/>
                    <a:pt x="840" y="704"/>
                    <a:pt x="835" y="366"/>
                  </a:cubicBezTo>
                  <a:cubicBezTo>
                    <a:pt x="782" y="637"/>
                    <a:pt x="214" y="388"/>
                    <a:pt x="214" y="388"/>
                  </a:cubicBezTo>
                  <a:cubicBezTo>
                    <a:pt x="73" y="431"/>
                    <a:pt x="98" y="716"/>
                    <a:pt x="98" y="716"/>
                  </a:cubicBezTo>
                  <a:cubicBezTo>
                    <a:pt x="98" y="716"/>
                    <a:pt x="98" y="716"/>
                    <a:pt x="67" y="713"/>
                  </a:cubicBezTo>
                  <a:cubicBezTo>
                    <a:pt x="67" y="713"/>
                    <a:pt x="67" y="695"/>
                    <a:pt x="20" y="653"/>
                  </a:cubicBezTo>
                  <a:cubicBezTo>
                    <a:pt x="20" y="653"/>
                    <a:pt x="20" y="652"/>
                    <a:pt x="20" y="652"/>
                  </a:cubicBezTo>
                  <a:cubicBezTo>
                    <a:pt x="0" y="600"/>
                    <a:pt x="1" y="543"/>
                    <a:pt x="1" y="483"/>
                  </a:cubicBezTo>
                  <a:cubicBezTo>
                    <a:pt x="1" y="216"/>
                    <a:pt x="206" y="0"/>
                    <a:pt x="473" y="0"/>
                  </a:cubicBezTo>
                  <a:cubicBezTo>
                    <a:pt x="740" y="0"/>
                    <a:pt x="945" y="216"/>
                    <a:pt x="945" y="483"/>
                  </a:cubicBezTo>
                  <a:cubicBezTo>
                    <a:pt x="945" y="541"/>
                    <a:pt x="946" y="596"/>
                    <a:pt x="928" y="647"/>
                  </a:cubicBezTo>
                  <a:close/>
                  <a:moveTo>
                    <a:pt x="583" y="1667"/>
                  </a:moveTo>
                  <a:cubicBezTo>
                    <a:pt x="514" y="1465"/>
                    <a:pt x="514" y="1465"/>
                    <a:pt x="514" y="1465"/>
                  </a:cubicBezTo>
                  <a:cubicBezTo>
                    <a:pt x="513" y="1462"/>
                    <a:pt x="514" y="1459"/>
                    <a:pt x="515" y="1457"/>
                  </a:cubicBezTo>
                  <a:cubicBezTo>
                    <a:pt x="579" y="1356"/>
                    <a:pt x="579" y="1356"/>
                    <a:pt x="579" y="1356"/>
                  </a:cubicBezTo>
                  <a:cubicBezTo>
                    <a:pt x="582" y="1351"/>
                    <a:pt x="579" y="1344"/>
                    <a:pt x="573" y="1342"/>
                  </a:cubicBezTo>
                  <a:cubicBezTo>
                    <a:pt x="552" y="1337"/>
                    <a:pt x="510" y="1329"/>
                    <a:pt x="476" y="1329"/>
                  </a:cubicBezTo>
                  <a:cubicBezTo>
                    <a:pt x="442" y="1329"/>
                    <a:pt x="396" y="1338"/>
                    <a:pt x="374" y="1342"/>
                  </a:cubicBezTo>
                  <a:cubicBezTo>
                    <a:pt x="368" y="1344"/>
                    <a:pt x="365" y="1351"/>
                    <a:pt x="368" y="1357"/>
                  </a:cubicBezTo>
                  <a:cubicBezTo>
                    <a:pt x="432" y="1457"/>
                    <a:pt x="432" y="1457"/>
                    <a:pt x="432" y="1457"/>
                  </a:cubicBezTo>
                  <a:cubicBezTo>
                    <a:pt x="433" y="1460"/>
                    <a:pt x="434" y="1463"/>
                    <a:pt x="433" y="1465"/>
                  </a:cubicBezTo>
                  <a:cubicBezTo>
                    <a:pt x="358" y="1667"/>
                    <a:pt x="358" y="1667"/>
                    <a:pt x="358" y="1667"/>
                  </a:cubicBezTo>
                  <a:cubicBezTo>
                    <a:pt x="356" y="1674"/>
                    <a:pt x="361" y="1681"/>
                    <a:pt x="368" y="1681"/>
                  </a:cubicBezTo>
                  <a:cubicBezTo>
                    <a:pt x="574" y="1681"/>
                    <a:pt x="574" y="1681"/>
                    <a:pt x="574" y="1681"/>
                  </a:cubicBezTo>
                  <a:cubicBezTo>
                    <a:pt x="581" y="1681"/>
                    <a:pt x="585" y="1674"/>
                    <a:pt x="583" y="166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55721" tIns="27861" rIns="55721" bIns="27861" numCol="1" anchor="t" anchorCtr="0" compatLnSpc="1"/>
            <a:lstStyle/>
            <a:p>
              <a:endParaRPr lang="en-US" sz="1500" dirty="0">
                <a:ln>
                  <a:solidFill>
                    <a:sysClr val="windowText" lastClr="000000"/>
                  </a:solidFill>
                </a:ln>
                <a:solidFill>
                  <a:srgbClr val="FF0000"/>
                </a:solidFill>
                <a:cs typeface="+mn-ea"/>
                <a:sym typeface="+mn-lt"/>
              </a:endParaRPr>
            </a:p>
          </p:txBody>
        </p:sp>
        <p:sp>
          <p:nvSpPr>
            <p:cNvPr id="24" name="Freeform 16"/>
            <p:cNvSpPr>
              <a:spLocks noEditPoints="1"/>
            </p:cNvSpPr>
            <p:nvPr/>
          </p:nvSpPr>
          <p:spPr bwMode="auto">
            <a:xfrm>
              <a:off x="5452110" y="3318129"/>
              <a:ext cx="1288923" cy="686562"/>
            </a:xfrm>
            <a:custGeom>
              <a:avLst/>
              <a:gdLst>
                <a:gd name="T0" fmla="*/ 26 w 1806"/>
                <a:gd name="T1" fmla="*/ 961 h 961"/>
                <a:gd name="T2" fmla="*/ 5 w 1806"/>
                <a:gd name="T3" fmla="*/ 931 h 961"/>
                <a:gd name="T4" fmla="*/ 223 w 1806"/>
                <a:gd name="T5" fmla="*/ 614 h 961"/>
                <a:gd name="T6" fmla="*/ 602 w 1806"/>
                <a:gd name="T7" fmla="*/ 548 h 961"/>
                <a:gd name="T8" fmla="*/ 612 w 1806"/>
                <a:gd name="T9" fmla="*/ 555 h 961"/>
                <a:gd name="T10" fmla="*/ 703 w 1806"/>
                <a:gd name="T11" fmla="*/ 948 h 961"/>
                <a:gd name="T12" fmla="*/ 693 w 1806"/>
                <a:gd name="T13" fmla="*/ 961 h 961"/>
                <a:gd name="T14" fmla="*/ 26 w 1806"/>
                <a:gd name="T15" fmla="*/ 961 h 961"/>
                <a:gd name="T16" fmla="*/ 1780 w 1806"/>
                <a:gd name="T17" fmla="*/ 961 h 961"/>
                <a:gd name="T18" fmla="*/ 1801 w 1806"/>
                <a:gd name="T19" fmla="*/ 931 h 961"/>
                <a:gd name="T20" fmla="*/ 1583 w 1806"/>
                <a:gd name="T21" fmla="*/ 614 h 961"/>
                <a:gd name="T22" fmla="*/ 1204 w 1806"/>
                <a:gd name="T23" fmla="*/ 548 h 961"/>
                <a:gd name="T24" fmla="*/ 1194 w 1806"/>
                <a:gd name="T25" fmla="*/ 555 h 961"/>
                <a:gd name="T26" fmla="*/ 1103 w 1806"/>
                <a:gd name="T27" fmla="*/ 948 h 961"/>
                <a:gd name="T28" fmla="*/ 1113 w 1806"/>
                <a:gd name="T29" fmla="*/ 961 h 961"/>
                <a:gd name="T30" fmla="*/ 1780 w 1806"/>
                <a:gd name="T31" fmla="*/ 961 h 961"/>
                <a:gd name="T32" fmla="*/ 1329 w 1806"/>
                <a:gd name="T33" fmla="*/ 24 h 961"/>
                <a:gd name="T34" fmla="*/ 1283 w 1806"/>
                <a:gd name="T35" fmla="*/ 77 h 961"/>
                <a:gd name="T36" fmla="*/ 1273 w 1806"/>
                <a:gd name="T37" fmla="*/ 89 h 961"/>
                <a:gd name="T38" fmla="*/ 1129 w 1806"/>
                <a:gd name="T39" fmla="*/ 391 h 961"/>
                <a:gd name="T40" fmla="*/ 903 w 1806"/>
                <a:gd name="T41" fmla="*/ 504 h 961"/>
                <a:gd name="T42" fmla="*/ 677 w 1806"/>
                <a:gd name="T43" fmla="*/ 391 h 961"/>
                <a:gd name="T44" fmla="*/ 533 w 1806"/>
                <a:gd name="T45" fmla="*/ 89 h 961"/>
                <a:gd name="T46" fmla="*/ 523 w 1806"/>
                <a:gd name="T47" fmla="*/ 77 h 961"/>
                <a:gd name="T48" fmla="*/ 477 w 1806"/>
                <a:gd name="T49" fmla="*/ 24 h 961"/>
                <a:gd name="T50" fmla="*/ 426 w 1806"/>
                <a:gd name="T51" fmla="*/ 0 h 961"/>
                <a:gd name="T52" fmla="*/ 426 w 1806"/>
                <a:gd name="T53" fmla="*/ 5 h 961"/>
                <a:gd name="T54" fmla="*/ 495 w 1806"/>
                <a:gd name="T55" fmla="*/ 112 h 961"/>
                <a:gd name="T56" fmla="*/ 639 w 1806"/>
                <a:gd name="T57" fmla="*/ 414 h 961"/>
                <a:gd name="T58" fmla="*/ 639 w 1806"/>
                <a:gd name="T59" fmla="*/ 512 h 961"/>
                <a:gd name="T60" fmla="*/ 646 w 1806"/>
                <a:gd name="T61" fmla="*/ 522 h 961"/>
                <a:gd name="T62" fmla="*/ 683 w 1806"/>
                <a:gd name="T63" fmla="*/ 560 h 961"/>
                <a:gd name="T64" fmla="*/ 683 w 1806"/>
                <a:gd name="T65" fmla="*/ 451 h 961"/>
                <a:gd name="T66" fmla="*/ 903 w 1806"/>
                <a:gd name="T67" fmla="*/ 548 h 961"/>
                <a:gd name="T68" fmla="*/ 1123 w 1806"/>
                <a:gd name="T69" fmla="*/ 451 h 961"/>
                <a:gd name="T70" fmla="*/ 1123 w 1806"/>
                <a:gd name="T71" fmla="*/ 560 h 961"/>
                <a:gd name="T72" fmla="*/ 1160 w 1806"/>
                <a:gd name="T73" fmla="*/ 522 h 961"/>
                <a:gd name="T74" fmla="*/ 1167 w 1806"/>
                <a:gd name="T75" fmla="*/ 512 h 961"/>
                <a:gd name="T76" fmla="*/ 1167 w 1806"/>
                <a:gd name="T77" fmla="*/ 414 h 961"/>
                <a:gd name="T78" fmla="*/ 1311 w 1806"/>
                <a:gd name="T79" fmla="*/ 112 h 961"/>
                <a:gd name="T80" fmla="*/ 1380 w 1806"/>
                <a:gd name="T81" fmla="*/ 3 h 961"/>
                <a:gd name="T82" fmla="*/ 1380 w 1806"/>
                <a:gd name="T83" fmla="*/ 0 h 961"/>
                <a:gd name="T84" fmla="*/ 1329 w 1806"/>
                <a:gd name="T85" fmla="*/ 24 h 9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806" h="961">
                  <a:moveTo>
                    <a:pt x="26" y="961"/>
                  </a:moveTo>
                  <a:cubicBezTo>
                    <a:pt x="10" y="961"/>
                    <a:pt x="0" y="945"/>
                    <a:pt x="5" y="931"/>
                  </a:cubicBezTo>
                  <a:cubicBezTo>
                    <a:pt x="33" y="857"/>
                    <a:pt x="113" y="664"/>
                    <a:pt x="223" y="614"/>
                  </a:cubicBezTo>
                  <a:cubicBezTo>
                    <a:pt x="344" y="557"/>
                    <a:pt x="558" y="549"/>
                    <a:pt x="602" y="548"/>
                  </a:cubicBezTo>
                  <a:cubicBezTo>
                    <a:pt x="607" y="548"/>
                    <a:pt x="611" y="551"/>
                    <a:pt x="612" y="555"/>
                  </a:cubicBezTo>
                  <a:cubicBezTo>
                    <a:pt x="703" y="948"/>
                    <a:pt x="703" y="948"/>
                    <a:pt x="703" y="948"/>
                  </a:cubicBezTo>
                  <a:cubicBezTo>
                    <a:pt x="704" y="955"/>
                    <a:pt x="700" y="961"/>
                    <a:pt x="693" y="961"/>
                  </a:cubicBezTo>
                  <a:lnTo>
                    <a:pt x="26" y="961"/>
                  </a:lnTo>
                  <a:close/>
                  <a:moveTo>
                    <a:pt x="1780" y="961"/>
                  </a:moveTo>
                  <a:cubicBezTo>
                    <a:pt x="1796" y="961"/>
                    <a:pt x="1806" y="945"/>
                    <a:pt x="1801" y="931"/>
                  </a:cubicBezTo>
                  <a:cubicBezTo>
                    <a:pt x="1773" y="857"/>
                    <a:pt x="1693" y="664"/>
                    <a:pt x="1583" y="614"/>
                  </a:cubicBezTo>
                  <a:cubicBezTo>
                    <a:pt x="1462" y="557"/>
                    <a:pt x="1248" y="549"/>
                    <a:pt x="1204" y="548"/>
                  </a:cubicBezTo>
                  <a:cubicBezTo>
                    <a:pt x="1199" y="548"/>
                    <a:pt x="1195" y="551"/>
                    <a:pt x="1194" y="555"/>
                  </a:cubicBezTo>
                  <a:cubicBezTo>
                    <a:pt x="1103" y="948"/>
                    <a:pt x="1103" y="948"/>
                    <a:pt x="1103" y="948"/>
                  </a:cubicBezTo>
                  <a:cubicBezTo>
                    <a:pt x="1102" y="955"/>
                    <a:pt x="1106" y="961"/>
                    <a:pt x="1113" y="961"/>
                  </a:cubicBezTo>
                  <a:lnTo>
                    <a:pt x="1780" y="961"/>
                  </a:lnTo>
                  <a:close/>
                  <a:moveTo>
                    <a:pt x="1329" y="24"/>
                  </a:moveTo>
                  <a:cubicBezTo>
                    <a:pt x="1322" y="43"/>
                    <a:pt x="1308" y="65"/>
                    <a:pt x="1283" y="77"/>
                  </a:cubicBezTo>
                  <a:cubicBezTo>
                    <a:pt x="1278" y="80"/>
                    <a:pt x="1274" y="84"/>
                    <a:pt x="1273" y="89"/>
                  </a:cubicBezTo>
                  <a:cubicBezTo>
                    <a:pt x="1232" y="192"/>
                    <a:pt x="1157" y="365"/>
                    <a:pt x="1129" y="391"/>
                  </a:cubicBezTo>
                  <a:cubicBezTo>
                    <a:pt x="1084" y="430"/>
                    <a:pt x="968" y="504"/>
                    <a:pt x="903" y="504"/>
                  </a:cubicBezTo>
                  <a:cubicBezTo>
                    <a:pt x="838" y="504"/>
                    <a:pt x="722" y="430"/>
                    <a:pt x="677" y="391"/>
                  </a:cubicBezTo>
                  <a:cubicBezTo>
                    <a:pt x="649" y="365"/>
                    <a:pt x="574" y="192"/>
                    <a:pt x="533" y="89"/>
                  </a:cubicBezTo>
                  <a:cubicBezTo>
                    <a:pt x="532" y="84"/>
                    <a:pt x="528" y="80"/>
                    <a:pt x="523" y="77"/>
                  </a:cubicBezTo>
                  <a:cubicBezTo>
                    <a:pt x="498" y="65"/>
                    <a:pt x="484" y="43"/>
                    <a:pt x="477" y="24"/>
                  </a:cubicBezTo>
                  <a:cubicBezTo>
                    <a:pt x="426" y="0"/>
                    <a:pt x="426" y="0"/>
                    <a:pt x="426" y="0"/>
                  </a:cubicBezTo>
                  <a:cubicBezTo>
                    <a:pt x="426" y="2"/>
                    <a:pt x="426" y="4"/>
                    <a:pt x="426" y="5"/>
                  </a:cubicBezTo>
                  <a:cubicBezTo>
                    <a:pt x="431" y="33"/>
                    <a:pt x="446" y="83"/>
                    <a:pt x="495" y="112"/>
                  </a:cubicBezTo>
                  <a:cubicBezTo>
                    <a:pt x="517" y="168"/>
                    <a:pt x="594" y="359"/>
                    <a:pt x="639" y="414"/>
                  </a:cubicBezTo>
                  <a:cubicBezTo>
                    <a:pt x="639" y="512"/>
                    <a:pt x="639" y="512"/>
                    <a:pt x="639" y="512"/>
                  </a:cubicBezTo>
                  <a:cubicBezTo>
                    <a:pt x="646" y="522"/>
                    <a:pt x="646" y="522"/>
                    <a:pt x="646" y="522"/>
                  </a:cubicBezTo>
                  <a:cubicBezTo>
                    <a:pt x="648" y="524"/>
                    <a:pt x="660" y="540"/>
                    <a:pt x="683" y="560"/>
                  </a:cubicBezTo>
                  <a:cubicBezTo>
                    <a:pt x="683" y="451"/>
                    <a:pt x="683" y="451"/>
                    <a:pt x="683" y="451"/>
                  </a:cubicBezTo>
                  <a:cubicBezTo>
                    <a:pt x="742" y="494"/>
                    <a:pt x="838" y="548"/>
                    <a:pt x="903" y="548"/>
                  </a:cubicBezTo>
                  <a:cubicBezTo>
                    <a:pt x="968" y="548"/>
                    <a:pt x="1064" y="494"/>
                    <a:pt x="1123" y="451"/>
                  </a:cubicBezTo>
                  <a:cubicBezTo>
                    <a:pt x="1123" y="560"/>
                    <a:pt x="1123" y="560"/>
                    <a:pt x="1123" y="560"/>
                  </a:cubicBezTo>
                  <a:cubicBezTo>
                    <a:pt x="1146" y="540"/>
                    <a:pt x="1158" y="524"/>
                    <a:pt x="1160" y="522"/>
                  </a:cubicBezTo>
                  <a:cubicBezTo>
                    <a:pt x="1167" y="512"/>
                    <a:pt x="1167" y="512"/>
                    <a:pt x="1167" y="512"/>
                  </a:cubicBezTo>
                  <a:cubicBezTo>
                    <a:pt x="1167" y="414"/>
                    <a:pt x="1167" y="414"/>
                    <a:pt x="1167" y="414"/>
                  </a:cubicBezTo>
                  <a:cubicBezTo>
                    <a:pt x="1212" y="358"/>
                    <a:pt x="1289" y="168"/>
                    <a:pt x="1311" y="112"/>
                  </a:cubicBezTo>
                  <a:cubicBezTo>
                    <a:pt x="1363" y="82"/>
                    <a:pt x="1377" y="26"/>
                    <a:pt x="1380" y="3"/>
                  </a:cubicBezTo>
                  <a:cubicBezTo>
                    <a:pt x="1380" y="2"/>
                    <a:pt x="1380" y="1"/>
                    <a:pt x="1380" y="0"/>
                  </a:cubicBezTo>
                  <a:lnTo>
                    <a:pt x="1329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55721" tIns="27861" rIns="55721" bIns="27861" numCol="1" anchor="t" anchorCtr="0" compatLnSpc="1"/>
            <a:lstStyle/>
            <a:p>
              <a:endParaRPr lang="en-US" sz="1500" dirty="0">
                <a:ln>
                  <a:solidFill>
                    <a:sysClr val="windowText" lastClr="000000"/>
                  </a:solidFill>
                </a:ln>
                <a:solidFill>
                  <a:srgbClr val="FF0000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25" name="Group 14"/>
          <p:cNvGrpSpPr/>
          <p:nvPr/>
        </p:nvGrpSpPr>
        <p:grpSpPr>
          <a:xfrm>
            <a:off x="795241" y="2142970"/>
            <a:ext cx="441043" cy="410927"/>
            <a:chOff x="5452110" y="2803779"/>
            <a:chExt cx="1288923" cy="1200912"/>
          </a:xfrm>
        </p:grpSpPr>
        <p:sp>
          <p:nvSpPr>
            <p:cNvPr id="26" name="Freeform 15"/>
            <p:cNvSpPr>
              <a:spLocks noEditPoints="1"/>
            </p:cNvSpPr>
            <p:nvPr/>
          </p:nvSpPr>
          <p:spPr bwMode="auto">
            <a:xfrm>
              <a:off x="5759196" y="2803779"/>
              <a:ext cx="675132" cy="1200912"/>
            </a:xfrm>
            <a:custGeom>
              <a:avLst/>
              <a:gdLst>
                <a:gd name="T0" fmla="*/ 928 w 946"/>
                <a:gd name="T1" fmla="*/ 647 h 1681"/>
                <a:gd name="T2" fmla="*/ 928 w 946"/>
                <a:gd name="T3" fmla="*/ 646 h 1681"/>
                <a:gd name="T4" fmla="*/ 874 w 946"/>
                <a:gd name="T5" fmla="*/ 722 h 1681"/>
                <a:gd name="T6" fmla="*/ 840 w 946"/>
                <a:gd name="T7" fmla="*/ 722 h 1681"/>
                <a:gd name="T8" fmla="*/ 835 w 946"/>
                <a:gd name="T9" fmla="*/ 366 h 1681"/>
                <a:gd name="T10" fmla="*/ 214 w 946"/>
                <a:gd name="T11" fmla="*/ 388 h 1681"/>
                <a:gd name="T12" fmla="*/ 98 w 946"/>
                <a:gd name="T13" fmla="*/ 716 h 1681"/>
                <a:gd name="T14" fmla="*/ 67 w 946"/>
                <a:gd name="T15" fmla="*/ 713 h 1681"/>
                <a:gd name="T16" fmla="*/ 20 w 946"/>
                <a:gd name="T17" fmla="*/ 653 h 1681"/>
                <a:gd name="T18" fmla="*/ 20 w 946"/>
                <a:gd name="T19" fmla="*/ 652 h 1681"/>
                <a:gd name="T20" fmla="*/ 1 w 946"/>
                <a:gd name="T21" fmla="*/ 483 h 1681"/>
                <a:gd name="T22" fmla="*/ 473 w 946"/>
                <a:gd name="T23" fmla="*/ 0 h 1681"/>
                <a:gd name="T24" fmla="*/ 945 w 946"/>
                <a:gd name="T25" fmla="*/ 483 h 1681"/>
                <a:gd name="T26" fmla="*/ 928 w 946"/>
                <a:gd name="T27" fmla="*/ 647 h 1681"/>
                <a:gd name="T28" fmla="*/ 583 w 946"/>
                <a:gd name="T29" fmla="*/ 1667 h 1681"/>
                <a:gd name="T30" fmla="*/ 514 w 946"/>
                <a:gd name="T31" fmla="*/ 1465 h 1681"/>
                <a:gd name="T32" fmla="*/ 515 w 946"/>
                <a:gd name="T33" fmla="*/ 1457 h 1681"/>
                <a:gd name="T34" fmla="*/ 579 w 946"/>
                <a:gd name="T35" fmla="*/ 1356 h 1681"/>
                <a:gd name="T36" fmla="*/ 573 w 946"/>
                <a:gd name="T37" fmla="*/ 1342 h 1681"/>
                <a:gd name="T38" fmla="*/ 476 w 946"/>
                <a:gd name="T39" fmla="*/ 1329 h 1681"/>
                <a:gd name="T40" fmla="*/ 374 w 946"/>
                <a:gd name="T41" fmla="*/ 1342 h 1681"/>
                <a:gd name="T42" fmla="*/ 368 w 946"/>
                <a:gd name="T43" fmla="*/ 1357 h 1681"/>
                <a:gd name="T44" fmla="*/ 432 w 946"/>
                <a:gd name="T45" fmla="*/ 1457 h 1681"/>
                <a:gd name="T46" fmla="*/ 433 w 946"/>
                <a:gd name="T47" fmla="*/ 1465 h 1681"/>
                <a:gd name="T48" fmla="*/ 358 w 946"/>
                <a:gd name="T49" fmla="*/ 1667 h 1681"/>
                <a:gd name="T50" fmla="*/ 368 w 946"/>
                <a:gd name="T51" fmla="*/ 1681 h 1681"/>
                <a:gd name="T52" fmla="*/ 574 w 946"/>
                <a:gd name="T53" fmla="*/ 1681 h 1681"/>
                <a:gd name="T54" fmla="*/ 583 w 946"/>
                <a:gd name="T55" fmla="*/ 1667 h 16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946" h="1681">
                  <a:moveTo>
                    <a:pt x="928" y="647"/>
                  </a:moveTo>
                  <a:cubicBezTo>
                    <a:pt x="928" y="647"/>
                    <a:pt x="928" y="647"/>
                    <a:pt x="928" y="646"/>
                  </a:cubicBezTo>
                  <a:cubicBezTo>
                    <a:pt x="926" y="647"/>
                    <a:pt x="919" y="672"/>
                    <a:pt x="874" y="722"/>
                  </a:cubicBezTo>
                  <a:cubicBezTo>
                    <a:pt x="874" y="722"/>
                    <a:pt x="874" y="722"/>
                    <a:pt x="840" y="722"/>
                  </a:cubicBezTo>
                  <a:cubicBezTo>
                    <a:pt x="840" y="722"/>
                    <a:pt x="840" y="704"/>
                    <a:pt x="835" y="366"/>
                  </a:cubicBezTo>
                  <a:cubicBezTo>
                    <a:pt x="782" y="637"/>
                    <a:pt x="214" y="388"/>
                    <a:pt x="214" y="388"/>
                  </a:cubicBezTo>
                  <a:cubicBezTo>
                    <a:pt x="73" y="431"/>
                    <a:pt x="98" y="716"/>
                    <a:pt x="98" y="716"/>
                  </a:cubicBezTo>
                  <a:cubicBezTo>
                    <a:pt x="98" y="716"/>
                    <a:pt x="98" y="716"/>
                    <a:pt x="67" y="713"/>
                  </a:cubicBezTo>
                  <a:cubicBezTo>
                    <a:pt x="67" y="713"/>
                    <a:pt x="67" y="695"/>
                    <a:pt x="20" y="653"/>
                  </a:cubicBezTo>
                  <a:cubicBezTo>
                    <a:pt x="20" y="653"/>
                    <a:pt x="20" y="652"/>
                    <a:pt x="20" y="652"/>
                  </a:cubicBezTo>
                  <a:cubicBezTo>
                    <a:pt x="0" y="600"/>
                    <a:pt x="1" y="543"/>
                    <a:pt x="1" y="483"/>
                  </a:cubicBezTo>
                  <a:cubicBezTo>
                    <a:pt x="1" y="216"/>
                    <a:pt x="206" y="0"/>
                    <a:pt x="473" y="0"/>
                  </a:cubicBezTo>
                  <a:cubicBezTo>
                    <a:pt x="740" y="0"/>
                    <a:pt x="945" y="216"/>
                    <a:pt x="945" y="483"/>
                  </a:cubicBezTo>
                  <a:cubicBezTo>
                    <a:pt x="945" y="541"/>
                    <a:pt x="946" y="596"/>
                    <a:pt x="928" y="647"/>
                  </a:cubicBezTo>
                  <a:close/>
                  <a:moveTo>
                    <a:pt x="583" y="1667"/>
                  </a:moveTo>
                  <a:cubicBezTo>
                    <a:pt x="514" y="1465"/>
                    <a:pt x="514" y="1465"/>
                    <a:pt x="514" y="1465"/>
                  </a:cubicBezTo>
                  <a:cubicBezTo>
                    <a:pt x="513" y="1462"/>
                    <a:pt x="514" y="1459"/>
                    <a:pt x="515" y="1457"/>
                  </a:cubicBezTo>
                  <a:cubicBezTo>
                    <a:pt x="579" y="1356"/>
                    <a:pt x="579" y="1356"/>
                    <a:pt x="579" y="1356"/>
                  </a:cubicBezTo>
                  <a:cubicBezTo>
                    <a:pt x="582" y="1351"/>
                    <a:pt x="579" y="1344"/>
                    <a:pt x="573" y="1342"/>
                  </a:cubicBezTo>
                  <a:cubicBezTo>
                    <a:pt x="552" y="1337"/>
                    <a:pt x="510" y="1329"/>
                    <a:pt x="476" y="1329"/>
                  </a:cubicBezTo>
                  <a:cubicBezTo>
                    <a:pt x="442" y="1329"/>
                    <a:pt x="396" y="1338"/>
                    <a:pt x="374" y="1342"/>
                  </a:cubicBezTo>
                  <a:cubicBezTo>
                    <a:pt x="368" y="1344"/>
                    <a:pt x="365" y="1351"/>
                    <a:pt x="368" y="1357"/>
                  </a:cubicBezTo>
                  <a:cubicBezTo>
                    <a:pt x="432" y="1457"/>
                    <a:pt x="432" y="1457"/>
                    <a:pt x="432" y="1457"/>
                  </a:cubicBezTo>
                  <a:cubicBezTo>
                    <a:pt x="433" y="1460"/>
                    <a:pt x="434" y="1463"/>
                    <a:pt x="433" y="1465"/>
                  </a:cubicBezTo>
                  <a:cubicBezTo>
                    <a:pt x="358" y="1667"/>
                    <a:pt x="358" y="1667"/>
                    <a:pt x="358" y="1667"/>
                  </a:cubicBezTo>
                  <a:cubicBezTo>
                    <a:pt x="356" y="1674"/>
                    <a:pt x="361" y="1681"/>
                    <a:pt x="368" y="1681"/>
                  </a:cubicBezTo>
                  <a:cubicBezTo>
                    <a:pt x="574" y="1681"/>
                    <a:pt x="574" y="1681"/>
                    <a:pt x="574" y="1681"/>
                  </a:cubicBezTo>
                  <a:cubicBezTo>
                    <a:pt x="581" y="1681"/>
                    <a:pt x="585" y="1674"/>
                    <a:pt x="583" y="1667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55721" tIns="27861" rIns="55721" bIns="27861" numCol="1" anchor="t" anchorCtr="0" compatLnSpc="1"/>
            <a:lstStyle/>
            <a:p>
              <a:endParaRPr lang="en-US" sz="1100" dirty="0">
                <a:solidFill>
                  <a:srgbClr val="000000"/>
                </a:solidFill>
                <a:cs typeface="+mn-ea"/>
                <a:sym typeface="+mn-lt"/>
              </a:endParaRPr>
            </a:p>
          </p:txBody>
        </p:sp>
        <p:sp>
          <p:nvSpPr>
            <p:cNvPr id="27" name="Freeform 16"/>
            <p:cNvSpPr>
              <a:spLocks noEditPoints="1"/>
            </p:cNvSpPr>
            <p:nvPr/>
          </p:nvSpPr>
          <p:spPr bwMode="auto">
            <a:xfrm>
              <a:off x="5452110" y="3318129"/>
              <a:ext cx="1288923" cy="686562"/>
            </a:xfrm>
            <a:custGeom>
              <a:avLst/>
              <a:gdLst>
                <a:gd name="T0" fmla="*/ 26 w 1806"/>
                <a:gd name="T1" fmla="*/ 961 h 961"/>
                <a:gd name="T2" fmla="*/ 5 w 1806"/>
                <a:gd name="T3" fmla="*/ 931 h 961"/>
                <a:gd name="T4" fmla="*/ 223 w 1806"/>
                <a:gd name="T5" fmla="*/ 614 h 961"/>
                <a:gd name="T6" fmla="*/ 602 w 1806"/>
                <a:gd name="T7" fmla="*/ 548 h 961"/>
                <a:gd name="T8" fmla="*/ 612 w 1806"/>
                <a:gd name="T9" fmla="*/ 555 h 961"/>
                <a:gd name="T10" fmla="*/ 703 w 1806"/>
                <a:gd name="T11" fmla="*/ 948 h 961"/>
                <a:gd name="T12" fmla="*/ 693 w 1806"/>
                <a:gd name="T13" fmla="*/ 961 h 961"/>
                <a:gd name="T14" fmla="*/ 26 w 1806"/>
                <a:gd name="T15" fmla="*/ 961 h 961"/>
                <a:gd name="T16" fmla="*/ 1780 w 1806"/>
                <a:gd name="T17" fmla="*/ 961 h 961"/>
                <a:gd name="T18" fmla="*/ 1801 w 1806"/>
                <a:gd name="T19" fmla="*/ 931 h 961"/>
                <a:gd name="T20" fmla="*/ 1583 w 1806"/>
                <a:gd name="T21" fmla="*/ 614 h 961"/>
                <a:gd name="T22" fmla="*/ 1204 w 1806"/>
                <a:gd name="T23" fmla="*/ 548 h 961"/>
                <a:gd name="T24" fmla="*/ 1194 w 1806"/>
                <a:gd name="T25" fmla="*/ 555 h 961"/>
                <a:gd name="T26" fmla="*/ 1103 w 1806"/>
                <a:gd name="T27" fmla="*/ 948 h 961"/>
                <a:gd name="T28" fmla="*/ 1113 w 1806"/>
                <a:gd name="T29" fmla="*/ 961 h 961"/>
                <a:gd name="T30" fmla="*/ 1780 w 1806"/>
                <a:gd name="T31" fmla="*/ 961 h 961"/>
                <a:gd name="T32" fmla="*/ 1329 w 1806"/>
                <a:gd name="T33" fmla="*/ 24 h 961"/>
                <a:gd name="T34" fmla="*/ 1283 w 1806"/>
                <a:gd name="T35" fmla="*/ 77 h 961"/>
                <a:gd name="T36" fmla="*/ 1273 w 1806"/>
                <a:gd name="T37" fmla="*/ 89 h 961"/>
                <a:gd name="T38" fmla="*/ 1129 w 1806"/>
                <a:gd name="T39" fmla="*/ 391 h 961"/>
                <a:gd name="T40" fmla="*/ 903 w 1806"/>
                <a:gd name="T41" fmla="*/ 504 h 961"/>
                <a:gd name="T42" fmla="*/ 677 w 1806"/>
                <a:gd name="T43" fmla="*/ 391 h 961"/>
                <a:gd name="T44" fmla="*/ 533 w 1806"/>
                <a:gd name="T45" fmla="*/ 89 h 961"/>
                <a:gd name="T46" fmla="*/ 523 w 1806"/>
                <a:gd name="T47" fmla="*/ 77 h 961"/>
                <a:gd name="T48" fmla="*/ 477 w 1806"/>
                <a:gd name="T49" fmla="*/ 24 h 961"/>
                <a:gd name="T50" fmla="*/ 426 w 1806"/>
                <a:gd name="T51" fmla="*/ 0 h 961"/>
                <a:gd name="T52" fmla="*/ 426 w 1806"/>
                <a:gd name="T53" fmla="*/ 5 h 961"/>
                <a:gd name="T54" fmla="*/ 495 w 1806"/>
                <a:gd name="T55" fmla="*/ 112 h 961"/>
                <a:gd name="T56" fmla="*/ 639 w 1806"/>
                <a:gd name="T57" fmla="*/ 414 h 961"/>
                <a:gd name="T58" fmla="*/ 639 w 1806"/>
                <a:gd name="T59" fmla="*/ 512 h 961"/>
                <a:gd name="T60" fmla="*/ 646 w 1806"/>
                <a:gd name="T61" fmla="*/ 522 h 961"/>
                <a:gd name="T62" fmla="*/ 683 w 1806"/>
                <a:gd name="T63" fmla="*/ 560 h 961"/>
                <a:gd name="T64" fmla="*/ 683 w 1806"/>
                <a:gd name="T65" fmla="*/ 451 h 961"/>
                <a:gd name="T66" fmla="*/ 903 w 1806"/>
                <a:gd name="T67" fmla="*/ 548 h 961"/>
                <a:gd name="T68" fmla="*/ 1123 w 1806"/>
                <a:gd name="T69" fmla="*/ 451 h 961"/>
                <a:gd name="T70" fmla="*/ 1123 w 1806"/>
                <a:gd name="T71" fmla="*/ 560 h 961"/>
                <a:gd name="T72" fmla="*/ 1160 w 1806"/>
                <a:gd name="T73" fmla="*/ 522 h 961"/>
                <a:gd name="T74" fmla="*/ 1167 w 1806"/>
                <a:gd name="T75" fmla="*/ 512 h 961"/>
                <a:gd name="T76" fmla="*/ 1167 w 1806"/>
                <a:gd name="T77" fmla="*/ 414 h 961"/>
                <a:gd name="T78" fmla="*/ 1311 w 1806"/>
                <a:gd name="T79" fmla="*/ 112 h 961"/>
                <a:gd name="T80" fmla="*/ 1380 w 1806"/>
                <a:gd name="T81" fmla="*/ 3 h 961"/>
                <a:gd name="T82" fmla="*/ 1380 w 1806"/>
                <a:gd name="T83" fmla="*/ 0 h 961"/>
                <a:gd name="T84" fmla="*/ 1329 w 1806"/>
                <a:gd name="T85" fmla="*/ 24 h 9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806" h="961">
                  <a:moveTo>
                    <a:pt x="26" y="961"/>
                  </a:moveTo>
                  <a:cubicBezTo>
                    <a:pt x="10" y="961"/>
                    <a:pt x="0" y="945"/>
                    <a:pt x="5" y="931"/>
                  </a:cubicBezTo>
                  <a:cubicBezTo>
                    <a:pt x="33" y="857"/>
                    <a:pt x="113" y="664"/>
                    <a:pt x="223" y="614"/>
                  </a:cubicBezTo>
                  <a:cubicBezTo>
                    <a:pt x="344" y="557"/>
                    <a:pt x="558" y="549"/>
                    <a:pt x="602" y="548"/>
                  </a:cubicBezTo>
                  <a:cubicBezTo>
                    <a:pt x="607" y="548"/>
                    <a:pt x="611" y="551"/>
                    <a:pt x="612" y="555"/>
                  </a:cubicBezTo>
                  <a:cubicBezTo>
                    <a:pt x="703" y="948"/>
                    <a:pt x="703" y="948"/>
                    <a:pt x="703" y="948"/>
                  </a:cubicBezTo>
                  <a:cubicBezTo>
                    <a:pt x="704" y="955"/>
                    <a:pt x="700" y="961"/>
                    <a:pt x="693" y="961"/>
                  </a:cubicBezTo>
                  <a:lnTo>
                    <a:pt x="26" y="961"/>
                  </a:lnTo>
                  <a:close/>
                  <a:moveTo>
                    <a:pt x="1780" y="961"/>
                  </a:moveTo>
                  <a:cubicBezTo>
                    <a:pt x="1796" y="961"/>
                    <a:pt x="1806" y="945"/>
                    <a:pt x="1801" y="931"/>
                  </a:cubicBezTo>
                  <a:cubicBezTo>
                    <a:pt x="1773" y="857"/>
                    <a:pt x="1693" y="664"/>
                    <a:pt x="1583" y="614"/>
                  </a:cubicBezTo>
                  <a:cubicBezTo>
                    <a:pt x="1462" y="557"/>
                    <a:pt x="1248" y="549"/>
                    <a:pt x="1204" y="548"/>
                  </a:cubicBezTo>
                  <a:cubicBezTo>
                    <a:pt x="1199" y="548"/>
                    <a:pt x="1195" y="551"/>
                    <a:pt x="1194" y="555"/>
                  </a:cubicBezTo>
                  <a:cubicBezTo>
                    <a:pt x="1103" y="948"/>
                    <a:pt x="1103" y="948"/>
                    <a:pt x="1103" y="948"/>
                  </a:cubicBezTo>
                  <a:cubicBezTo>
                    <a:pt x="1102" y="955"/>
                    <a:pt x="1106" y="961"/>
                    <a:pt x="1113" y="961"/>
                  </a:cubicBezTo>
                  <a:lnTo>
                    <a:pt x="1780" y="961"/>
                  </a:lnTo>
                  <a:close/>
                  <a:moveTo>
                    <a:pt x="1329" y="24"/>
                  </a:moveTo>
                  <a:cubicBezTo>
                    <a:pt x="1322" y="43"/>
                    <a:pt x="1308" y="65"/>
                    <a:pt x="1283" y="77"/>
                  </a:cubicBezTo>
                  <a:cubicBezTo>
                    <a:pt x="1278" y="80"/>
                    <a:pt x="1274" y="84"/>
                    <a:pt x="1273" y="89"/>
                  </a:cubicBezTo>
                  <a:cubicBezTo>
                    <a:pt x="1232" y="192"/>
                    <a:pt x="1157" y="365"/>
                    <a:pt x="1129" y="391"/>
                  </a:cubicBezTo>
                  <a:cubicBezTo>
                    <a:pt x="1084" y="430"/>
                    <a:pt x="968" y="504"/>
                    <a:pt x="903" y="504"/>
                  </a:cubicBezTo>
                  <a:cubicBezTo>
                    <a:pt x="838" y="504"/>
                    <a:pt x="722" y="430"/>
                    <a:pt x="677" y="391"/>
                  </a:cubicBezTo>
                  <a:cubicBezTo>
                    <a:pt x="649" y="365"/>
                    <a:pt x="574" y="192"/>
                    <a:pt x="533" y="89"/>
                  </a:cubicBezTo>
                  <a:cubicBezTo>
                    <a:pt x="532" y="84"/>
                    <a:pt x="528" y="80"/>
                    <a:pt x="523" y="77"/>
                  </a:cubicBezTo>
                  <a:cubicBezTo>
                    <a:pt x="498" y="65"/>
                    <a:pt x="484" y="43"/>
                    <a:pt x="477" y="24"/>
                  </a:cubicBezTo>
                  <a:cubicBezTo>
                    <a:pt x="426" y="0"/>
                    <a:pt x="426" y="0"/>
                    <a:pt x="426" y="0"/>
                  </a:cubicBezTo>
                  <a:cubicBezTo>
                    <a:pt x="426" y="2"/>
                    <a:pt x="426" y="4"/>
                    <a:pt x="426" y="5"/>
                  </a:cubicBezTo>
                  <a:cubicBezTo>
                    <a:pt x="431" y="33"/>
                    <a:pt x="446" y="83"/>
                    <a:pt x="495" y="112"/>
                  </a:cubicBezTo>
                  <a:cubicBezTo>
                    <a:pt x="517" y="168"/>
                    <a:pt x="594" y="359"/>
                    <a:pt x="639" y="414"/>
                  </a:cubicBezTo>
                  <a:cubicBezTo>
                    <a:pt x="639" y="512"/>
                    <a:pt x="639" y="512"/>
                    <a:pt x="639" y="512"/>
                  </a:cubicBezTo>
                  <a:cubicBezTo>
                    <a:pt x="646" y="522"/>
                    <a:pt x="646" y="522"/>
                    <a:pt x="646" y="522"/>
                  </a:cubicBezTo>
                  <a:cubicBezTo>
                    <a:pt x="648" y="524"/>
                    <a:pt x="660" y="540"/>
                    <a:pt x="683" y="560"/>
                  </a:cubicBezTo>
                  <a:cubicBezTo>
                    <a:pt x="683" y="451"/>
                    <a:pt x="683" y="451"/>
                    <a:pt x="683" y="451"/>
                  </a:cubicBezTo>
                  <a:cubicBezTo>
                    <a:pt x="742" y="494"/>
                    <a:pt x="838" y="548"/>
                    <a:pt x="903" y="548"/>
                  </a:cubicBezTo>
                  <a:cubicBezTo>
                    <a:pt x="968" y="548"/>
                    <a:pt x="1064" y="494"/>
                    <a:pt x="1123" y="451"/>
                  </a:cubicBezTo>
                  <a:cubicBezTo>
                    <a:pt x="1123" y="560"/>
                    <a:pt x="1123" y="560"/>
                    <a:pt x="1123" y="560"/>
                  </a:cubicBezTo>
                  <a:cubicBezTo>
                    <a:pt x="1146" y="540"/>
                    <a:pt x="1158" y="524"/>
                    <a:pt x="1160" y="522"/>
                  </a:cubicBezTo>
                  <a:cubicBezTo>
                    <a:pt x="1167" y="512"/>
                    <a:pt x="1167" y="512"/>
                    <a:pt x="1167" y="512"/>
                  </a:cubicBezTo>
                  <a:cubicBezTo>
                    <a:pt x="1167" y="414"/>
                    <a:pt x="1167" y="414"/>
                    <a:pt x="1167" y="414"/>
                  </a:cubicBezTo>
                  <a:cubicBezTo>
                    <a:pt x="1212" y="358"/>
                    <a:pt x="1289" y="168"/>
                    <a:pt x="1311" y="112"/>
                  </a:cubicBezTo>
                  <a:cubicBezTo>
                    <a:pt x="1363" y="82"/>
                    <a:pt x="1377" y="26"/>
                    <a:pt x="1380" y="3"/>
                  </a:cubicBezTo>
                  <a:cubicBezTo>
                    <a:pt x="1380" y="2"/>
                    <a:pt x="1380" y="1"/>
                    <a:pt x="1380" y="0"/>
                  </a:cubicBezTo>
                  <a:lnTo>
                    <a:pt x="1329" y="2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55721" tIns="27861" rIns="55721" bIns="27861" numCol="1" anchor="t" anchorCtr="0" compatLnSpc="1"/>
            <a:lstStyle/>
            <a:p>
              <a:endParaRPr lang="en-US" sz="1100" dirty="0">
                <a:solidFill>
                  <a:srgbClr val="000000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28" name="Group 14"/>
          <p:cNvGrpSpPr/>
          <p:nvPr/>
        </p:nvGrpSpPr>
        <p:grpSpPr>
          <a:xfrm>
            <a:off x="3011975" y="2132319"/>
            <a:ext cx="441043" cy="410927"/>
            <a:chOff x="5452110" y="2803779"/>
            <a:chExt cx="1288923" cy="1200912"/>
          </a:xfrm>
        </p:grpSpPr>
        <p:sp>
          <p:nvSpPr>
            <p:cNvPr id="29" name="Freeform 15"/>
            <p:cNvSpPr>
              <a:spLocks noEditPoints="1"/>
            </p:cNvSpPr>
            <p:nvPr/>
          </p:nvSpPr>
          <p:spPr bwMode="auto">
            <a:xfrm>
              <a:off x="5759196" y="2803779"/>
              <a:ext cx="675132" cy="1200912"/>
            </a:xfrm>
            <a:custGeom>
              <a:avLst/>
              <a:gdLst>
                <a:gd name="T0" fmla="*/ 928 w 946"/>
                <a:gd name="T1" fmla="*/ 647 h 1681"/>
                <a:gd name="T2" fmla="*/ 928 w 946"/>
                <a:gd name="T3" fmla="*/ 646 h 1681"/>
                <a:gd name="T4" fmla="*/ 874 w 946"/>
                <a:gd name="T5" fmla="*/ 722 h 1681"/>
                <a:gd name="T6" fmla="*/ 840 w 946"/>
                <a:gd name="T7" fmla="*/ 722 h 1681"/>
                <a:gd name="T8" fmla="*/ 835 w 946"/>
                <a:gd name="T9" fmla="*/ 366 h 1681"/>
                <a:gd name="T10" fmla="*/ 214 w 946"/>
                <a:gd name="T11" fmla="*/ 388 h 1681"/>
                <a:gd name="T12" fmla="*/ 98 w 946"/>
                <a:gd name="T13" fmla="*/ 716 h 1681"/>
                <a:gd name="T14" fmla="*/ 67 w 946"/>
                <a:gd name="T15" fmla="*/ 713 h 1681"/>
                <a:gd name="T16" fmla="*/ 20 w 946"/>
                <a:gd name="T17" fmla="*/ 653 h 1681"/>
                <a:gd name="T18" fmla="*/ 20 w 946"/>
                <a:gd name="T19" fmla="*/ 652 h 1681"/>
                <a:gd name="T20" fmla="*/ 1 w 946"/>
                <a:gd name="T21" fmla="*/ 483 h 1681"/>
                <a:gd name="T22" fmla="*/ 473 w 946"/>
                <a:gd name="T23" fmla="*/ 0 h 1681"/>
                <a:gd name="T24" fmla="*/ 945 w 946"/>
                <a:gd name="T25" fmla="*/ 483 h 1681"/>
                <a:gd name="T26" fmla="*/ 928 w 946"/>
                <a:gd name="T27" fmla="*/ 647 h 1681"/>
                <a:gd name="T28" fmla="*/ 583 w 946"/>
                <a:gd name="T29" fmla="*/ 1667 h 1681"/>
                <a:gd name="T30" fmla="*/ 514 w 946"/>
                <a:gd name="T31" fmla="*/ 1465 h 1681"/>
                <a:gd name="T32" fmla="*/ 515 w 946"/>
                <a:gd name="T33" fmla="*/ 1457 h 1681"/>
                <a:gd name="T34" fmla="*/ 579 w 946"/>
                <a:gd name="T35" fmla="*/ 1356 h 1681"/>
                <a:gd name="T36" fmla="*/ 573 w 946"/>
                <a:gd name="T37" fmla="*/ 1342 h 1681"/>
                <a:gd name="T38" fmla="*/ 476 w 946"/>
                <a:gd name="T39" fmla="*/ 1329 h 1681"/>
                <a:gd name="T40" fmla="*/ 374 w 946"/>
                <a:gd name="T41" fmla="*/ 1342 h 1681"/>
                <a:gd name="T42" fmla="*/ 368 w 946"/>
                <a:gd name="T43" fmla="*/ 1357 h 1681"/>
                <a:gd name="T44" fmla="*/ 432 w 946"/>
                <a:gd name="T45" fmla="*/ 1457 h 1681"/>
                <a:gd name="T46" fmla="*/ 433 w 946"/>
                <a:gd name="T47" fmla="*/ 1465 h 1681"/>
                <a:gd name="T48" fmla="*/ 358 w 946"/>
                <a:gd name="T49" fmla="*/ 1667 h 1681"/>
                <a:gd name="T50" fmla="*/ 368 w 946"/>
                <a:gd name="T51" fmla="*/ 1681 h 1681"/>
                <a:gd name="T52" fmla="*/ 574 w 946"/>
                <a:gd name="T53" fmla="*/ 1681 h 1681"/>
                <a:gd name="T54" fmla="*/ 583 w 946"/>
                <a:gd name="T55" fmla="*/ 1667 h 16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946" h="1681">
                  <a:moveTo>
                    <a:pt x="928" y="647"/>
                  </a:moveTo>
                  <a:cubicBezTo>
                    <a:pt x="928" y="647"/>
                    <a:pt x="928" y="647"/>
                    <a:pt x="928" y="646"/>
                  </a:cubicBezTo>
                  <a:cubicBezTo>
                    <a:pt x="926" y="647"/>
                    <a:pt x="919" y="672"/>
                    <a:pt x="874" y="722"/>
                  </a:cubicBezTo>
                  <a:cubicBezTo>
                    <a:pt x="874" y="722"/>
                    <a:pt x="874" y="722"/>
                    <a:pt x="840" y="722"/>
                  </a:cubicBezTo>
                  <a:cubicBezTo>
                    <a:pt x="840" y="722"/>
                    <a:pt x="840" y="704"/>
                    <a:pt x="835" y="366"/>
                  </a:cubicBezTo>
                  <a:cubicBezTo>
                    <a:pt x="782" y="637"/>
                    <a:pt x="214" y="388"/>
                    <a:pt x="214" y="388"/>
                  </a:cubicBezTo>
                  <a:cubicBezTo>
                    <a:pt x="73" y="431"/>
                    <a:pt x="98" y="716"/>
                    <a:pt x="98" y="716"/>
                  </a:cubicBezTo>
                  <a:cubicBezTo>
                    <a:pt x="98" y="716"/>
                    <a:pt x="98" y="716"/>
                    <a:pt x="67" y="713"/>
                  </a:cubicBezTo>
                  <a:cubicBezTo>
                    <a:pt x="67" y="713"/>
                    <a:pt x="67" y="695"/>
                    <a:pt x="20" y="653"/>
                  </a:cubicBezTo>
                  <a:cubicBezTo>
                    <a:pt x="20" y="653"/>
                    <a:pt x="20" y="652"/>
                    <a:pt x="20" y="652"/>
                  </a:cubicBezTo>
                  <a:cubicBezTo>
                    <a:pt x="0" y="600"/>
                    <a:pt x="1" y="543"/>
                    <a:pt x="1" y="483"/>
                  </a:cubicBezTo>
                  <a:cubicBezTo>
                    <a:pt x="1" y="216"/>
                    <a:pt x="206" y="0"/>
                    <a:pt x="473" y="0"/>
                  </a:cubicBezTo>
                  <a:cubicBezTo>
                    <a:pt x="740" y="0"/>
                    <a:pt x="945" y="216"/>
                    <a:pt x="945" y="483"/>
                  </a:cubicBezTo>
                  <a:cubicBezTo>
                    <a:pt x="945" y="541"/>
                    <a:pt x="946" y="596"/>
                    <a:pt x="928" y="647"/>
                  </a:cubicBezTo>
                  <a:close/>
                  <a:moveTo>
                    <a:pt x="583" y="1667"/>
                  </a:moveTo>
                  <a:cubicBezTo>
                    <a:pt x="514" y="1465"/>
                    <a:pt x="514" y="1465"/>
                    <a:pt x="514" y="1465"/>
                  </a:cubicBezTo>
                  <a:cubicBezTo>
                    <a:pt x="513" y="1462"/>
                    <a:pt x="514" y="1459"/>
                    <a:pt x="515" y="1457"/>
                  </a:cubicBezTo>
                  <a:cubicBezTo>
                    <a:pt x="579" y="1356"/>
                    <a:pt x="579" y="1356"/>
                    <a:pt x="579" y="1356"/>
                  </a:cubicBezTo>
                  <a:cubicBezTo>
                    <a:pt x="582" y="1351"/>
                    <a:pt x="579" y="1344"/>
                    <a:pt x="573" y="1342"/>
                  </a:cubicBezTo>
                  <a:cubicBezTo>
                    <a:pt x="552" y="1337"/>
                    <a:pt x="510" y="1329"/>
                    <a:pt x="476" y="1329"/>
                  </a:cubicBezTo>
                  <a:cubicBezTo>
                    <a:pt x="442" y="1329"/>
                    <a:pt x="396" y="1338"/>
                    <a:pt x="374" y="1342"/>
                  </a:cubicBezTo>
                  <a:cubicBezTo>
                    <a:pt x="368" y="1344"/>
                    <a:pt x="365" y="1351"/>
                    <a:pt x="368" y="1357"/>
                  </a:cubicBezTo>
                  <a:cubicBezTo>
                    <a:pt x="432" y="1457"/>
                    <a:pt x="432" y="1457"/>
                    <a:pt x="432" y="1457"/>
                  </a:cubicBezTo>
                  <a:cubicBezTo>
                    <a:pt x="433" y="1460"/>
                    <a:pt x="434" y="1463"/>
                    <a:pt x="433" y="1465"/>
                  </a:cubicBezTo>
                  <a:cubicBezTo>
                    <a:pt x="358" y="1667"/>
                    <a:pt x="358" y="1667"/>
                    <a:pt x="358" y="1667"/>
                  </a:cubicBezTo>
                  <a:cubicBezTo>
                    <a:pt x="356" y="1674"/>
                    <a:pt x="361" y="1681"/>
                    <a:pt x="368" y="1681"/>
                  </a:cubicBezTo>
                  <a:cubicBezTo>
                    <a:pt x="574" y="1681"/>
                    <a:pt x="574" y="1681"/>
                    <a:pt x="574" y="1681"/>
                  </a:cubicBezTo>
                  <a:cubicBezTo>
                    <a:pt x="581" y="1681"/>
                    <a:pt x="585" y="1674"/>
                    <a:pt x="583" y="1667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55721" tIns="27861" rIns="55721" bIns="27861" numCol="1" anchor="t" anchorCtr="0" compatLnSpc="1"/>
            <a:lstStyle/>
            <a:p>
              <a:endParaRPr lang="en-US" sz="1100" dirty="0">
                <a:solidFill>
                  <a:srgbClr val="000000"/>
                </a:solidFill>
                <a:cs typeface="+mn-ea"/>
                <a:sym typeface="+mn-lt"/>
              </a:endParaRPr>
            </a:p>
          </p:txBody>
        </p:sp>
        <p:sp>
          <p:nvSpPr>
            <p:cNvPr id="30" name="Freeform 16"/>
            <p:cNvSpPr>
              <a:spLocks noEditPoints="1"/>
            </p:cNvSpPr>
            <p:nvPr/>
          </p:nvSpPr>
          <p:spPr bwMode="auto">
            <a:xfrm>
              <a:off x="5452110" y="3318129"/>
              <a:ext cx="1288923" cy="686562"/>
            </a:xfrm>
            <a:custGeom>
              <a:avLst/>
              <a:gdLst>
                <a:gd name="T0" fmla="*/ 26 w 1806"/>
                <a:gd name="T1" fmla="*/ 961 h 961"/>
                <a:gd name="T2" fmla="*/ 5 w 1806"/>
                <a:gd name="T3" fmla="*/ 931 h 961"/>
                <a:gd name="T4" fmla="*/ 223 w 1806"/>
                <a:gd name="T5" fmla="*/ 614 h 961"/>
                <a:gd name="T6" fmla="*/ 602 w 1806"/>
                <a:gd name="T7" fmla="*/ 548 h 961"/>
                <a:gd name="T8" fmla="*/ 612 w 1806"/>
                <a:gd name="T9" fmla="*/ 555 h 961"/>
                <a:gd name="T10" fmla="*/ 703 w 1806"/>
                <a:gd name="T11" fmla="*/ 948 h 961"/>
                <a:gd name="T12" fmla="*/ 693 w 1806"/>
                <a:gd name="T13" fmla="*/ 961 h 961"/>
                <a:gd name="T14" fmla="*/ 26 w 1806"/>
                <a:gd name="T15" fmla="*/ 961 h 961"/>
                <a:gd name="T16" fmla="*/ 1780 w 1806"/>
                <a:gd name="T17" fmla="*/ 961 h 961"/>
                <a:gd name="T18" fmla="*/ 1801 w 1806"/>
                <a:gd name="T19" fmla="*/ 931 h 961"/>
                <a:gd name="T20" fmla="*/ 1583 w 1806"/>
                <a:gd name="T21" fmla="*/ 614 h 961"/>
                <a:gd name="T22" fmla="*/ 1204 w 1806"/>
                <a:gd name="T23" fmla="*/ 548 h 961"/>
                <a:gd name="T24" fmla="*/ 1194 w 1806"/>
                <a:gd name="T25" fmla="*/ 555 h 961"/>
                <a:gd name="T26" fmla="*/ 1103 w 1806"/>
                <a:gd name="T27" fmla="*/ 948 h 961"/>
                <a:gd name="T28" fmla="*/ 1113 w 1806"/>
                <a:gd name="T29" fmla="*/ 961 h 961"/>
                <a:gd name="T30" fmla="*/ 1780 w 1806"/>
                <a:gd name="T31" fmla="*/ 961 h 961"/>
                <a:gd name="T32" fmla="*/ 1329 w 1806"/>
                <a:gd name="T33" fmla="*/ 24 h 961"/>
                <a:gd name="T34" fmla="*/ 1283 w 1806"/>
                <a:gd name="T35" fmla="*/ 77 h 961"/>
                <a:gd name="T36" fmla="*/ 1273 w 1806"/>
                <a:gd name="T37" fmla="*/ 89 h 961"/>
                <a:gd name="T38" fmla="*/ 1129 w 1806"/>
                <a:gd name="T39" fmla="*/ 391 h 961"/>
                <a:gd name="T40" fmla="*/ 903 w 1806"/>
                <a:gd name="T41" fmla="*/ 504 h 961"/>
                <a:gd name="T42" fmla="*/ 677 w 1806"/>
                <a:gd name="T43" fmla="*/ 391 h 961"/>
                <a:gd name="T44" fmla="*/ 533 w 1806"/>
                <a:gd name="T45" fmla="*/ 89 h 961"/>
                <a:gd name="T46" fmla="*/ 523 w 1806"/>
                <a:gd name="T47" fmla="*/ 77 h 961"/>
                <a:gd name="T48" fmla="*/ 477 w 1806"/>
                <a:gd name="T49" fmla="*/ 24 h 961"/>
                <a:gd name="T50" fmla="*/ 426 w 1806"/>
                <a:gd name="T51" fmla="*/ 0 h 961"/>
                <a:gd name="T52" fmla="*/ 426 w 1806"/>
                <a:gd name="T53" fmla="*/ 5 h 961"/>
                <a:gd name="T54" fmla="*/ 495 w 1806"/>
                <a:gd name="T55" fmla="*/ 112 h 961"/>
                <a:gd name="T56" fmla="*/ 639 w 1806"/>
                <a:gd name="T57" fmla="*/ 414 h 961"/>
                <a:gd name="T58" fmla="*/ 639 w 1806"/>
                <a:gd name="T59" fmla="*/ 512 h 961"/>
                <a:gd name="T60" fmla="*/ 646 w 1806"/>
                <a:gd name="T61" fmla="*/ 522 h 961"/>
                <a:gd name="T62" fmla="*/ 683 w 1806"/>
                <a:gd name="T63" fmla="*/ 560 h 961"/>
                <a:gd name="T64" fmla="*/ 683 w 1806"/>
                <a:gd name="T65" fmla="*/ 451 h 961"/>
                <a:gd name="T66" fmla="*/ 903 w 1806"/>
                <a:gd name="T67" fmla="*/ 548 h 961"/>
                <a:gd name="T68" fmla="*/ 1123 w 1806"/>
                <a:gd name="T69" fmla="*/ 451 h 961"/>
                <a:gd name="T70" fmla="*/ 1123 w 1806"/>
                <a:gd name="T71" fmla="*/ 560 h 961"/>
                <a:gd name="T72" fmla="*/ 1160 w 1806"/>
                <a:gd name="T73" fmla="*/ 522 h 961"/>
                <a:gd name="T74" fmla="*/ 1167 w 1806"/>
                <a:gd name="T75" fmla="*/ 512 h 961"/>
                <a:gd name="T76" fmla="*/ 1167 w 1806"/>
                <a:gd name="T77" fmla="*/ 414 h 961"/>
                <a:gd name="T78" fmla="*/ 1311 w 1806"/>
                <a:gd name="T79" fmla="*/ 112 h 961"/>
                <a:gd name="T80" fmla="*/ 1380 w 1806"/>
                <a:gd name="T81" fmla="*/ 3 h 961"/>
                <a:gd name="T82" fmla="*/ 1380 w 1806"/>
                <a:gd name="T83" fmla="*/ 0 h 961"/>
                <a:gd name="T84" fmla="*/ 1329 w 1806"/>
                <a:gd name="T85" fmla="*/ 24 h 9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806" h="961">
                  <a:moveTo>
                    <a:pt x="26" y="961"/>
                  </a:moveTo>
                  <a:cubicBezTo>
                    <a:pt x="10" y="961"/>
                    <a:pt x="0" y="945"/>
                    <a:pt x="5" y="931"/>
                  </a:cubicBezTo>
                  <a:cubicBezTo>
                    <a:pt x="33" y="857"/>
                    <a:pt x="113" y="664"/>
                    <a:pt x="223" y="614"/>
                  </a:cubicBezTo>
                  <a:cubicBezTo>
                    <a:pt x="344" y="557"/>
                    <a:pt x="558" y="549"/>
                    <a:pt x="602" y="548"/>
                  </a:cubicBezTo>
                  <a:cubicBezTo>
                    <a:pt x="607" y="548"/>
                    <a:pt x="611" y="551"/>
                    <a:pt x="612" y="555"/>
                  </a:cubicBezTo>
                  <a:cubicBezTo>
                    <a:pt x="703" y="948"/>
                    <a:pt x="703" y="948"/>
                    <a:pt x="703" y="948"/>
                  </a:cubicBezTo>
                  <a:cubicBezTo>
                    <a:pt x="704" y="955"/>
                    <a:pt x="700" y="961"/>
                    <a:pt x="693" y="961"/>
                  </a:cubicBezTo>
                  <a:lnTo>
                    <a:pt x="26" y="961"/>
                  </a:lnTo>
                  <a:close/>
                  <a:moveTo>
                    <a:pt x="1780" y="961"/>
                  </a:moveTo>
                  <a:cubicBezTo>
                    <a:pt x="1796" y="961"/>
                    <a:pt x="1806" y="945"/>
                    <a:pt x="1801" y="931"/>
                  </a:cubicBezTo>
                  <a:cubicBezTo>
                    <a:pt x="1773" y="857"/>
                    <a:pt x="1693" y="664"/>
                    <a:pt x="1583" y="614"/>
                  </a:cubicBezTo>
                  <a:cubicBezTo>
                    <a:pt x="1462" y="557"/>
                    <a:pt x="1248" y="549"/>
                    <a:pt x="1204" y="548"/>
                  </a:cubicBezTo>
                  <a:cubicBezTo>
                    <a:pt x="1199" y="548"/>
                    <a:pt x="1195" y="551"/>
                    <a:pt x="1194" y="555"/>
                  </a:cubicBezTo>
                  <a:cubicBezTo>
                    <a:pt x="1103" y="948"/>
                    <a:pt x="1103" y="948"/>
                    <a:pt x="1103" y="948"/>
                  </a:cubicBezTo>
                  <a:cubicBezTo>
                    <a:pt x="1102" y="955"/>
                    <a:pt x="1106" y="961"/>
                    <a:pt x="1113" y="961"/>
                  </a:cubicBezTo>
                  <a:lnTo>
                    <a:pt x="1780" y="961"/>
                  </a:lnTo>
                  <a:close/>
                  <a:moveTo>
                    <a:pt x="1329" y="24"/>
                  </a:moveTo>
                  <a:cubicBezTo>
                    <a:pt x="1322" y="43"/>
                    <a:pt x="1308" y="65"/>
                    <a:pt x="1283" y="77"/>
                  </a:cubicBezTo>
                  <a:cubicBezTo>
                    <a:pt x="1278" y="80"/>
                    <a:pt x="1274" y="84"/>
                    <a:pt x="1273" y="89"/>
                  </a:cubicBezTo>
                  <a:cubicBezTo>
                    <a:pt x="1232" y="192"/>
                    <a:pt x="1157" y="365"/>
                    <a:pt x="1129" y="391"/>
                  </a:cubicBezTo>
                  <a:cubicBezTo>
                    <a:pt x="1084" y="430"/>
                    <a:pt x="968" y="504"/>
                    <a:pt x="903" y="504"/>
                  </a:cubicBezTo>
                  <a:cubicBezTo>
                    <a:pt x="838" y="504"/>
                    <a:pt x="722" y="430"/>
                    <a:pt x="677" y="391"/>
                  </a:cubicBezTo>
                  <a:cubicBezTo>
                    <a:pt x="649" y="365"/>
                    <a:pt x="574" y="192"/>
                    <a:pt x="533" y="89"/>
                  </a:cubicBezTo>
                  <a:cubicBezTo>
                    <a:pt x="532" y="84"/>
                    <a:pt x="528" y="80"/>
                    <a:pt x="523" y="77"/>
                  </a:cubicBezTo>
                  <a:cubicBezTo>
                    <a:pt x="498" y="65"/>
                    <a:pt x="484" y="43"/>
                    <a:pt x="477" y="24"/>
                  </a:cubicBezTo>
                  <a:cubicBezTo>
                    <a:pt x="426" y="0"/>
                    <a:pt x="426" y="0"/>
                    <a:pt x="426" y="0"/>
                  </a:cubicBezTo>
                  <a:cubicBezTo>
                    <a:pt x="426" y="2"/>
                    <a:pt x="426" y="4"/>
                    <a:pt x="426" y="5"/>
                  </a:cubicBezTo>
                  <a:cubicBezTo>
                    <a:pt x="431" y="33"/>
                    <a:pt x="446" y="83"/>
                    <a:pt x="495" y="112"/>
                  </a:cubicBezTo>
                  <a:cubicBezTo>
                    <a:pt x="517" y="168"/>
                    <a:pt x="594" y="359"/>
                    <a:pt x="639" y="414"/>
                  </a:cubicBezTo>
                  <a:cubicBezTo>
                    <a:pt x="639" y="512"/>
                    <a:pt x="639" y="512"/>
                    <a:pt x="639" y="512"/>
                  </a:cubicBezTo>
                  <a:cubicBezTo>
                    <a:pt x="646" y="522"/>
                    <a:pt x="646" y="522"/>
                    <a:pt x="646" y="522"/>
                  </a:cubicBezTo>
                  <a:cubicBezTo>
                    <a:pt x="648" y="524"/>
                    <a:pt x="660" y="540"/>
                    <a:pt x="683" y="560"/>
                  </a:cubicBezTo>
                  <a:cubicBezTo>
                    <a:pt x="683" y="451"/>
                    <a:pt x="683" y="451"/>
                    <a:pt x="683" y="451"/>
                  </a:cubicBezTo>
                  <a:cubicBezTo>
                    <a:pt x="742" y="494"/>
                    <a:pt x="838" y="548"/>
                    <a:pt x="903" y="548"/>
                  </a:cubicBezTo>
                  <a:cubicBezTo>
                    <a:pt x="968" y="548"/>
                    <a:pt x="1064" y="494"/>
                    <a:pt x="1123" y="451"/>
                  </a:cubicBezTo>
                  <a:cubicBezTo>
                    <a:pt x="1123" y="560"/>
                    <a:pt x="1123" y="560"/>
                    <a:pt x="1123" y="560"/>
                  </a:cubicBezTo>
                  <a:cubicBezTo>
                    <a:pt x="1146" y="540"/>
                    <a:pt x="1158" y="524"/>
                    <a:pt x="1160" y="522"/>
                  </a:cubicBezTo>
                  <a:cubicBezTo>
                    <a:pt x="1167" y="512"/>
                    <a:pt x="1167" y="512"/>
                    <a:pt x="1167" y="512"/>
                  </a:cubicBezTo>
                  <a:cubicBezTo>
                    <a:pt x="1167" y="414"/>
                    <a:pt x="1167" y="414"/>
                    <a:pt x="1167" y="414"/>
                  </a:cubicBezTo>
                  <a:cubicBezTo>
                    <a:pt x="1212" y="358"/>
                    <a:pt x="1289" y="168"/>
                    <a:pt x="1311" y="112"/>
                  </a:cubicBezTo>
                  <a:cubicBezTo>
                    <a:pt x="1363" y="82"/>
                    <a:pt x="1377" y="26"/>
                    <a:pt x="1380" y="3"/>
                  </a:cubicBezTo>
                  <a:cubicBezTo>
                    <a:pt x="1380" y="2"/>
                    <a:pt x="1380" y="1"/>
                    <a:pt x="1380" y="0"/>
                  </a:cubicBezTo>
                  <a:lnTo>
                    <a:pt x="1329" y="2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55721" tIns="27861" rIns="55721" bIns="27861" numCol="1" anchor="t" anchorCtr="0" compatLnSpc="1"/>
            <a:lstStyle/>
            <a:p>
              <a:endParaRPr lang="en-US" sz="1100" dirty="0">
                <a:solidFill>
                  <a:srgbClr val="000000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31" name="Group 14"/>
          <p:cNvGrpSpPr/>
          <p:nvPr/>
        </p:nvGrpSpPr>
        <p:grpSpPr>
          <a:xfrm>
            <a:off x="2520991" y="3880073"/>
            <a:ext cx="441043" cy="410927"/>
            <a:chOff x="5452110" y="2803779"/>
            <a:chExt cx="1288923" cy="1200912"/>
          </a:xfrm>
        </p:grpSpPr>
        <p:sp>
          <p:nvSpPr>
            <p:cNvPr id="32" name="Freeform 15"/>
            <p:cNvSpPr>
              <a:spLocks noEditPoints="1"/>
            </p:cNvSpPr>
            <p:nvPr/>
          </p:nvSpPr>
          <p:spPr bwMode="auto">
            <a:xfrm>
              <a:off x="5759196" y="2803779"/>
              <a:ext cx="675132" cy="1200912"/>
            </a:xfrm>
            <a:custGeom>
              <a:avLst/>
              <a:gdLst>
                <a:gd name="T0" fmla="*/ 928 w 946"/>
                <a:gd name="T1" fmla="*/ 647 h 1681"/>
                <a:gd name="T2" fmla="*/ 928 w 946"/>
                <a:gd name="T3" fmla="*/ 646 h 1681"/>
                <a:gd name="T4" fmla="*/ 874 w 946"/>
                <a:gd name="T5" fmla="*/ 722 h 1681"/>
                <a:gd name="T6" fmla="*/ 840 w 946"/>
                <a:gd name="T7" fmla="*/ 722 h 1681"/>
                <a:gd name="T8" fmla="*/ 835 w 946"/>
                <a:gd name="T9" fmla="*/ 366 h 1681"/>
                <a:gd name="T10" fmla="*/ 214 w 946"/>
                <a:gd name="T11" fmla="*/ 388 h 1681"/>
                <a:gd name="T12" fmla="*/ 98 w 946"/>
                <a:gd name="T13" fmla="*/ 716 h 1681"/>
                <a:gd name="T14" fmla="*/ 67 w 946"/>
                <a:gd name="T15" fmla="*/ 713 h 1681"/>
                <a:gd name="T16" fmla="*/ 20 w 946"/>
                <a:gd name="T17" fmla="*/ 653 h 1681"/>
                <a:gd name="T18" fmla="*/ 20 w 946"/>
                <a:gd name="T19" fmla="*/ 652 h 1681"/>
                <a:gd name="T20" fmla="*/ 1 w 946"/>
                <a:gd name="T21" fmla="*/ 483 h 1681"/>
                <a:gd name="T22" fmla="*/ 473 w 946"/>
                <a:gd name="T23" fmla="*/ 0 h 1681"/>
                <a:gd name="T24" fmla="*/ 945 w 946"/>
                <a:gd name="T25" fmla="*/ 483 h 1681"/>
                <a:gd name="T26" fmla="*/ 928 w 946"/>
                <a:gd name="T27" fmla="*/ 647 h 1681"/>
                <a:gd name="T28" fmla="*/ 583 w 946"/>
                <a:gd name="T29" fmla="*/ 1667 h 1681"/>
                <a:gd name="T30" fmla="*/ 514 w 946"/>
                <a:gd name="T31" fmla="*/ 1465 h 1681"/>
                <a:gd name="T32" fmla="*/ 515 w 946"/>
                <a:gd name="T33" fmla="*/ 1457 h 1681"/>
                <a:gd name="T34" fmla="*/ 579 w 946"/>
                <a:gd name="T35" fmla="*/ 1356 h 1681"/>
                <a:gd name="T36" fmla="*/ 573 w 946"/>
                <a:gd name="T37" fmla="*/ 1342 h 1681"/>
                <a:gd name="T38" fmla="*/ 476 w 946"/>
                <a:gd name="T39" fmla="*/ 1329 h 1681"/>
                <a:gd name="T40" fmla="*/ 374 w 946"/>
                <a:gd name="T41" fmla="*/ 1342 h 1681"/>
                <a:gd name="T42" fmla="*/ 368 w 946"/>
                <a:gd name="T43" fmla="*/ 1357 h 1681"/>
                <a:gd name="T44" fmla="*/ 432 w 946"/>
                <a:gd name="T45" fmla="*/ 1457 h 1681"/>
                <a:gd name="T46" fmla="*/ 433 w 946"/>
                <a:gd name="T47" fmla="*/ 1465 h 1681"/>
                <a:gd name="T48" fmla="*/ 358 w 946"/>
                <a:gd name="T49" fmla="*/ 1667 h 1681"/>
                <a:gd name="T50" fmla="*/ 368 w 946"/>
                <a:gd name="T51" fmla="*/ 1681 h 1681"/>
                <a:gd name="T52" fmla="*/ 574 w 946"/>
                <a:gd name="T53" fmla="*/ 1681 h 1681"/>
                <a:gd name="T54" fmla="*/ 583 w 946"/>
                <a:gd name="T55" fmla="*/ 1667 h 16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946" h="1681">
                  <a:moveTo>
                    <a:pt x="928" y="647"/>
                  </a:moveTo>
                  <a:cubicBezTo>
                    <a:pt x="928" y="647"/>
                    <a:pt x="928" y="647"/>
                    <a:pt x="928" y="646"/>
                  </a:cubicBezTo>
                  <a:cubicBezTo>
                    <a:pt x="926" y="647"/>
                    <a:pt x="919" y="672"/>
                    <a:pt x="874" y="722"/>
                  </a:cubicBezTo>
                  <a:cubicBezTo>
                    <a:pt x="874" y="722"/>
                    <a:pt x="874" y="722"/>
                    <a:pt x="840" y="722"/>
                  </a:cubicBezTo>
                  <a:cubicBezTo>
                    <a:pt x="840" y="722"/>
                    <a:pt x="840" y="704"/>
                    <a:pt x="835" y="366"/>
                  </a:cubicBezTo>
                  <a:cubicBezTo>
                    <a:pt x="782" y="637"/>
                    <a:pt x="214" y="388"/>
                    <a:pt x="214" y="388"/>
                  </a:cubicBezTo>
                  <a:cubicBezTo>
                    <a:pt x="73" y="431"/>
                    <a:pt x="98" y="716"/>
                    <a:pt x="98" y="716"/>
                  </a:cubicBezTo>
                  <a:cubicBezTo>
                    <a:pt x="98" y="716"/>
                    <a:pt x="98" y="716"/>
                    <a:pt x="67" y="713"/>
                  </a:cubicBezTo>
                  <a:cubicBezTo>
                    <a:pt x="67" y="713"/>
                    <a:pt x="67" y="695"/>
                    <a:pt x="20" y="653"/>
                  </a:cubicBezTo>
                  <a:cubicBezTo>
                    <a:pt x="20" y="653"/>
                    <a:pt x="20" y="652"/>
                    <a:pt x="20" y="652"/>
                  </a:cubicBezTo>
                  <a:cubicBezTo>
                    <a:pt x="0" y="600"/>
                    <a:pt x="1" y="543"/>
                    <a:pt x="1" y="483"/>
                  </a:cubicBezTo>
                  <a:cubicBezTo>
                    <a:pt x="1" y="216"/>
                    <a:pt x="206" y="0"/>
                    <a:pt x="473" y="0"/>
                  </a:cubicBezTo>
                  <a:cubicBezTo>
                    <a:pt x="740" y="0"/>
                    <a:pt x="945" y="216"/>
                    <a:pt x="945" y="483"/>
                  </a:cubicBezTo>
                  <a:cubicBezTo>
                    <a:pt x="945" y="541"/>
                    <a:pt x="946" y="596"/>
                    <a:pt x="928" y="647"/>
                  </a:cubicBezTo>
                  <a:close/>
                  <a:moveTo>
                    <a:pt x="583" y="1667"/>
                  </a:moveTo>
                  <a:cubicBezTo>
                    <a:pt x="514" y="1465"/>
                    <a:pt x="514" y="1465"/>
                    <a:pt x="514" y="1465"/>
                  </a:cubicBezTo>
                  <a:cubicBezTo>
                    <a:pt x="513" y="1462"/>
                    <a:pt x="514" y="1459"/>
                    <a:pt x="515" y="1457"/>
                  </a:cubicBezTo>
                  <a:cubicBezTo>
                    <a:pt x="579" y="1356"/>
                    <a:pt x="579" y="1356"/>
                    <a:pt x="579" y="1356"/>
                  </a:cubicBezTo>
                  <a:cubicBezTo>
                    <a:pt x="582" y="1351"/>
                    <a:pt x="579" y="1344"/>
                    <a:pt x="573" y="1342"/>
                  </a:cubicBezTo>
                  <a:cubicBezTo>
                    <a:pt x="552" y="1337"/>
                    <a:pt x="510" y="1329"/>
                    <a:pt x="476" y="1329"/>
                  </a:cubicBezTo>
                  <a:cubicBezTo>
                    <a:pt x="442" y="1329"/>
                    <a:pt x="396" y="1338"/>
                    <a:pt x="374" y="1342"/>
                  </a:cubicBezTo>
                  <a:cubicBezTo>
                    <a:pt x="368" y="1344"/>
                    <a:pt x="365" y="1351"/>
                    <a:pt x="368" y="1357"/>
                  </a:cubicBezTo>
                  <a:cubicBezTo>
                    <a:pt x="432" y="1457"/>
                    <a:pt x="432" y="1457"/>
                    <a:pt x="432" y="1457"/>
                  </a:cubicBezTo>
                  <a:cubicBezTo>
                    <a:pt x="433" y="1460"/>
                    <a:pt x="434" y="1463"/>
                    <a:pt x="433" y="1465"/>
                  </a:cubicBezTo>
                  <a:cubicBezTo>
                    <a:pt x="358" y="1667"/>
                    <a:pt x="358" y="1667"/>
                    <a:pt x="358" y="1667"/>
                  </a:cubicBezTo>
                  <a:cubicBezTo>
                    <a:pt x="356" y="1674"/>
                    <a:pt x="361" y="1681"/>
                    <a:pt x="368" y="1681"/>
                  </a:cubicBezTo>
                  <a:cubicBezTo>
                    <a:pt x="574" y="1681"/>
                    <a:pt x="574" y="1681"/>
                    <a:pt x="574" y="1681"/>
                  </a:cubicBezTo>
                  <a:cubicBezTo>
                    <a:pt x="581" y="1681"/>
                    <a:pt x="585" y="1674"/>
                    <a:pt x="583" y="1667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55721" tIns="27861" rIns="55721" bIns="27861" numCol="1" anchor="t" anchorCtr="0" compatLnSpc="1"/>
            <a:lstStyle/>
            <a:p>
              <a:endParaRPr lang="en-US" sz="1500" dirty="0">
                <a:solidFill>
                  <a:srgbClr val="000000"/>
                </a:solidFill>
                <a:cs typeface="+mn-ea"/>
                <a:sym typeface="+mn-lt"/>
              </a:endParaRPr>
            </a:p>
          </p:txBody>
        </p:sp>
        <p:sp>
          <p:nvSpPr>
            <p:cNvPr id="33" name="Freeform 16"/>
            <p:cNvSpPr>
              <a:spLocks noEditPoints="1"/>
            </p:cNvSpPr>
            <p:nvPr/>
          </p:nvSpPr>
          <p:spPr bwMode="auto">
            <a:xfrm>
              <a:off x="5452110" y="3318129"/>
              <a:ext cx="1288923" cy="686562"/>
            </a:xfrm>
            <a:custGeom>
              <a:avLst/>
              <a:gdLst>
                <a:gd name="T0" fmla="*/ 26 w 1806"/>
                <a:gd name="T1" fmla="*/ 961 h 961"/>
                <a:gd name="T2" fmla="*/ 5 w 1806"/>
                <a:gd name="T3" fmla="*/ 931 h 961"/>
                <a:gd name="T4" fmla="*/ 223 w 1806"/>
                <a:gd name="T5" fmla="*/ 614 h 961"/>
                <a:gd name="T6" fmla="*/ 602 w 1806"/>
                <a:gd name="T7" fmla="*/ 548 h 961"/>
                <a:gd name="T8" fmla="*/ 612 w 1806"/>
                <a:gd name="T9" fmla="*/ 555 h 961"/>
                <a:gd name="T10" fmla="*/ 703 w 1806"/>
                <a:gd name="T11" fmla="*/ 948 h 961"/>
                <a:gd name="T12" fmla="*/ 693 w 1806"/>
                <a:gd name="T13" fmla="*/ 961 h 961"/>
                <a:gd name="T14" fmla="*/ 26 w 1806"/>
                <a:gd name="T15" fmla="*/ 961 h 961"/>
                <a:gd name="T16" fmla="*/ 1780 w 1806"/>
                <a:gd name="T17" fmla="*/ 961 h 961"/>
                <a:gd name="T18" fmla="*/ 1801 w 1806"/>
                <a:gd name="T19" fmla="*/ 931 h 961"/>
                <a:gd name="T20" fmla="*/ 1583 w 1806"/>
                <a:gd name="T21" fmla="*/ 614 h 961"/>
                <a:gd name="T22" fmla="*/ 1204 w 1806"/>
                <a:gd name="T23" fmla="*/ 548 h 961"/>
                <a:gd name="T24" fmla="*/ 1194 w 1806"/>
                <a:gd name="T25" fmla="*/ 555 h 961"/>
                <a:gd name="T26" fmla="*/ 1103 w 1806"/>
                <a:gd name="T27" fmla="*/ 948 h 961"/>
                <a:gd name="T28" fmla="*/ 1113 w 1806"/>
                <a:gd name="T29" fmla="*/ 961 h 961"/>
                <a:gd name="T30" fmla="*/ 1780 w 1806"/>
                <a:gd name="T31" fmla="*/ 961 h 961"/>
                <a:gd name="T32" fmla="*/ 1329 w 1806"/>
                <a:gd name="T33" fmla="*/ 24 h 961"/>
                <a:gd name="T34" fmla="*/ 1283 w 1806"/>
                <a:gd name="T35" fmla="*/ 77 h 961"/>
                <a:gd name="T36" fmla="*/ 1273 w 1806"/>
                <a:gd name="T37" fmla="*/ 89 h 961"/>
                <a:gd name="T38" fmla="*/ 1129 w 1806"/>
                <a:gd name="T39" fmla="*/ 391 h 961"/>
                <a:gd name="T40" fmla="*/ 903 w 1806"/>
                <a:gd name="T41" fmla="*/ 504 h 961"/>
                <a:gd name="T42" fmla="*/ 677 w 1806"/>
                <a:gd name="T43" fmla="*/ 391 h 961"/>
                <a:gd name="T44" fmla="*/ 533 w 1806"/>
                <a:gd name="T45" fmla="*/ 89 h 961"/>
                <a:gd name="T46" fmla="*/ 523 w 1806"/>
                <a:gd name="T47" fmla="*/ 77 h 961"/>
                <a:gd name="T48" fmla="*/ 477 w 1806"/>
                <a:gd name="T49" fmla="*/ 24 h 961"/>
                <a:gd name="T50" fmla="*/ 426 w 1806"/>
                <a:gd name="T51" fmla="*/ 0 h 961"/>
                <a:gd name="T52" fmla="*/ 426 w 1806"/>
                <a:gd name="T53" fmla="*/ 5 h 961"/>
                <a:gd name="T54" fmla="*/ 495 w 1806"/>
                <a:gd name="T55" fmla="*/ 112 h 961"/>
                <a:gd name="T56" fmla="*/ 639 w 1806"/>
                <a:gd name="T57" fmla="*/ 414 h 961"/>
                <a:gd name="T58" fmla="*/ 639 w 1806"/>
                <a:gd name="T59" fmla="*/ 512 h 961"/>
                <a:gd name="T60" fmla="*/ 646 w 1806"/>
                <a:gd name="T61" fmla="*/ 522 h 961"/>
                <a:gd name="T62" fmla="*/ 683 w 1806"/>
                <a:gd name="T63" fmla="*/ 560 h 961"/>
                <a:gd name="T64" fmla="*/ 683 w 1806"/>
                <a:gd name="T65" fmla="*/ 451 h 961"/>
                <a:gd name="T66" fmla="*/ 903 w 1806"/>
                <a:gd name="T67" fmla="*/ 548 h 961"/>
                <a:gd name="T68" fmla="*/ 1123 w 1806"/>
                <a:gd name="T69" fmla="*/ 451 h 961"/>
                <a:gd name="T70" fmla="*/ 1123 w 1806"/>
                <a:gd name="T71" fmla="*/ 560 h 961"/>
                <a:gd name="T72" fmla="*/ 1160 w 1806"/>
                <a:gd name="T73" fmla="*/ 522 h 961"/>
                <a:gd name="T74" fmla="*/ 1167 w 1806"/>
                <a:gd name="T75" fmla="*/ 512 h 961"/>
                <a:gd name="T76" fmla="*/ 1167 w 1806"/>
                <a:gd name="T77" fmla="*/ 414 h 961"/>
                <a:gd name="T78" fmla="*/ 1311 w 1806"/>
                <a:gd name="T79" fmla="*/ 112 h 961"/>
                <a:gd name="T80" fmla="*/ 1380 w 1806"/>
                <a:gd name="T81" fmla="*/ 3 h 961"/>
                <a:gd name="T82" fmla="*/ 1380 w 1806"/>
                <a:gd name="T83" fmla="*/ 0 h 961"/>
                <a:gd name="T84" fmla="*/ 1329 w 1806"/>
                <a:gd name="T85" fmla="*/ 24 h 9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806" h="961">
                  <a:moveTo>
                    <a:pt x="26" y="961"/>
                  </a:moveTo>
                  <a:cubicBezTo>
                    <a:pt x="10" y="961"/>
                    <a:pt x="0" y="945"/>
                    <a:pt x="5" y="931"/>
                  </a:cubicBezTo>
                  <a:cubicBezTo>
                    <a:pt x="33" y="857"/>
                    <a:pt x="113" y="664"/>
                    <a:pt x="223" y="614"/>
                  </a:cubicBezTo>
                  <a:cubicBezTo>
                    <a:pt x="344" y="557"/>
                    <a:pt x="558" y="549"/>
                    <a:pt x="602" y="548"/>
                  </a:cubicBezTo>
                  <a:cubicBezTo>
                    <a:pt x="607" y="548"/>
                    <a:pt x="611" y="551"/>
                    <a:pt x="612" y="555"/>
                  </a:cubicBezTo>
                  <a:cubicBezTo>
                    <a:pt x="703" y="948"/>
                    <a:pt x="703" y="948"/>
                    <a:pt x="703" y="948"/>
                  </a:cubicBezTo>
                  <a:cubicBezTo>
                    <a:pt x="704" y="955"/>
                    <a:pt x="700" y="961"/>
                    <a:pt x="693" y="961"/>
                  </a:cubicBezTo>
                  <a:lnTo>
                    <a:pt x="26" y="961"/>
                  </a:lnTo>
                  <a:close/>
                  <a:moveTo>
                    <a:pt x="1780" y="961"/>
                  </a:moveTo>
                  <a:cubicBezTo>
                    <a:pt x="1796" y="961"/>
                    <a:pt x="1806" y="945"/>
                    <a:pt x="1801" y="931"/>
                  </a:cubicBezTo>
                  <a:cubicBezTo>
                    <a:pt x="1773" y="857"/>
                    <a:pt x="1693" y="664"/>
                    <a:pt x="1583" y="614"/>
                  </a:cubicBezTo>
                  <a:cubicBezTo>
                    <a:pt x="1462" y="557"/>
                    <a:pt x="1248" y="549"/>
                    <a:pt x="1204" y="548"/>
                  </a:cubicBezTo>
                  <a:cubicBezTo>
                    <a:pt x="1199" y="548"/>
                    <a:pt x="1195" y="551"/>
                    <a:pt x="1194" y="555"/>
                  </a:cubicBezTo>
                  <a:cubicBezTo>
                    <a:pt x="1103" y="948"/>
                    <a:pt x="1103" y="948"/>
                    <a:pt x="1103" y="948"/>
                  </a:cubicBezTo>
                  <a:cubicBezTo>
                    <a:pt x="1102" y="955"/>
                    <a:pt x="1106" y="961"/>
                    <a:pt x="1113" y="961"/>
                  </a:cubicBezTo>
                  <a:lnTo>
                    <a:pt x="1780" y="961"/>
                  </a:lnTo>
                  <a:close/>
                  <a:moveTo>
                    <a:pt x="1329" y="24"/>
                  </a:moveTo>
                  <a:cubicBezTo>
                    <a:pt x="1322" y="43"/>
                    <a:pt x="1308" y="65"/>
                    <a:pt x="1283" y="77"/>
                  </a:cubicBezTo>
                  <a:cubicBezTo>
                    <a:pt x="1278" y="80"/>
                    <a:pt x="1274" y="84"/>
                    <a:pt x="1273" y="89"/>
                  </a:cubicBezTo>
                  <a:cubicBezTo>
                    <a:pt x="1232" y="192"/>
                    <a:pt x="1157" y="365"/>
                    <a:pt x="1129" y="391"/>
                  </a:cubicBezTo>
                  <a:cubicBezTo>
                    <a:pt x="1084" y="430"/>
                    <a:pt x="968" y="504"/>
                    <a:pt x="903" y="504"/>
                  </a:cubicBezTo>
                  <a:cubicBezTo>
                    <a:pt x="838" y="504"/>
                    <a:pt x="722" y="430"/>
                    <a:pt x="677" y="391"/>
                  </a:cubicBezTo>
                  <a:cubicBezTo>
                    <a:pt x="649" y="365"/>
                    <a:pt x="574" y="192"/>
                    <a:pt x="533" y="89"/>
                  </a:cubicBezTo>
                  <a:cubicBezTo>
                    <a:pt x="532" y="84"/>
                    <a:pt x="528" y="80"/>
                    <a:pt x="523" y="77"/>
                  </a:cubicBezTo>
                  <a:cubicBezTo>
                    <a:pt x="498" y="65"/>
                    <a:pt x="484" y="43"/>
                    <a:pt x="477" y="24"/>
                  </a:cubicBezTo>
                  <a:cubicBezTo>
                    <a:pt x="426" y="0"/>
                    <a:pt x="426" y="0"/>
                    <a:pt x="426" y="0"/>
                  </a:cubicBezTo>
                  <a:cubicBezTo>
                    <a:pt x="426" y="2"/>
                    <a:pt x="426" y="4"/>
                    <a:pt x="426" y="5"/>
                  </a:cubicBezTo>
                  <a:cubicBezTo>
                    <a:pt x="431" y="33"/>
                    <a:pt x="446" y="83"/>
                    <a:pt x="495" y="112"/>
                  </a:cubicBezTo>
                  <a:cubicBezTo>
                    <a:pt x="517" y="168"/>
                    <a:pt x="594" y="359"/>
                    <a:pt x="639" y="414"/>
                  </a:cubicBezTo>
                  <a:cubicBezTo>
                    <a:pt x="639" y="512"/>
                    <a:pt x="639" y="512"/>
                    <a:pt x="639" y="512"/>
                  </a:cubicBezTo>
                  <a:cubicBezTo>
                    <a:pt x="646" y="522"/>
                    <a:pt x="646" y="522"/>
                    <a:pt x="646" y="522"/>
                  </a:cubicBezTo>
                  <a:cubicBezTo>
                    <a:pt x="648" y="524"/>
                    <a:pt x="660" y="540"/>
                    <a:pt x="683" y="560"/>
                  </a:cubicBezTo>
                  <a:cubicBezTo>
                    <a:pt x="683" y="451"/>
                    <a:pt x="683" y="451"/>
                    <a:pt x="683" y="451"/>
                  </a:cubicBezTo>
                  <a:cubicBezTo>
                    <a:pt x="742" y="494"/>
                    <a:pt x="838" y="548"/>
                    <a:pt x="903" y="548"/>
                  </a:cubicBezTo>
                  <a:cubicBezTo>
                    <a:pt x="968" y="548"/>
                    <a:pt x="1064" y="494"/>
                    <a:pt x="1123" y="451"/>
                  </a:cubicBezTo>
                  <a:cubicBezTo>
                    <a:pt x="1123" y="560"/>
                    <a:pt x="1123" y="560"/>
                    <a:pt x="1123" y="560"/>
                  </a:cubicBezTo>
                  <a:cubicBezTo>
                    <a:pt x="1146" y="540"/>
                    <a:pt x="1158" y="524"/>
                    <a:pt x="1160" y="522"/>
                  </a:cubicBezTo>
                  <a:cubicBezTo>
                    <a:pt x="1167" y="512"/>
                    <a:pt x="1167" y="512"/>
                    <a:pt x="1167" y="512"/>
                  </a:cubicBezTo>
                  <a:cubicBezTo>
                    <a:pt x="1167" y="414"/>
                    <a:pt x="1167" y="414"/>
                    <a:pt x="1167" y="414"/>
                  </a:cubicBezTo>
                  <a:cubicBezTo>
                    <a:pt x="1212" y="358"/>
                    <a:pt x="1289" y="168"/>
                    <a:pt x="1311" y="112"/>
                  </a:cubicBezTo>
                  <a:cubicBezTo>
                    <a:pt x="1363" y="82"/>
                    <a:pt x="1377" y="26"/>
                    <a:pt x="1380" y="3"/>
                  </a:cubicBezTo>
                  <a:cubicBezTo>
                    <a:pt x="1380" y="2"/>
                    <a:pt x="1380" y="1"/>
                    <a:pt x="1380" y="0"/>
                  </a:cubicBezTo>
                  <a:lnTo>
                    <a:pt x="1329" y="2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55721" tIns="27861" rIns="55721" bIns="27861" numCol="1" anchor="t" anchorCtr="0" compatLnSpc="1"/>
            <a:lstStyle/>
            <a:p>
              <a:endParaRPr lang="en-US" sz="1500" dirty="0">
                <a:solidFill>
                  <a:srgbClr val="000000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34" name="Group 14"/>
          <p:cNvGrpSpPr/>
          <p:nvPr/>
        </p:nvGrpSpPr>
        <p:grpSpPr>
          <a:xfrm>
            <a:off x="1880311" y="2083466"/>
            <a:ext cx="441043" cy="410927"/>
            <a:chOff x="5452110" y="2803779"/>
            <a:chExt cx="1288923" cy="1200912"/>
          </a:xfrm>
        </p:grpSpPr>
        <p:sp>
          <p:nvSpPr>
            <p:cNvPr id="35" name="Freeform 15"/>
            <p:cNvSpPr>
              <a:spLocks noEditPoints="1"/>
            </p:cNvSpPr>
            <p:nvPr/>
          </p:nvSpPr>
          <p:spPr bwMode="auto">
            <a:xfrm>
              <a:off x="5759196" y="2803779"/>
              <a:ext cx="675132" cy="1200912"/>
            </a:xfrm>
            <a:custGeom>
              <a:avLst/>
              <a:gdLst>
                <a:gd name="T0" fmla="*/ 928 w 946"/>
                <a:gd name="T1" fmla="*/ 647 h 1681"/>
                <a:gd name="T2" fmla="*/ 928 w 946"/>
                <a:gd name="T3" fmla="*/ 646 h 1681"/>
                <a:gd name="T4" fmla="*/ 874 w 946"/>
                <a:gd name="T5" fmla="*/ 722 h 1681"/>
                <a:gd name="T6" fmla="*/ 840 w 946"/>
                <a:gd name="T7" fmla="*/ 722 h 1681"/>
                <a:gd name="T8" fmla="*/ 835 w 946"/>
                <a:gd name="T9" fmla="*/ 366 h 1681"/>
                <a:gd name="T10" fmla="*/ 214 w 946"/>
                <a:gd name="T11" fmla="*/ 388 h 1681"/>
                <a:gd name="T12" fmla="*/ 98 w 946"/>
                <a:gd name="T13" fmla="*/ 716 h 1681"/>
                <a:gd name="T14" fmla="*/ 67 w 946"/>
                <a:gd name="T15" fmla="*/ 713 h 1681"/>
                <a:gd name="T16" fmla="*/ 20 w 946"/>
                <a:gd name="T17" fmla="*/ 653 h 1681"/>
                <a:gd name="T18" fmla="*/ 20 w 946"/>
                <a:gd name="T19" fmla="*/ 652 h 1681"/>
                <a:gd name="T20" fmla="*/ 1 w 946"/>
                <a:gd name="T21" fmla="*/ 483 h 1681"/>
                <a:gd name="T22" fmla="*/ 473 w 946"/>
                <a:gd name="T23" fmla="*/ 0 h 1681"/>
                <a:gd name="T24" fmla="*/ 945 w 946"/>
                <a:gd name="T25" fmla="*/ 483 h 1681"/>
                <a:gd name="T26" fmla="*/ 928 w 946"/>
                <a:gd name="T27" fmla="*/ 647 h 1681"/>
                <a:gd name="T28" fmla="*/ 583 w 946"/>
                <a:gd name="T29" fmla="*/ 1667 h 1681"/>
                <a:gd name="T30" fmla="*/ 514 w 946"/>
                <a:gd name="T31" fmla="*/ 1465 h 1681"/>
                <a:gd name="T32" fmla="*/ 515 w 946"/>
                <a:gd name="T33" fmla="*/ 1457 h 1681"/>
                <a:gd name="T34" fmla="*/ 579 w 946"/>
                <a:gd name="T35" fmla="*/ 1356 h 1681"/>
                <a:gd name="T36" fmla="*/ 573 w 946"/>
                <a:gd name="T37" fmla="*/ 1342 h 1681"/>
                <a:gd name="T38" fmla="*/ 476 w 946"/>
                <a:gd name="T39" fmla="*/ 1329 h 1681"/>
                <a:gd name="T40" fmla="*/ 374 w 946"/>
                <a:gd name="T41" fmla="*/ 1342 h 1681"/>
                <a:gd name="T42" fmla="*/ 368 w 946"/>
                <a:gd name="T43" fmla="*/ 1357 h 1681"/>
                <a:gd name="T44" fmla="*/ 432 w 946"/>
                <a:gd name="T45" fmla="*/ 1457 h 1681"/>
                <a:gd name="T46" fmla="*/ 433 w 946"/>
                <a:gd name="T47" fmla="*/ 1465 h 1681"/>
                <a:gd name="T48" fmla="*/ 358 w 946"/>
                <a:gd name="T49" fmla="*/ 1667 h 1681"/>
                <a:gd name="T50" fmla="*/ 368 w 946"/>
                <a:gd name="T51" fmla="*/ 1681 h 1681"/>
                <a:gd name="T52" fmla="*/ 574 w 946"/>
                <a:gd name="T53" fmla="*/ 1681 h 1681"/>
                <a:gd name="T54" fmla="*/ 583 w 946"/>
                <a:gd name="T55" fmla="*/ 1667 h 16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946" h="1681">
                  <a:moveTo>
                    <a:pt x="928" y="647"/>
                  </a:moveTo>
                  <a:cubicBezTo>
                    <a:pt x="928" y="647"/>
                    <a:pt x="928" y="647"/>
                    <a:pt x="928" y="646"/>
                  </a:cubicBezTo>
                  <a:cubicBezTo>
                    <a:pt x="926" y="647"/>
                    <a:pt x="919" y="672"/>
                    <a:pt x="874" y="722"/>
                  </a:cubicBezTo>
                  <a:cubicBezTo>
                    <a:pt x="874" y="722"/>
                    <a:pt x="874" y="722"/>
                    <a:pt x="840" y="722"/>
                  </a:cubicBezTo>
                  <a:cubicBezTo>
                    <a:pt x="840" y="722"/>
                    <a:pt x="840" y="704"/>
                    <a:pt x="835" y="366"/>
                  </a:cubicBezTo>
                  <a:cubicBezTo>
                    <a:pt x="782" y="637"/>
                    <a:pt x="214" y="388"/>
                    <a:pt x="214" y="388"/>
                  </a:cubicBezTo>
                  <a:cubicBezTo>
                    <a:pt x="73" y="431"/>
                    <a:pt x="98" y="716"/>
                    <a:pt x="98" y="716"/>
                  </a:cubicBezTo>
                  <a:cubicBezTo>
                    <a:pt x="98" y="716"/>
                    <a:pt x="98" y="716"/>
                    <a:pt x="67" y="713"/>
                  </a:cubicBezTo>
                  <a:cubicBezTo>
                    <a:pt x="67" y="713"/>
                    <a:pt x="67" y="695"/>
                    <a:pt x="20" y="653"/>
                  </a:cubicBezTo>
                  <a:cubicBezTo>
                    <a:pt x="20" y="653"/>
                    <a:pt x="20" y="652"/>
                    <a:pt x="20" y="652"/>
                  </a:cubicBezTo>
                  <a:cubicBezTo>
                    <a:pt x="0" y="600"/>
                    <a:pt x="1" y="543"/>
                    <a:pt x="1" y="483"/>
                  </a:cubicBezTo>
                  <a:cubicBezTo>
                    <a:pt x="1" y="216"/>
                    <a:pt x="206" y="0"/>
                    <a:pt x="473" y="0"/>
                  </a:cubicBezTo>
                  <a:cubicBezTo>
                    <a:pt x="740" y="0"/>
                    <a:pt x="945" y="216"/>
                    <a:pt x="945" y="483"/>
                  </a:cubicBezTo>
                  <a:cubicBezTo>
                    <a:pt x="945" y="541"/>
                    <a:pt x="946" y="596"/>
                    <a:pt x="928" y="647"/>
                  </a:cubicBezTo>
                  <a:close/>
                  <a:moveTo>
                    <a:pt x="583" y="1667"/>
                  </a:moveTo>
                  <a:cubicBezTo>
                    <a:pt x="514" y="1465"/>
                    <a:pt x="514" y="1465"/>
                    <a:pt x="514" y="1465"/>
                  </a:cubicBezTo>
                  <a:cubicBezTo>
                    <a:pt x="513" y="1462"/>
                    <a:pt x="514" y="1459"/>
                    <a:pt x="515" y="1457"/>
                  </a:cubicBezTo>
                  <a:cubicBezTo>
                    <a:pt x="579" y="1356"/>
                    <a:pt x="579" y="1356"/>
                    <a:pt x="579" y="1356"/>
                  </a:cubicBezTo>
                  <a:cubicBezTo>
                    <a:pt x="582" y="1351"/>
                    <a:pt x="579" y="1344"/>
                    <a:pt x="573" y="1342"/>
                  </a:cubicBezTo>
                  <a:cubicBezTo>
                    <a:pt x="552" y="1337"/>
                    <a:pt x="510" y="1329"/>
                    <a:pt x="476" y="1329"/>
                  </a:cubicBezTo>
                  <a:cubicBezTo>
                    <a:pt x="442" y="1329"/>
                    <a:pt x="396" y="1338"/>
                    <a:pt x="374" y="1342"/>
                  </a:cubicBezTo>
                  <a:cubicBezTo>
                    <a:pt x="368" y="1344"/>
                    <a:pt x="365" y="1351"/>
                    <a:pt x="368" y="1357"/>
                  </a:cubicBezTo>
                  <a:cubicBezTo>
                    <a:pt x="432" y="1457"/>
                    <a:pt x="432" y="1457"/>
                    <a:pt x="432" y="1457"/>
                  </a:cubicBezTo>
                  <a:cubicBezTo>
                    <a:pt x="433" y="1460"/>
                    <a:pt x="434" y="1463"/>
                    <a:pt x="433" y="1465"/>
                  </a:cubicBezTo>
                  <a:cubicBezTo>
                    <a:pt x="358" y="1667"/>
                    <a:pt x="358" y="1667"/>
                    <a:pt x="358" y="1667"/>
                  </a:cubicBezTo>
                  <a:cubicBezTo>
                    <a:pt x="356" y="1674"/>
                    <a:pt x="361" y="1681"/>
                    <a:pt x="368" y="1681"/>
                  </a:cubicBezTo>
                  <a:cubicBezTo>
                    <a:pt x="574" y="1681"/>
                    <a:pt x="574" y="1681"/>
                    <a:pt x="574" y="1681"/>
                  </a:cubicBezTo>
                  <a:cubicBezTo>
                    <a:pt x="581" y="1681"/>
                    <a:pt x="585" y="1674"/>
                    <a:pt x="583" y="1667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55721" tIns="27861" rIns="55721" bIns="27861" numCol="1" anchor="t" anchorCtr="0" compatLnSpc="1"/>
            <a:lstStyle/>
            <a:p>
              <a:endParaRPr lang="en-US" sz="1100" dirty="0">
                <a:solidFill>
                  <a:srgbClr val="000000"/>
                </a:solidFill>
                <a:cs typeface="+mn-ea"/>
                <a:sym typeface="+mn-lt"/>
              </a:endParaRPr>
            </a:p>
          </p:txBody>
        </p:sp>
        <p:sp>
          <p:nvSpPr>
            <p:cNvPr id="36" name="Freeform 16"/>
            <p:cNvSpPr>
              <a:spLocks noEditPoints="1"/>
            </p:cNvSpPr>
            <p:nvPr/>
          </p:nvSpPr>
          <p:spPr bwMode="auto">
            <a:xfrm>
              <a:off x="5452110" y="3318129"/>
              <a:ext cx="1288923" cy="686562"/>
            </a:xfrm>
            <a:custGeom>
              <a:avLst/>
              <a:gdLst>
                <a:gd name="T0" fmla="*/ 26 w 1806"/>
                <a:gd name="T1" fmla="*/ 961 h 961"/>
                <a:gd name="T2" fmla="*/ 5 w 1806"/>
                <a:gd name="T3" fmla="*/ 931 h 961"/>
                <a:gd name="T4" fmla="*/ 223 w 1806"/>
                <a:gd name="T5" fmla="*/ 614 h 961"/>
                <a:gd name="T6" fmla="*/ 602 w 1806"/>
                <a:gd name="T7" fmla="*/ 548 h 961"/>
                <a:gd name="T8" fmla="*/ 612 w 1806"/>
                <a:gd name="T9" fmla="*/ 555 h 961"/>
                <a:gd name="T10" fmla="*/ 703 w 1806"/>
                <a:gd name="T11" fmla="*/ 948 h 961"/>
                <a:gd name="T12" fmla="*/ 693 w 1806"/>
                <a:gd name="T13" fmla="*/ 961 h 961"/>
                <a:gd name="T14" fmla="*/ 26 w 1806"/>
                <a:gd name="T15" fmla="*/ 961 h 961"/>
                <a:gd name="T16" fmla="*/ 1780 w 1806"/>
                <a:gd name="T17" fmla="*/ 961 h 961"/>
                <a:gd name="T18" fmla="*/ 1801 w 1806"/>
                <a:gd name="T19" fmla="*/ 931 h 961"/>
                <a:gd name="T20" fmla="*/ 1583 w 1806"/>
                <a:gd name="T21" fmla="*/ 614 h 961"/>
                <a:gd name="T22" fmla="*/ 1204 w 1806"/>
                <a:gd name="T23" fmla="*/ 548 h 961"/>
                <a:gd name="T24" fmla="*/ 1194 w 1806"/>
                <a:gd name="T25" fmla="*/ 555 h 961"/>
                <a:gd name="T26" fmla="*/ 1103 w 1806"/>
                <a:gd name="T27" fmla="*/ 948 h 961"/>
                <a:gd name="T28" fmla="*/ 1113 w 1806"/>
                <a:gd name="T29" fmla="*/ 961 h 961"/>
                <a:gd name="T30" fmla="*/ 1780 w 1806"/>
                <a:gd name="T31" fmla="*/ 961 h 961"/>
                <a:gd name="T32" fmla="*/ 1329 w 1806"/>
                <a:gd name="T33" fmla="*/ 24 h 961"/>
                <a:gd name="T34" fmla="*/ 1283 w 1806"/>
                <a:gd name="T35" fmla="*/ 77 h 961"/>
                <a:gd name="T36" fmla="*/ 1273 w 1806"/>
                <a:gd name="T37" fmla="*/ 89 h 961"/>
                <a:gd name="T38" fmla="*/ 1129 w 1806"/>
                <a:gd name="T39" fmla="*/ 391 h 961"/>
                <a:gd name="T40" fmla="*/ 903 w 1806"/>
                <a:gd name="T41" fmla="*/ 504 h 961"/>
                <a:gd name="T42" fmla="*/ 677 w 1806"/>
                <a:gd name="T43" fmla="*/ 391 h 961"/>
                <a:gd name="T44" fmla="*/ 533 w 1806"/>
                <a:gd name="T45" fmla="*/ 89 h 961"/>
                <a:gd name="T46" fmla="*/ 523 w 1806"/>
                <a:gd name="T47" fmla="*/ 77 h 961"/>
                <a:gd name="T48" fmla="*/ 477 w 1806"/>
                <a:gd name="T49" fmla="*/ 24 h 961"/>
                <a:gd name="T50" fmla="*/ 426 w 1806"/>
                <a:gd name="T51" fmla="*/ 0 h 961"/>
                <a:gd name="T52" fmla="*/ 426 w 1806"/>
                <a:gd name="T53" fmla="*/ 5 h 961"/>
                <a:gd name="T54" fmla="*/ 495 w 1806"/>
                <a:gd name="T55" fmla="*/ 112 h 961"/>
                <a:gd name="T56" fmla="*/ 639 w 1806"/>
                <a:gd name="T57" fmla="*/ 414 h 961"/>
                <a:gd name="T58" fmla="*/ 639 w 1806"/>
                <a:gd name="T59" fmla="*/ 512 h 961"/>
                <a:gd name="T60" fmla="*/ 646 w 1806"/>
                <a:gd name="T61" fmla="*/ 522 h 961"/>
                <a:gd name="T62" fmla="*/ 683 w 1806"/>
                <a:gd name="T63" fmla="*/ 560 h 961"/>
                <a:gd name="T64" fmla="*/ 683 w 1806"/>
                <a:gd name="T65" fmla="*/ 451 h 961"/>
                <a:gd name="T66" fmla="*/ 903 w 1806"/>
                <a:gd name="T67" fmla="*/ 548 h 961"/>
                <a:gd name="T68" fmla="*/ 1123 w 1806"/>
                <a:gd name="T69" fmla="*/ 451 h 961"/>
                <a:gd name="T70" fmla="*/ 1123 w 1806"/>
                <a:gd name="T71" fmla="*/ 560 h 961"/>
                <a:gd name="T72" fmla="*/ 1160 w 1806"/>
                <a:gd name="T73" fmla="*/ 522 h 961"/>
                <a:gd name="T74" fmla="*/ 1167 w 1806"/>
                <a:gd name="T75" fmla="*/ 512 h 961"/>
                <a:gd name="T76" fmla="*/ 1167 w 1806"/>
                <a:gd name="T77" fmla="*/ 414 h 961"/>
                <a:gd name="T78" fmla="*/ 1311 w 1806"/>
                <a:gd name="T79" fmla="*/ 112 h 961"/>
                <a:gd name="T80" fmla="*/ 1380 w 1806"/>
                <a:gd name="T81" fmla="*/ 3 h 961"/>
                <a:gd name="T82" fmla="*/ 1380 w 1806"/>
                <a:gd name="T83" fmla="*/ 0 h 961"/>
                <a:gd name="T84" fmla="*/ 1329 w 1806"/>
                <a:gd name="T85" fmla="*/ 24 h 9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806" h="961">
                  <a:moveTo>
                    <a:pt x="26" y="961"/>
                  </a:moveTo>
                  <a:cubicBezTo>
                    <a:pt x="10" y="961"/>
                    <a:pt x="0" y="945"/>
                    <a:pt x="5" y="931"/>
                  </a:cubicBezTo>
                  <a:cubicBezTo>
                    <a:pt x="33" y="857"/>
                    <a:pt x="113" y="664"/>
                    <a:pt x="223" y="614"/>
                  </a:cubicBezTo>
                  <a:cubicBezTo>
                    <a:pt x="344" y="557"/>
                    <a:pt x="558" y="549"/>
                    <a:pt x="602" y="548"/>
                  </a:cubicBezTo>
                  <a:cubicBezTo>
                    <a:pt x="607" y="548"/>
                    <a:pt x="611" y="551"/>
                    <a:pt x="612" y="555"/>
                  </a:cubicBezTo>
                  <a:cubicBezTo>
                    <a:pt x="703" y="948"/>
                    <a:pt x="703" y="948"/>
                    <a:pt x="703" y="948"/>
                  </a:cubicBezTo>
                  <a:cubicBezTo>
                    <a:pt x="704" y="955"/>
                    <a:pt x="700" y="961"/>
                    <a:pt x="693" y="961"/>
                  </a:cubicBezTo>
                  <a:lnTo>
                    <a:pt x="26" y="961"/>
                  </a:lnTo>
                  <a:close/>
                  <a:moveTo>
                    <a:pt x="1780" y="961"/>
                  </a:moveTo>
                  <a:cubicBezTo>
                    <a:pt x="1796" y="961"/>
                    <a:pt x="1806" y="945"/>
                    <a:pt x="1801" y="931"/>
                  </a:cubicBezTo>
                  <a:cubicBezTo>
                    <a:pt x="1773" y="857"/>
                    <a:pt x="1693" y="664"/>
                    <a:pt x="1583" y="614"/>
                  </a:cubicBezTo>
                  <a:cubicBezTo>
                    <a:pt x="1462" y="557"/>
                    <a:pt x="1248" y="549"/>
                    <a:pt x="1204" y="548"/>
                  </a:cubicBezTo>
                  <a:cubicBezTo>
                    <a:pt x="1199" y="548"/>
                    <a:pt x="1195" y="551"/>
                    <a:pt x="1194" y="555"/>
                  </a:cubicBezTo>
                  <a:cubicBezTo>
                    <a:pt x="1103" y="948"/>
                    <a:pt x="1103" y="948"/>
                    <a:pt x="1103" y="948"/>
                  </a:cubicBezTo>
                  <a:cubicBezTo>
                    <a:pt x="1102" y="955"/>
                    <a:pt x="1106" y="961"/>
                    <a:pt x="1113" y="961"/>
                  </a:cubicBezTo>
                  <a:lnTo>
                    <a:pt x="1780" y="961"/>
                  </a:lnTo>
                  <a:close/>
                  <a:moveTo>
                    <a:pt x="1329" y="24"/>
                  </a:moveTo>
                  <a:cubicBezTo>
                    <a:pt x="1322" y="43"/>
                    <a:pt x="1308" y="65"/>
                    <a:pt x="1283" y="77"/>
                  </a:cubicBezTo>
                  <a:cubicBezTo>
                    <a:pt x="1278" y="80"/>
                    <a:pt x="1274" y="84"/>
                    <a:pt x="1273" y="89"/>
                  </a:cubicBezTo>
                  <a:cubicBezTo>
                    <a:pt x="1232" y="192"/>
                    <a:pt x="1157" y="365"/>
                    <a:pt x="1129" y="391"/>
                  </a:cubicBezTo>
                  <a:cubicBezTo>
                    <a:pt x="1084" y="430"/>
                    <a:pt x="968" y="504"/>
                    <a:pt x="903" y="504"/>
                  </a:cubicBezTo>
                  <a:cubicBezTo>
                    <a:pt x="838" y="504"/>
                    <a:pt x="722" y="430"/>
                    <a:pt x="677" y="391"/>
                  </a:cubicBezTo>
                  <a:cubicBezTo>
                    <a:pt x="649" y="365"/>
                    <a:pt x="574" y="192"/>
                    <a:pt x="533" y="89"/>
                  </a:cubicBezTo>
                  <a:cubicBezTo>
                    <a:pt x="532" y="84"/>
                    <a:pt x="528" y="80"/>
                    <a:pt x="523" y="77"/>
                  </a:cubicBezTo>
                  <a:cubicBezTo>
                    <a:pt x="498" y="65"/>
                    <a:pt x="484" y="43"/>
                    <a:pt x="477" y="24"/>
                  </a:cubicBezTo>
                  <a:cubicBezTo>
                    <a:pt x="426" y="0"/>
                    <a:pt x="426" y="0"/>
                    <a:pt x="426" y="0"/>
                  </a:cubicBezTo>
                  <a:cubicBezTo>
                    <a:pt x="426" y="2"/>
                    <a:pt x="426" y="4"/>
                    <a:pt x="426" y="5"/>
                  </a:cubicBezTo>
                  <a:cubicBezTo>
                    <a:pt x="431" y="33"/>
                    <a:pt x="446" y="83"/>
                    <a:pt x="495" y="112"/>
                  </a:cubicBezTo>
                  <a:cubicBezTo>
                    <a:pt x="517" y="168"/>
                    <a:pt x="594" y="359"/>
                    <a:pt x="639" y="414"/>
                  </a:cubicBezTo>
                  <a:cubicBezTo>
                    <a:pt x="639" y="512"/>
                    <a:pt x="639" y="512"/>
                    <a:pt x="639" y="512"/>
                  </a:cubicBezTo>
                  <a:cubicBezTo>
                    <a:pt x="646" y="522"/>
                    <a:pt x="646" y="522"/>
                    <a:pt x="646" y="522"/>
                  </a:cubicBezTo>
                  <a:cubicBezTo>
                    <a:pt x="648" y="524"/>
                    <a:pt x="660" y="540"/>
                    <a:pt x="683" y="560"/>
                  </a:cubicBezTo>
                  <a:cubicBezTo>
                    <a:pt x="683" y="451"/>
                    <a:pt x="683" y="451"/>
                    <a:pt x="683" y="451"/>
                  </a:cubicBezTo>
                  <a:cubicBezTo>
                    <a:pt x="742" y="494"/>
                    <a:pt x="838" y="548"/>
                    <a:pt x="903" y="548"/>
                  </a:cubicBezTo>
                  <a:cubicBezTo>
                    <a:pt x="968" y="548"/>
                    <a:pt x="1064" y="494"/>
                    <a:pt x="1123" y="451"/>
                  </a:cubicBezTo>
                  <a:cubicBezTo>
                    <a:pt x="1123" y="560"/>
                    <a:pt x="1123" y="560"/>
                    <a:pt x="1123" y="560"/>
                  </a:cubicBezTo>
                  <a:cubicBezTo>
                    <a:pt x="1146" y="540"/>
                    <a:pt x="1158" y="524"/>
                    <a:pt x="1160" y="522"/>
                  </a:cubicBezTo>
                  <a:cubicBezTo>
                    <a:pt x="1167" y="512"/>
                    <a:pt x="1167" y="512"/>
                    <a:pt x="1167" y="512"/>
                  </a:cubicBezTo>
                  <a:cubicBezTo>
                    <a:pt x="1167" y="414"/>
                    <a:pt x="1167" y="414"/>
                    <a:pt x="1167" y="414"/>
                  </a:cubicBezTo>
                  <a:cubicBezTo>
                    <a:pt x="1212" y="358"/>
                    <a:pt x="1289" y="168"/>
                    <a:pt x="1311" y="112"/>
                  </a:cubicBezTo>
                  <a:cubicBezTo>
                    <a:pt x="1363" y="82"/>
                    <a:pt x="1377" y="26"/>
                    <a:pt x="1380" y="3"/>
                  </a:cubicBezTo>
                  <a:cubicBezTo>
                    <a:pt x="1380" y="2"/>
                    <a:pt x="1380" y="1"/>
                    <a:pt x="1380" y="0"/>
                  </a:cubicBezTo>
                  <a:lnTo>
                    <a:pt x="1329" y="2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55721" tIns="27861" rIns="55721" bIns="27861" numCol="1" anchor="t" anchorCtr="0" compatLnSpc="1"/>
            <a:lstStyle/>
            <a:p>
              <a:endParaRPr lang="en-US" sz="1100" dirty="0">
                <a:solidFill>
                  <a:srgbClr val="000000"/>
                </a:solidFill>
                <a:cs typeface="+mn-ea"/>
                <a:sym typeface="+mn-lt"/>
              </a:endParaRPr>
            </a:p>
          </p:txBody>
        </p:sp>
      </p:grpSp>
      <p:sp>
        <p:nvSpPr>
          <p:cNvPr id="37" name="文本框 36"/>
          <p:cNvSpPr txBox="1"/>
          <p:nvPr/>
        </p:nvSpPr>
        <p:spPr>
          <a:xfrm>
            <a:off x="381295" y="2573480"/>
            <a:ext cx="1135380" cy="321945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algn="ctr"/>
            <a:r>
              <a:rPr lang="zh-CN" altLang="en-US" sz="1500" b="1" dirty="0">
                <a:solidFill>
                  <a:prstClr val="black"/>
                </a:solidFill>
                <a:latin typeface="微软雅黑" panose="020B0503020204020204" pitchFamily="34" charset="-122"/>
                <a:sym typeface="+mn-ea"/>
              </a:rPr>
              <a:t>业务分析师</a:t>
            </a:r>
          </a:p>
        </p:txBody>
      </p:sp>
      <p:sp>
        <p:nvSpPr>
          <p:cNvPr id="38" name="文本框 37"/>
          <p:cNvSpPr txBox="1"/>
          <p:nvPr/>
        </p:nvSpPr>
        <p:spPr>
          <a:xfrm>
            <a:off x="1543259" y="2505880"/>
            <a:ext cx="1135380" cy="321945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algn="ctr"/>
            <a:r>
              <a:rPr lang="zh-CN" altLang="en-US" sz="1500" b="1" dirty="0">
                <a:solidFill>
                  <a:prstClr val="black"/>
                </a:solidFill>
                <a:latin typeface="微软雅黑" panose="020B0503020204020204" pitchFamily="34" charset="-122"/>
                <a:sym typeface="+mn-ea"/>
              </a:rPr>
              <a:t>需求分析师</a:t>
            </a:r>
            <a:endParaRPr lang="en-US" altLang="zh-CN" sz="1500" b="1" dirty="0">
              <a:solidFill>
                <a:prstClr val="black"/>
              </a:solidFill>
              <a:latin typeface="微软雅黑" panose="020B0503020204020204" pitchFamily="34" charset="-122"/>
              <a:sym typeface="+mn-ea"/>
            </a:endParaRPr>
          </a:p>
        </p:txBody>
      </p:sp>
      <p:sp>
        <p:nvSpPr>
          <p:cNvPr id="39" name="文本框 38"/>
          <p:cNvSpPr txBox="1"/>
          <p:nvPr/>
        </p:nvSpPr>
        <p:spPr>
          <a:xfrm>
            <a:off x="2715408" y="2569020"/>
            <a:ext cx="1135380" cy="321945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algn="ctr"/>
            <a:r>
              <a:rPr lang="zh-CN" altLang="en-US" sz="1500" b="1" dirty="0">
                <a:solidFill>
                  <a:prstClr val="black"/>
                </a:solidFill>
                <a:latin typeface="微软雅黑" panose="020B0503020204020204" pitchFamily="34" charset="-122"/>
                <a:sym typeface="+mn-ea"/>
              </a:rPr>
              <a:t>数据分析师</a:t>
            </a:r>
            <a:endParaRPr lang="en-US" altLang="zh-CN" sz="1500" b="1" dirty="0">
              <a:solidFill>
                <a:prstClr val="black"/>
              </a:solidFill>
              <a:latin typeface="微软雅黑" panose="020B0503020204020204" pitchFamily="34" charset="-122"/>
              <a:sym typeface="+mn-ea"/>
            </a:endParaRPr>
          </a:p>
        </p:txBody>
      </p:sp>
      <p:sp>
        <p:nvSpPr>
          <p:cNvPr id="40" name="文本框 39"/>
          <p:cNvSpPr txBox="1"/>
          <p:nvPr/>
        </p:nvSpPr>
        <p:spPr>
          <a:xfrm>
            <a:off x="1627160" y="3542892"/>
            <a:ext cx="944880" cy="321945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algn="ctr"/>
            <a:r>
              <a:rPr lang="zh-CN" altLang="en-US" sz="1500" b="1" dirty="0">
                <a:solidFill>
                  <a:srgbClr val="C00000"/>
                </a:solidFill>
                <a:latin typeface="微软雅黑" panose="020B0503020204020204" pitchFamily="34" charset="-122"/>
                <a:sym typeface="+mn-ea"/>
              </a:rPr>
              <a:t>产品经理</a:t>
            </a:r>
          </a:p>
        </p:txBody>
      </p:sp>
      <p:sp>
        <p:nvSpPr>
          <p:cNvPr id="41" name="文本框 40"/>
          <p:cNvSpPr txBox="1"/>
          <p:nvPr/>
        </p:nvSpPr>
        <p:spPr>
          <a:xfrm>
            <a:off x="2204101" y="4291057"/>
            <a:ext cx="1088390" cy="321945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algn="ctr"/>
            <a:r>
              <a:rPr lang="en-US" altLang="zh-CN" sz="1500" b="1" dirty="0">
                <a:solidFill>
                  <a:prstClr val="black"/>
                </a:solidFill>
                <a:latin typeface="微软雅黑" panose="020B0503020204020204" pitchFamily="34" charset="-122"/>
                <a:sym typeface="+mn-ea"/>
              </a:rPr>
              <a:t>ETL</a:t>
            </a:r>
            <a:r>
              <a:rPr lang="zh-CN" altLang="en-US" sz="1500" b="1" dirty="0">
                <a:solidFill>
                  <a:prstClr val="black"/>
                </a:solidFill>
                <a:latin typeface="微软雅黑" panose="020B0503020204020204" pitchFamily="34" charset="-122"/>
                <a:sym typeface="+mn-ea"/>
              </a:rPr>
              <a:t>工程师</a:t>
            </a:r>
            <a:endParaRPr lang="en-US" altLang="zh-CN" sz="1500" b="1" dirty="0">
              <a:solidFill>
                <a:prstClr val="black"/>
              </a:solidFill>
              <a:latin typeface="微软雅黑" panose="020B0503020204020204" pitchFamily="34" charset="-122"/>
              <a:sym typeface="+mn-ea"/>
            </a:endParaRPr>
          </a:p>
        </p:txBody>
      </p:sp>
      <p:grpSp>
        <p:nvGrpSpPr>
          <p:cNvPr id="42" name="Group 14"/>
          <p:cNvGrpSpPr/>
          <p:nvPr/>
        </p:nvGrpSpPr>
        <p:grpSpPr>
          <a:xfrm>
            <a:off x="3290168" y="3129202"/>
            <a:ext cx="441043" cy="410927"/>
            <a:chOff x="5452110" y="2803779"/>
            <a:chExt cx="1288923" cy="1200912"/>
          </a:xfrm>
        </p:grpSpPr>
        <p:sp>
          <p:nvSpPr>
            <p:cNvPr id="43" name="Freeform 15"/>
            <p:cNvSpPr>
              <a:spLocks noEditPoints="1"/>
            </p:cNvSpPr>
            <p:nvPr/>
          </p:nvSpPr>
          <p:spPr bwMode="auto">
            <a:xfrm>
              <a:off x="5759196" y="2803779"/>
              <a:ext cx="675132" cy="1200912"/>
            </a:xfrm>
            <a:custGeom>
              <a:avLst/>
              <a:gdLst>
                <a:gd name="T0" fmla="*/ 928 w 946"/>
                <a:gd name="T1" fmla="*/ 647 h 1681"/>
                <a:gd name="T2" fmla="*/ 928 w 946"/>
                <a:gd name="T3" fmla="*/ 646 h 1681"/>
                <a:gd name="T4" fmla="*/ 874 w 946"/>
                <a:gd name="T5" fmla="*/ 722 h 1681"/>
                <a:gd name="T6" fmla="*/ 840 w 946"/>
                <a:gd name="T7" fmla="*/ 722 h 1681"/>
                <a:gd name="T8" fmla="*/ 835 w 946"/>
                <a:gd name="T9" fmla="*/ 366 h 1681"/>
                <a:gd name="T10" fmla="*/ 214 w 946"/>
                <a:gd name="T11" fmla="*/ 388 h 1681"/>
                <a:gd name="T12" fmla="*/ 98 w 946"/>
                <a:gd name="T13" fmla="*/ 716 h 1681"/>
                <a:gd name="T14" fmla="*/ 67 w 946"/>
                <a:gd name="T15" fmla="*/ 713 h 1681"/>
                <a:gd name="T16" fmla="*/ 20 w 946"/>
                <a:gd name="T17" fmla="*/ 653 h 1681"/>
                <a:gd name="T18" fmla="*/ 20 w 946"/>
                <a:gd name="T19" fmla="*/ 652 h 1681"/>
                <a:gd name="T20" fmla="*/ 1 w 946"/>
                <a:gd name="T21" fmla="*/ 483 h 1681"/>
                <a:gd name="T22" fmla="*/ 473 w 946"/>
                <a:gd name="T23" fmla="*/ 0 h 1681"/>
                <a:gd name="T24" fmla="*/ 945 w 946"/>
                <a:gd name="T25" fmla="*/ 483 h 1681"/>
                <a:gd name="T26" fmla="*/ 928 w 946"/>
                <a:gd name="T27" fmla="*/ 647 h 1681"/>
                <a:gd name="T28" fmla="*/ 583 w 946"/>
                <a:gd name="T29" fmla="*/ 1667 h 1681"/>
                <a:gd name="T30" fmla="*/ 514 w 946"/>
                <a:gd name="T31" fmla="*/ 1465 h 1681"/>
                <a:gd name="T32" fmla="*/ 515 w 946"/>
                <a:gd name="T33" fmla="*/ 1457 h 1681"/>
                <a:gd name="T34" fmla="*/ 579 w 946"/>
                <a:gd name="T35" fmla="*/ 1356 h 1681"/>
                <a:gd name="T36" fmla="*/ 573 w 946"/>
                <a:gd name="T37" fmla="*/ 1342 h 1681"/>
                <a:gd name="T38" fmla="*/ 476 w 946"/>
                <a:gd name="T39" fmla="*/ 1329 h 1681"/>
                <a:gd name="T40" fmla="*/ 374 w 946"/>
                <a:gd name="T41" fmla="*/ 1342 h 1681"/>
                <a:gd name="T42" fmla="*/ 368 w 946"/>
                <a:gd name="T43" fmla="*/ 1357 h 1681"/>
                <a:gd name="T44" fmla="*/ 432 w 946"/>
                <a:gd name="T45" fmla="*/ 1457 h 1681"/>
                <a:gd name="T46" fmla="*/ 433 w 946"/>
                <a:gd name="T47" fmla="*/ 1465 h 1681"/>
                <a:gd name="T48" fmla="*/ 358 w 946"/>
                <a:gd name="T49" fmla="*/ 1667 h 1681"/>
                <a:gd name="T50" fmla="*/ 368 w 946"/>
                <a:gd name="T51" fmla="*/ 1681 h 1681"/>
                <a:gd name="T52" fmla="*/ 574 w 946"/>
                <a:gd name="T53" fmla="*/ 1681 h 1681"/>
                <a:gd name="T54" fmla="*/ 583 w 946"/>
                <a:gd name="T55" fmla="*/ 1667 h 16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946" h="1681">
                  <a:moveTo>
                    <a:pt x="928" y="647"/>
                  </a:moveTo>
                  <a:cubicBezTo>
                    <a:pt x="928" y="647"/>
                    <a:pt x="928" y="647"/>
                    <a:pt x="928" y="646"/>
                  </a:cubicBezTo>
                  <a:cubicBezTo>
                    <a:pt x="926" y="647"/>
                    <a:pt x="919" y="672"/>
                    <a:pt x="874" y="722"/>
                  </a:cubicBezTo>
                  <a:cubicBezTo>
                    <a:pt x="874" y="722"/>
                    <a:pt x="874" y="722"/>
                    <a:pt x="840" y="722"/>
                  </a:cubicBezTo>
                  <a:cubicBezTo>
                    <a:pt x="840" y="722"/>
                    <a:pt x="840" y="704"/>
                    <a:pt x="835" y="366"/>
                  </a:cubicBezTo>
                  <a:cubicBezTo>
                    <a:pt x="782" y="637"/>
                    <a:pt x="214" y="388"/>
                    <a:pt x="214" y="388"/>
                  </a:cubicBezTo>
                  <a:cubicBezTo>
                    <a:pt x="73" y="431"/>
                    <a:pt x="98" y="716"/>
                    <a:pt x="98" y="716"/>
                  </a:cubicBezTo>
                  <a:cubicBezTo>
                    <a:pt x="98" y="716"/>
                    <a:pt x="98" y="716"/>
                    <a:pt x="67" y="713"/>
                  </a:cubicBezTo>
                  <a:cubicBezTo>
                    <a:pt x="67" y="713"/>
                    <a:pt x="67" y="695"/>
                    <a:pt x="20" y="653"/>
                  </a:cubicBezTo>
                  <a:cubicBezTo>
                    <a:pt x="20" y="653"/>
                    <a:pt x="20" y="652"/>
                    <a:pt x="20" y="652"/>
                  </a:cubicBezTo>
                  <a:cubicBezTo>
                    <a:pt x="0" y="600"/>
                    <a:pt x="1" y="543"/>
                    <a:pt x="1" y="483"/>
                  </a:cubicBezTo>
                  <a:cubicBezTo>
                    <a:pt x="1" y="216"/>
                    <a:pt x="206" y="0"/>
                    <a:pt x="473" y="0"/>
                  </a:cubicBezTo>
                  <a:cubicBezTo>
                    <a:pt x="740" y="0"/>
                    <a:pt x="945" y="216"/>
                    <a:pt x="945" y="483"/>
                  </a:cubicBezTo>
                  <a:cubicBezTo>
                    <a:pt x="945" y="541"/>
                    <a:pt x="946" y="596"/>
                    <a:pt x="928" y="647"/>
                  </a:cubicBezTo>
                  <a:close/>
                  <a:moveTo>
                    <a:pt x="583" y="1667"/>
                  </a:moveTo>
                  <a:cubicBezTo>
                    <a:pt x="514" y="1465"/>
                    <a:pt x="514" y="1465"/>
                    <a:pt x="514" y="1465"/>
                  </a:cubicBezTo>
                  <a:cubicBezTo>
                    <a:pt x="513" y="1462"/>
                    <a:pt x="514" y="1459"/>
                    <a:pt x="515" y="1457"/>
                  </a:cubicBezTo>
                  <a:cubicBezTo>
                    <a:pt x="579" y="1356"/>
                    <a:pt x="579" y="1356"/>
                    <a:pt x="579" y="1356"/>
                  </a:cubicBezTo>
                  <a:cubicBezTo>
                    <a:pt x="582" y="1351"/>
                    <a:pt x="579" y="1344"/>
                    <a:pt x="573" y="1342"/>
                  </a:cubicBezTo>
                  <a:cubicBezTo>
                    <a:pt x="552" y="1337"/>
                    <a:pt x="510" y="1329"/>
                    <a:pt x="476" y="1329"/>
                  </a:cubicBezTo>
                  <a:cubicBezTo>
                    <a:pt x="442" y="1329"/>
                    <a:pt x="396" y="1338"/>
                    <a:pt x="374" y="1342"/>
                  </a:cubicBezTo>
                  <a:cubicBezTo>
                    <a:pt x="368" y="1344"/>
                    <a:pt x="365" y="1351"/>
                    <a:pt x="368" y="1357"/>
                  </a:cubicBezTo>
                  <a:cubicBezTo>
                    <a:pt x="432" y="1457"/>
                    <a:pt x="432" y="1457"/>
                    <a:pt x="432" y="1457"/>
                  </a:cubicBezTo>
                  <a:cubicBezTo>
                    <a:pt x="433" y="1460"/>
                    <a:pt x="434" y="1463"/>
                    <a:pt x="433" y="1465"/>
                  </a:cubicBezTo>
                  <a:cubicBezTo>
                    <a:pt x="358" y="1667"/>
                    <a:pt x="358" y="1667"/>
                    <a:pt x="358" y="1667"/>
                  </a:cubicBezTo>
                  <a:cubicBezTo>
                    <a:pt x="356" y="1674"/>
                    <a:pt x="361" y="1681"/>
                    <a:pt x="368" y="1681"/>
                  </a:cubicBezTo>
                  <a:cubicBezTo>
                    <a:pt x="574" y="1681"/>
                    <a:pt x="574" y="1681"/>
                    <a:pt x="574" y="1681"/>
                  </a:cubicBezTo>
                  <a:cubicBezTo>
                    <a:pt x="581" y="1681"/>
                    <a:pt x="585" y="1674"/>
                    <a:pt x="583" y="1667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55721" tIns="27861" rIns="55721" bIns="27861" numCol="1" anchor="t" anchorCtr="0" compatLnSpc="1"/>
            <a:lstStyle/>
            <a:p>
              <a:endParaRPr lang="en-US" sz="1500" dirty="0">
                <a:solidFill>
                  <a:srgbClr val="000000"/>
                </a:solidFill>
                <a:cs typeface="+mn-ea"/>
                <a:sym typeface="+mn-lt"/>
              </a:endParaRPr>
            </a:p>
          </p:txBody>
        </p:sp>
        <p:sp>
          <p:nvSpPr>
            <p:cNvPr id="44" name="Freeform 16"/>
            <p:cNvSpPr>
              <a:spLocks noEditPoints="1"/>
            </p:cNvSpPr>
            <p:nvPr/>
          </p:nvSpPr>
          <p:spPr bwMode="auto">
            <a:xfrm>
              <a:off x="5452110" y="3318129"/>
              <a:ext cx="1288923" cy="686562"/>
            </a:xfrm>
            <a:custGeom>
              <a:avLst/>
              <a:gdLst>
                <a:gd name="T0" fmla="*/ 26 w 1806"/>
                <a:gd name="T1" fmla="*/ 961 h 961"/>
                <a:gd name="T2" fmla="*/ 5 w 1806"/>
                <a:gd name="T3" fmla="*/ 931 h 961"/>
                <a:gd name="T4" fmla="*/ 223 w 1806"/>
                <a:gd name="T5" fmla="*/ 614 h 961"/>
                <a:gd name="T6" fmla="*/ 602 w 1806"/>
                <a:gd name="T7" fmla="*/ 548 h 961"/>
                <a:gd name="T8" fmla="*/ 612 w 1806"/>
                <a:gd name="T9" fmla="*/ 555 h 961"/>
                <a:gd name="T10" fmla="*/ 703 w 1806"/>
                <a:gd name="T11" fmla="*/ 948 h 961"/>
                <a:gd name="T12" fmla="*/ 693 w 1806"/>
                <a:gd name="T13" fmla="*/ 961 h 961"/>
                <a:gd name="T14" fmla="*/ 26 w 1806"/>
                <a:gd name="T15" fmla="*/ 961 h 961"/>
                <a:gd name="T16" fmla="*/ 1780 w 1806"/>
                <a:gd name="T17" fmla="*/ 961 h 961"/>
                <a:gd name="T18" fmla="*/ 1801 w 1806"/>
                <a:gd name="T19" fmla="*/ 931 h 961"/>
                <a:gd name="T20" fmla="*/ 1583 w 1806"/>
                <a:gd name="T21" fmla="*/ 614 h 961"/>
                <a:gd name="T22" fmla="*/ 1204 w 1806"/>
                <a:gd name="T23" fmla="*/ 548 h 961"/>
                <a:gd name="T24" fmla="*/ 1194 w 1806"/>
                <a:gd name="T25" fmla="*/ 555 h 961"/>
                <a:gd name="T26" fmla="*/ 1103 w 1806"/>
                <a:gd name="T27" fmla="*/ 948 h 961"/>
                <a:gd name="T28" fmla="*/ 1113 w 1806"/>
                <a:gd name="T29" fmla="*/ 961 h 961"/>
                <a:gd name="T30" fmla="*/ 1780 w 1806"/>
                <a:gd name="T31" fmla="*/ 961 h 961"/>
                <a:gd name="T32" fmla="*/ 1329 w 1806"/>
                <a:gd name="T33" fmla="*/ 24 h 961"/>
                <a:gd name="T34" fmla="*/ 1283 w 1806"/>
                <a:gd name="T35" fmla="*/ 77 h 961"/>
                <a:gd name="T36" fmla="*/ 1273 w 1806"/>
                <a:gd name="T37" fmla="*/ 89 h 961"/>
                <a:gd name="T38" fmla="*/ 1129 w 1806"/>
                <a:gd name="T39" fmla="*/ 391 h 961"/>
                <a:gd name="T40" fmla="*/ 903 w 1806"/>
                <a:gd name="T41" fmla="*/ 504 h 961"/>
                <a:gd name="T42" fmla="*/ 677 w 1806"/>
                <a:gd name="T43" fmla="*/ 391 h 961"/>
                <a:gd name="T44" fmla="*/ 533 w 1806"/>
                <a:gd name="T45" fmla="*/ 89 h 961"/>
                <a:gd name="T46" fmla="*/ 523 w 1806"/>
                <a:gd name="T47" fmla="*/ 77 h 961"/>
                <a:gd name="T48" fmla="*/ 477 w 1806"/>
                <a:gd name="T49" fmla="*/ 24 h 961"/>
                <a:gd name="T50" fmla="*/ 426 w 1806"/>
                <a:gd name="T51" fmla="*/ 0 h 961"/>
                <a:gd name="T52" fmla="*/ 426 w 1806"/>
                <a:gd name="T53" fmla="*/ 5 h 961"/>
                <a:gd name="T54" fmla="*/ 495 w 1806"/>
                <a:gd name="T55" fmla="*/ 112 h 961"/>
                <a:gd name="T56" fmla="*/ 639 w 1806"/>
                <a:gd name="T57" fmla="*/ 414 h 961"/>
                <a:gd name="T58" fmla="*/ 639 w 1806"/>
                <a:gd name="T59" fmla="*/ 512 h 961"/>
                <a:gd name="T60" fmla="*/ 646 w 1806"/>
                <a:gd name="T61" fmla="*/ 522 h 961"/>
                <a:gd name="T62" fmla="*/ 683 w 1806"/>
                <a:gd name="T63" fmla="*/ 560 h 961"/>
                <a:gd name="T64" fmla="*/ 683 w 1806"/>
                <a:gd name="T65" fmla="*/ 451 h 961"/>
                <a:gd name="T66" fmla="*/ 903 w 1806"/>
                <a:gd name="T67" fmla="*/ 548 h 961"/>
                <a:gd name="T68" fmla="*/ 1123 w 1806"/>
                <a:gd name="T69" fmla="*/ 451 h 961"/>
                <a:gd name="T70" fmla="*/ 1123 w 1806"/>
                <a:gd name="T71" fmla="*/ 560 h 961"/>
                <a:gd name="T72" fmla="*/ 1160 w 1806"/>
                <a:gd name="T73" fmla="*/ 522 h 961"/>
                <a:gd name="T74" fmla="*/ 1167 w 1806"/>
                <a:gd name="T75" fmla="*/ 512 h 961"/>
                <a:gd name="T76" fmla="*/ 1167 w 1806"/>
                <a:gd name="T77" fmla="*/ 414 h 961"/>
                <a:gd name="T78" fmla="*/ 1311 w 1806"/>
                <a:gd name="T79" fmla="*/ 112 h 961"/>
                <a:gd name="T80" fmla="*/ 1380 w 1806"/>
                <a:gd name="T81" fmla="*/ 3 h 961"/>
                <a:gd name="T82" fmla="*/ 1380 w 1806"/>
                <a:gd name="T83" fmla="*/ 0 h 961"/>
                <a:gd name="T84" fmla="*/ 1329 w 1806"/>
                <a:gd name="T85" fmla="*/ 24 h 9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806" h="961">
                  <a:moveTo>
                    <a:pt x="26" y="961"/>
                  </a:moveTo>
                  <a:cubicBezTo>
                    <a:pt x="10" y="961"/>
                    <a:pt x="0" y="945"/>
                    <a:pt x="5" y="931"/>
                  </a:cubicBezTo>
                  <a:cubicBezTo>
                    <a:pt x="33" y="857"/>
                    <a:pt x="113" y="664"/>
                    <a:pt x="223" y="614"/>
                  </a:cubicBezTo>
                  <a:cubicBezTo>
                    <a:pt x="344" y="557"/>
                    <a:pt x="558" y="549"/>
                    <a:pt x="602" y="548"/>
                  </a:cubicBezTo>
                  <a:cubicBezTo>
                    <a:pt x="607" y="548"/>
                    <a:pt x="611" y="551"/>
                    <a:pt x="612" y="555"/>
                  </a:cubicBezTo>
                  <a:cubicBezTo>
                    <a:pt x="703" y="948"/>
                    <a:pt x="703" y="948"/>
                    <a:pt x="703" y="948"/>
                  </a:cubicBezTo>
                  <a:cubicBezTo>
                    <a:pt x="704" y="955"/>
                    <a:pt x="700" y="961"/>
                    <a:pt x="693" y="961"/>
                  </a:cubicBezTo>
                  <a:lnTo>
                    <a:pt x="26" y="961"/>
                  </a:lnTo>
                  <a:close/>
                  <a:moveTo>
                    <a:pt x="1780" y="961"/>
                  </a:moveTo>
                  <a:cubicBezTo>
                    <a:pt x="1796" y="961"/>
                    <a:pt x="1806" y="945"/>
                    <a:pt x="1801" y="931"/>
                  </a:cubicBezTo>
                  <a:cubicBezTo>
                    <a:pt x="1773" y="857"/>
                    <a:pt x="1693" y="664"/>
                    <a:pt x="1583" y="614"/>
                  </a:cubicBezTo>
                  <a:cubicBezTo>
                    <a:pt x="1462" y="557"/>
                    <a:pt x="1248" y="549"/>
                    <a:pt x="1204" y="548"/>
                  </a:cubicBezTo>
                  <a:cubicBezTo>
                    <a:pt x="1199" y="548"/>
                    <a:pt x="1195" y="551"/>
                    <a:pt x="1194" y="555"/>
                  </a:cubicBezTo>
                  <a:cubicBezTo>
                    <a:pt x="1103" y="948"/>
                    <a:pt x="1103" y="948"/>
                    <a:pt x="1103" y="948"/>
                  </a:cubicBezTo>
                  <a:cubicBezTo>
                    <a:pt x="1102" y="955"/>
                    <a:pt x="1106" y="961"/>
                    <a:pt x="1113" y="961"/>
                  </a:cubicBezTo>
                  <a:lnTo>
                    <a:pt x="1780" y="961"/>
                  </a:lnTo>
                  <a:close/>
                  <a:moveTo>
                    <a:pt x="1329" y="24"/>
                  </a:moveTo>
                  <a:cubicBezTo>
                    <a:pt x="1322" y="43"/>
                    <a:pt x="1308" y="65"/>
                    <a:pt x="1283" y="77"/>
                  </a:cubicBezTo>
                  <a:cubicBezTo>
                    <a:pt x="1278" y="80"/>
                    <a:pt x="1274" y="84"/>
                    <a:pt x="1273" y="89"/>
                  </a:cubicBezTo>
                  <a:cubicBezTo>
                    <a:pt x="1232" y="192"/>
                    <a:pt x="1157" y="365"/>
                    <a:pt x="1129" y="391"/>
                  </a:cubicBezTo>
                  <a:cubicBezTo>
                    <a:pt x="1084" y="430"/>
                    <a:pt x="968" y="504"/>
                    <a:pt x="903" y="504"/>
                  </a:cubicBezTo>
                  <a:cubicBezTo>
                    <a:pt x="838" y="504"/>
                    <a:pt x="722" y="430"/>
                    <a:pt x="677" y="391"/>
                  </a:cubicBezTo>
                  <a:cubicBezTo>
                    <a:pt x="649" y="365"/>
                    <a:pt x="574" y="192"/>
                    <a:pt x="533" y="89"/>
                  </a:cubicBezTo>
                  <a:cubicBezTo>
                    <a:pt x="532" y="84"/>
                    <a:pt x="528" y="80"/>
                    <a:pt x="523" y="77"/>
                  </a:cubicBezTo>
                  <a:cubicBezTo>
                    <a:pt x="498" y="65"/>
                    <a:pt x="484" y="43"/>
                    <a:pt x="477" y="24"/>
                  </a:cubicBezTo>
                  <a:cubicBezTo>
                    <a:pt x="426" y="0"/>
                    <a:pt x="426" y="0"/>
                    <a:pt x="426" y="0"/>
                  </a:cubicBezTo>
                  <a:cubicBezTo>
                    <a:pt x="426" y="2"/>
                    <a:pt x="426" y="4"/>
                    <a:pt x="426" y="5"/>
                  </a:cubicBezTo>
                  <a:cubicBezTo>
                    <a:pt x="431" y="33"/>
                    <a:pt x="446" y="83"/>
                    <a:pt x="495" y="112"/>
                  </a:cubicBezTo>
                  <a:cubicBezTo>
                    <a:pt x="517" y="168"/>
                    <a:pt x="594" y="359"/>
                    <a:pt x="639" y="414"/>
                  </a:cubicBezTo>
                  <a:cubicBezTo>
                    <a:pt x="639" y="512"/>
                    <a:pt x="639" y="512"/>
                    <a:pt x="639" y="512"/>
                  </a:cubicBezTo>
                  <a:cubicBezTo>
                    <a:pt x="646" y="522"/>
                    <a:pt x="646" y="522"/>
                    <a:pt x="646" y="522"/>
                  </a:cubicBezTo>
                  <a:cubicBezTo>
                    <a:pt x="648" y="524"/>
                    <a:pt x="660" y="540"/>
                    <a:pt x="683" y="560"/>
                  </a:cubicBezTo>
                  <a:cubicBezTo>
                    <a:pt x="683" y="451"/>
                    <a:pt x="683" y="451"/>
                    <a:pt x="683" y="451"/>
                  </a:cubicBezTo>
                  <a:cubicBezTo>
                    <a:pt x="742" y="494"/>
                    <a:pt x="838" y="548"/>
                    <a:pt x="903" y="548"/>
                  </a:cubicBezTo>
                  <a:cubicBezTo>
                    <a:pt x="968" y="548"/>
                    <a:pt x="1064" y="494"/>
                    <a:pt x="1123" y="451"/>
                  </a:cubicBezTo>
                  <a:cubicBezTo>
                    <a:pt x="1123" y="560"/>
                    <a:pt x="1123" y="560"/>
                    <a:pt x="1123" y="560"/>
                  </a:cubicBezTo>
                  <a:cubicBezTo>
                    <a:pt x="1146" y="540"/>
                    <a:pt x="1158" y="524"/>
                    <a:pt x="1160" y="522"/>
                  </a:cubicBezTo>
                  <a:cubicBezTo>
                    <a:pt x="1167" y="512"/>
                    <a:pt x="1167" y="512"/>
                    <a:pt x="1167" y="512"/>
                  </a:cubicBezTo>
                  <a:cubicBezTo>
                    <a:pt x="1167" y="414"/>
                    <a:pt x="1167" y="414"/>
                    <a:pt x="1167" y="414"/>
                  </a:cubicBezTo>
                  <a:cubicBezTo>
                    <a:pt x="1212" y="358"/>
                    <a:pt x="1289" y="168"/>
                    <a:pt x="1311" y="112"/>
                  </a:cubicBezTo>
                  <a:cubicBezTo>
                    <a:pt x="1363" y="82"/>
                    <a:pt x="1377" y="26"/>
                    <a:pt x="1380" y="3"/>
                  </a:cubicBezTo>
                  <a:cubicBezTo>
                    <a:pt x="1380" y="2"/>
                    <a:pt x="1380" y="1"/>
                    <a:pt x="1380" y="0"/>
                  </a:cubicBezTo>
                  <a:lnTo>
                    <a:pt x="1329" y="2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55721" tIns="27861" rIns="55721" bIns="27861" numCol="1" anchor="t" anchorCtr="0" compatLnSpc="1"/>
            <a:lstStyle/>
            <a:p>
              <a:endParaRPr lang="en-US" sz="1500" dirty="0">
                <a:solidFill>
                  <a:srgbClr val="000000"/>
                </a:solidFill>
                <a:cs typeface="+mn-ea"/>
                <a:sym typeface="+mn-lt"/>
              </a:endParaRPr>
            </a:p>
          </p:txBody>
        </p:sp>
      </p:grpSp>
      <p:sp>
        <p:nvSpPr>
          <p:cNvPr id="45" name="文本框 44"/>
          <p:cNvSpPr txBox="1"/>
          <p:nvPr/>
        </p:nvSpPr>
        <p:spPr>
          <a:xfrm>
            <a:off x="2928827" y="3540185"/>
            <a:ext cx="1135380" cy="321945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algn="ctr"/>
            <a:r>
              <a:rPr lang="zh-CN" altLang="en-US" sz="1500" b="1" dirty="0">
                <a:solidFill>
                  <a:prstClr val="black"/>
                </a:solidFill>
                <a:latin typeface="微软雅黑" panose="020B0503020204020204" pitchFamily="34" charset="-122"/>
                <a:sym typeface="+mn-ea"/>
              </a:rPr>
              <a:t>算法工程师</a:t>
            </a:r>
            <a:endParaRPr lang="en-US" altLang="zh-CN" sz="1500" b="1" dirty="0">
              <a:solidFill>
                <a:prstClr val="black"/>
              </a:solidFill>
              <a:latin typeface="微软雅黑" panose="020B0503020204020204" pitchFamily="34" charset="-122"/>
              <a:sym typeface="+mn-ea"/>
            </a:endParaRPr>
          </a:p>
        </p:txBody>
      </p:sp>
      <p:grpSp>
        <p:nvGrpSpPr>
          <p:cNvPr id="46" name="Group 14"/>
          <p:cNvGrpSpPr/>
          <p:nvPr/>
        </p:nvGrpSpPr>
        <p:grpSpPr>
          <a:xfrm>
            <a:off x="1135651" y="3889582"/>
            <a:ext cx="441043" cy="410927"/>
            <a:chOff x="5452110" y="2803779"/>
            <a:chExt cx="1288923" cy="1200912"/>
          </a:xfrm>
        </p:grpSpPr>
        <p:sp>
          <p:nvSpPr>
            <p:cNvPr id="47" name="Freeform 15"/>
            <p:cNvSpPr>
              <a:spLocks noEditPoints="1"/>
            </p:cNvSpPr>
            <p:nvPr/>
          </p:nvSpPr>
          <p:spPr bwMode="auto">
            <a:xfrm>
              <a:off x="5759196" y="2803779"/>
              <a:ext cx="675132" cy="1200912"/>
            </a:xfrm>
            <a:custGeom>
              <a:avLst/>
              <a:gdLst>
                <a:gd name="T0" fmla="*/ 928 w 946"/>
                <a:gd name="T1" fmla="*/ 647 h 1681"/>
                <a:gd name="T2" fmla="*/ 928 w 946"/>
                <a:gd name="T3" fmla="*/ 646 h 1681"/>
                <a:gd name="T4" fmla="*/ 874 w 946"/>
                <a:gd name="T5" fmla="*/ 722 h 1681"/>
                <a:gd name="T6" fmla="*/ 840 w 946"/>
                <a:gd name="T7" fmla="*/ 722 h 1681"/>
                <a:gd name="T8" fmla="*/ 835 w 946"/>
                <a:gd name="T9" fmla="*/ 366 h 1681"/>
                <a:gd name="T10" fmla="*/ 214 w 946"/>
                <a:gd name="T11" fmla="*/ 388 h 1681"/>
                <a:gd name="T12" fmla="*/ 98 w 946"/>
                <a:gd name="T13" fmla="*/ 716 h 1681"/>
                <a:gd name="T14" fmla="*/ 67 w 946"/>
                <a:gd name="T15" fmla="*/ 713 h 1681"/>
                <a:gd name="T16" fmla="*/ 20 w 946"/>
                <a:gd name="T17" fmla="*/ 653 h 1681"/>
                <a:gd name="T18" fmla="*/ 20 w 946"/>
                <a:gd name="T19" fmla="*/ 652 h 1681"/>
                <a:gd name="T20" fmla="*/ 1 w 946"/>
                <a:gd name="T21" fmla="*/ 483 h 1681"/>
                <a:gd name="T22" fmla="*/ 473 w 946"/>
                <a:gd name="T23" fmla="*/ 0 h 1681"/>
                <a:gd name="T24" fmla="*/ 945 w 946"/>
                <a:gd name="T25" fmla="*/ 483 h 1681"/>
                <a:gd name="T26" fmla="*/ 928 w 946"/>
                <a:gd name="T27" fmla="*/ 647 h 1681"/>
                <a:gd name="T28" fmla="*/ 583 w 946"/>
                <a:gd name="T29" fmla="*/ 1667 h 1681"/>
                <a:gd name="T30" fmla="*/ 514 w 946"/>
                <a:gd name="T31" fmla="*/ 1465 h 1681"/>
                <a:gd name="T32" fmla="*/ 515 w 946"/>
                <a:gd name="T33" fmla="*/ 1457 h 1681"/>
                <a:gd name="T34" fmla="*/ 579 w 946"/>
                <a:gd name="T35" fmla="*/ 1356 h 1681"/>
                <a:gd name="T36" fmla="*/ 573 w 946"/>
                <a:gd name="T37" fmla="*/ 1342 h 1681"/>
                <a:gd name="T38" fmla="*/ 476 w 946"/>
                <a:gd name="T39" fmla="*/ 1329 h 1681"/>
                <a:gd name="T40" fmla="*/ 374 w 946"/>
                <a:gd name="T41" fmla="*/ 1342 h 1681"/>
                <a:gd name="T42" fmla="*/ 368 w 946"/>
                <a:gd name="T43" fmla="*/ 1357 h 1681"/>
                <a:gd name="T44" fmla="*/ 432 w 946"/>
                <a:gd name="T45" fmla="*/ 1457 h 1681"/>
                <a:gd name="T46" fmla="*/ 433 w 946"/>
                <a:gd name="T47" fmla="*/ 1465 h 1681"/>
                <a:gd name="T48" fmla="*/ 358 w 946"/>
                <a:gd name="T49" fmla="*/ 1667 h 1681"/>
                <a:gd name="T50" fmla="*/ 368 w 946"/>
                <a:gd name="T51" fmla="*/ 1681 h 1681"/>
                <a:gd name="T52" fmla="*/ 574 w 946"/>
                <a:gd name="T53" fmla="*/ 1681 h 1681"/>
                <a:gd name="T54" fmla="*/ 583 w 946"/>
                <a:gd name="T55" fmla="*/ 1667 h 16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946" h="1681">
                  <a:moveTo>
                    <a:pt x="928" y="647"/>
                  </a:moveTo>
                  <a:cubicBezTo>
                    <a:pt x="928" y="647"/>
                    <a:pt x="928" y="647"/>
                    <a:pt x="928" y="646"/>
                  </a:cubicBezTo>
                  <a:cubicBezTo>
                    <a:pt x="926" y="647"/>
                    <a:pt x="919" y="672"/>
                    <a:pt x="874" y="722"/>
                  </a:cubicBezTo>
                  <a:cubicBezTo>
                    <a:pt x="874" y="722"/>
                    <a:pt x="874" y="722"/>
                    <a:pt x="840" y="722"/>
                  </a:cubicBezTo>
                  <a:cubicBezTo>
                    <a:pt x="840" y="722"/>
                    <a:pt x="840" y="704"/>
                    <a:pt x="835" y="366"/>
                  </a:cubicBezTo>
                  <a:cubicBezTo>
                    <a:pt x="782" y="637"/>
                    <a:pt x="214" y="388"/>
                    <a:pt x="214" y="388"/>
                  </a:cubicBezTo>
                  <a:cubicBezTo>
                    <a:pt x="73" y="431"/>
                    <a:pt x="98" y="716"/>
                    <a:pt x="98" y="716"/>
                  </a:cubicBezTo>
                  <a:cubicBezTo>
                    <a:pt x="98" y="716"/>
                    <a:pt x="98" y="716"/>
                    <a:pt x="67" y="713"/>
                  </a:cubicBezTo>
                  <a:cubicBezTo>
                    <a:pt x="67" y="713"/>
                    <a:pt x="67" y="695"/>
                    <a:pt x="20" y="653"/>
                  </a:cubicBezTo>
                  <a:cubicBezTo>
                    <a:pt x="20" y="653"/>
                    <a:pt x="20" y="652"/>
                    <a:pt x="20" y="652"/>
                  </a:cubicBezTo>
                  <a:cubicBezTo>
                    <a:pt x="0" y="600"/>
                    <a:pt x="1" y="543"/>
                    <a:pt x="1" y="483"/>
                  </a:cubicBezTo>
                  <a:cubicBezTo>
                    <a:pt x="1" y="216"/>
                    <a:pt x="206" y="0"/>
                    <a:pt x="473" y="0"/>
                  </a:cubicBezTo>
                  <a:cubicBezTo>
                    <a:pt x="740" y="0"/>
                    <a:pt x="945" y="216"/>
                    <a:pt x="945" y="483"/>
                  </a:cubicBezTo>
                  <a:cubicBezTo>
                    <a:pt x="945" y="541"/>
                    <a:pt x="946" y="596"/>
                    <a:pt x="928" y="647"/>
                  </a:cubicBezTo>
                  <a:close/>
                  <a:moveTo>
                    <a:pt x="583" y="1667"/>
                  </a:moveTo>
                  <a:cubicBezTo>
                    <a:pt x="514" y="1465"/>
                    <a:pt x="514" y="1465"/>
                    <a:pt x="514" y="1465"/>
                  </a:cubicBezTo>
                  <a:cubicBezTo>
                    <a:pt x="513" y="1462"/>
                    <a:pt x="514" y="1459"/>
                    <a:pt x="515" y="1457"/>
                  </a:cubicBezTo>
                  <a:cubicBezTo>
                    <a:pt x="579" y="1356"/>
                    <a:pt x="579" y="1356"/>
                    <a:pt x="579" y="1356"/>
                  </a:cubicBezTo>
                  <a:cubicBezTo>
                    <a:pt x="582" y="1351"/>
                    <a:pt x="579" y="1344"/>
                    <a:pt x="573" y="1342"/>
                  </a:cubicBezTo>
                  <a:cubicBezTo>
                    <a:pt x="552" y="1337"/>
                    <a:pt x="510" y="1329"/>
                    <a:pt x="476" y="1329"/>
                  </a:cubicBezTo>
                  <a:cubicBezTo>
                    <a:pt x="442" y="1329"/>
                    <a:pt x="396" y="1338"/>
                    <a:pt x="374" y="1342"/>
                  </a:cubicBezTo>
                  <a:cubicBezTo>
                    <a:pt x="368" y="1344"/>
                    <a:pt x="365" y="1351"/>
                    <a:pt x="368" y="1357"/>
                  </a:cubicBezTo>
                  <a:cubicBezTo>
                    <a:pt x="432" y="1457"/>
                    <a:pt x="432" y="1457"/>
                    <a:pt x="432" y="1457"/>
                  </a:cubicBezTo>
                  <a:cubicBezTo>
                    <a:pt x="433" y="1460"/>
                    <a:pt x="434" y="1463"/>
                    <a:pt x="433" y="1465"/>
                  </a:cubicBezTo>
                  <a:cubicBezTo>
                    <a:pt x="358" y="1667"/>
                    <a:pt x="358" y="1667"/>
                    <a:pt x="358" y="1667"/>
                  </a:cubicBezTo>
                  <a:cubicBezTo>
                    <a:pt x="356" y="1674"/>
                    <a:pt x="361" y="1681"/>
                    <a:pt x="368" y="1681"/>
                  </a:cubicBezTo>
                  <a:cubicBezTo>
                    <a:pt x="574" y="1681"/>
                    <a:pt x="574" y="1681"/>
                    <a:pt x="574" y="1681"/>
                  </a:cubicBezTo>
                  <a:cubicBezTo>
                    <a:pt x="581" y="1681"/>
                    <a:pt x="585" y="1674"/>
                    <a:pt x="583" y="1667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55721" tIns="27861" rIns="55721" bIns="27861" numCol="1" anchor="t" anchorCtr="0" compatLnSpc="1"/>
            <a:lstStyle/>
            <a:p>
              <a:endParaRPr lang="en-US" sz="1500" dirty="0">
                <a:solidFill>
                  <a:srgbClr val="000000"/>
                </a:solidFill>
                <a:cs typeface="+mn-ea"/>
                <a:sym typeface="+mn-lt"/>
              </a:endParaRPr>
            </a:p>
          </p:txBody>
        </p:sp>
        <p:sp>
          <p:nvSpPr>
            <p:cNvPr id="48" name="Freeform 16"/>
            <p:cNvSpPr>
              <a:spLocks noEditPoints="1"/>
            </p:cNvSpPr>
            <p:nvPr/>
          </p:nvSpPr>
          <p:spPr bwMode="auto">
            <a:xfrm>
              <a:off x="5452110" y="3318129"/>
              <a:ext cx="1288923" cy="686562"/>
            </a:xfrm>
            <a:custGeom>
              <a:avLst/>
              <a:gdLst>
                <a:gd name="T0" fmla="*/ 26 w 1806"/>
                <a:gd name="T1" fmla="*/ 961 h 961"/>
                <a:gd name="T2" fmla="*/ 5 w 1806"/>
                <a:gd name="T3" fmla="*/ 931 h 961"/>
                <a:gd name="T4" fmla="*/ 223 w 1806"/>
                <a:gd name="T5" fmla="*/ 614 h 961"/>
                <a:gd name="T6" fmla="*/ 602 w 1806"/>
                <a:gd name="T7" fmla="*/ 548 h 961"/>
                <a:gd name="T8" fmla="*/ 612 w 1806"/>
                <a:gd name="T9" fmla="*/ 555 h 961"/>
                <a:gd name="T10" fmla="*/ 703 w 1806"/>
                <a:gd name="T11" fmla="*/ 948 h 961"/>
                <a:gd name="T12" fmla="*/ 693 w 1806"/>
                <a:gd name="T13" fmla="*/ 961 h 961"/>
                <a:gd name="T14" fmla="*/ 26 w 1806"/>
                <a:gd name="T15" fmla="*/ 961 h 961"/>
                <a:gd name="T16" fmla="*/ 1780 w 1806"/>
                <a:gd name="T17" fmla="*/ 961 h 961"/>
                <a:gd name="T18" fmla="*/ 1801 w 1806"/>
                <a:gd name="T19" fmla="*/ 931 h 961"/>
                <a:gd name="T20" fmla="*/ 1583 w 1806"/>
                <a:gd name="T21" fmla="*/ 614 h 961"/>
                <a:gd name="T22" fmla="*/ 1204 w 1806"/>
                <a:gd name="T23" fmla="*/ 548 h 961"/>
                <a:gd name="T24" fmla="*/ 1194 w 1806"/>
                <a:gd name="T25" fmla="*/ 555 h 961"/>
                <a:gd name="T26" fmla="*/ 1103 w 1806"/>
                <a:gd name="T27" fmla="*/ 948 h 961"/>
                <a:gd name="T28" fmla="*/ 1113 w 1806"/>
                <a:gd name="T29" fmla="*/ 961 h 961"/>
                <a:gd name="T30" fmla="*/ 1780 w 1806"/>
                <a:gd name="T31" fmla="*/ 961 h 961"/>
                <a:gd name="T32" fmla="*/ 1329 w 1806"/>
                <a:gd name="T33" fmla="*/ 24 h 961"/>
                <a:gd name="T34" fmla="*/ 1283 w 1806"/>
                <a:gd name="T35" fmla="*/ 77 h 961"/>
                <a:gd name="T36" fmla="*/ 1273 w 1806"/>
                <a:gd name="T37" fmla="*/ 89 h 961"/>
                <a:gd name="T38" fmla="*/ 1129 w 1806"/>
                <a:gd name="T39" fmla="*/ 391 h 961"/>
                <a:gd name="T40" fmla="*/ 903 w 1806"/>
                <a:gd name="T41" fmla="*/ 504 h 961"/>
                <a:gd name="T42" fmla="*/ 677 w 1806"/>
                <a:gd name="T43" fmla="*/ 391 h 961"/>
                <a:gd name="T44" fmla="*/ 533 w 1806"/>
                <a:gd name="T45" fmla="*/ 89 h 961"/>
                <a:gd name="T46" fmla="*/ 523 w 1806"/>
                <a:gd name="T47" fmla="*/ 77 h 961"/>
                <a:gd name="T48" fmla="*/ 477 w 1806"/>
                <a:gd name="T49" fmla="*/ 24 h 961"/>
                <a:gd name="T50" fmla="*/ 426 w 1806"/>
                <a:gd name="T51" fmla="*/ 0 h 961"/>
                <a:gd name="T52" fmla="*/ 426 w 1806"/>
                <a:gd name="T53" fmla="*/ 5 h 961"/>
                <a:gd name="T54" fmla="*/ 495 w 1806"/>
                <a:gd name="T55" fmla="*/ 112 h 961"/>
                <a:gd name="T56" fmla="*/ 639 w 1806"/>
                <a:gd name="T57" fmla="*/ 414 h 961"/>
                <a:gd name="T58" fmla="*/ 639 w 1806"/>
                <a:gd name="T59" fmla="*/ 512 h 961"/>
                <a:gd name="T60" fmla="*/ 646 w 1806"/>
                <a:gd name="T61" fmla="*/ 522 h 961"/>
                <a:gd name="T62" fmla="*/ 683 w 1806"/>
                <a:gd name="T63" fmla="*/ 560 h 961"/>
                <a:gd name="T64" fmla="*/ 683 w 1806"/>
                <a:gd name="T65" fmla="*/ 451 h 961"/>
                <a:gd name="T66" fmla="*/ 903 w 1806"/>
                <a:gd name="T67" fmla="*/ 548 h 961"/>
                <a:gd name="T68" fmla="*/ 1123 w 1806"/>
                <a:gd name="T69" fmla="*/ 451 h 961"/>
                <a:gd name="T70" fmla="*/ 1123 w 1806"/>
                <a:gd name="T71" fmla="*/ 560 h 961"/>
                <a:gd name="T72" fmla="*/ 1160 w 1806"/>
                <a:gd name="T73" fmla="*/ 522 h 961"/>
                <a:gd name="T74" fmla="*/ 1167 w 1806"/>
                <a:gd name="T75" fmla="*/ 512 h 961"/>
                <a:gd name="T76" fmla="*/ 1167 w 1806"/>
                <a:gd name="T77" fmla="*/ 414 h 961"/>
                <a:gd name="T78" fmla="*/ 1311 w 1806"/>
                <a:gd name="T79" fmla="*/ 112 h 961"/>
                <a:gd name="T80" fmla="*/ 1380 w 1806"/>
                <a:gd name="T81" fmla="*/ 3 h 961"/>
                <a:gd name="T82" fmla="*/ 1380 w 1806"/>
                <a:gd name="T83" fmla="*/ 0 h 961"/>
                <a:gd name="T84" fmla="*/ 1329 w 1806"/>
                <a:gd name="T85" fmla="*/ 24 h 9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806" h="961">
                  <a:moveTo>
                    <a:pt x="26" y="961"/>
                  </a:moveTo>
                  <a:cubicBezTo>
                    <a:pt x="10" y="961"/>
                    <a:pt x="0" y="945"/>
                    <a:pt x="5" y="931"/>
                  </a:cubicBezTo>
                  <a:cubicBezTo>
                    <a:pt x="33" y="857"/>
                    <a:pt x="113" y="664"/>
                    <a:pt x="223" y="614"/>
                  </a:cubicBezTo>
                  <a:cubicBezTo>
                    <a:pt x="344" y="557"/>
                    <a:pt x="558" y="549"/>
                    <a:pt x="602" y="548"/>
                  </a:cubicBezTo>
                  <a:cubicBezTo>
                    <a:pt x="607" y="548"/>
                    <a:pt x="611" y="551"/>
                    <a:pt x="612" y="555"/>
                  </a:cubicBezTo>
                  <a:cubicBezTo>
                    <a:pt x="703" y="948"/>
                    <a:pt x="703" y="948"/>
                    <a:pt x="703" y="948"/>
                  </a:cubicBezTo>
                  <a:cubicBezTo>
                    <a:pt x="704" y="955"/>
                    <a:pt x="700" y="961"/>
                    <a:pt x="693" y="961"/>
                  </a:cubicBezTo>
                  <a:lnTo>
                    <a:pt x="26" y="961"/>
                  </a:lnTo>
                  <a:close/>
                  <a:moveTo>
                    <a:pt x="1780" y="961"/>
                  </a:moveTo>
                  <a:cubicBezTo>
                    <a:pt x="1796" y="961"/>
                    <a:pt x="1806" y="945"/>
                    <a:pt x="1801" y="931"/>
                  </a:cubicBezTo>
                  <a:cubicBezTo>
                    <a:pt x="1773" y="857"/>
                    <a:pt x="1693" y="664"/>
                    <a:pt x="1583" y="614"/>
                  </a:cubicBezTo>
                  <a:cubicBezTo>
                    <a:pt x="1462" y="557"/>
                    <a:pt x="1248" y="549"/>
                    <a:pt x="1204" y="548"/>
                  </a:cubicBezTo>
                  <a:cubicBezTo>
                    <a:pt x="1199" y="548"/>
                    <a:pt x="1195" y="551"/>
                    <a:pt x="1194" y="555"/>
                  </a:cubicBezTo>
                  <a:cubicBezTo>
                    <a:pt x="1103" y="948"/>
                    <a:pt x="1103" y="948"/>
                    <a:pt x="1103" y="948"/>
                  </a:cubicBezTo>
                  <a:cubicBezTo>
                    <a:pt x="1102" y="955"/>
                    <a:pt x="1106" y="961"/>
                    <a:pt x="1113" y="961"/>
                  </a:cubicBezTo>
                  <a:lnTo>
                    <a:pt x="1780" y="961"/>
                  </a:lnTo>
                  <a:close/>
                  <a:moveTo>
                    <a:pt x="1329" y="24"/>
                  </a:moveTo>
                  <a:cubicBezTo>
                    <a:pt x="1322" y="43"/>
                    <a:pt x="1308" y="65"/>
                    <a:pt x="1283" y="77"/>
                  </a:cubicBezTo>
                  <a:cubicBezTo>
                    <a:pt x="1278" y="80"/>
                    <a:pt x="1274" y="84"/>
                    <a:pt x="1273" y="89"/>
                  </a:cubicBezTo>
                  <a:cubicBezTo>
                    <a:pt x="1232" y="192"/>
                    <a:pt x="1157" y="365"/>
                    <a:pt x="1129" y="391"/>
                  </a:cubicBezTo>
                  <a:cubicBezTo>
                    <a:pt x="1084" y="430"/>
                    <a:pt x="968" y="504"/>
                    <a:pt x="903" y="504"/>
                  </a:cubicBezTo>
                  <a:cubicBezTo>
                    <a:pt x="838" y="504"/>
                    <a:pt x="722" y="430"/>
                    <a:pt x="677" y="391"/>
                  </a:cubicBezTo>
                  <a:cubicBezTo>
                    <a:pt x="649" y="365"/>
                    <a:pt x="574" y="192"/>
                    <a:pt x="533" y="89"/>
                  </a:cubicBezTo>
                  <a:cubicBezTo>
                    <a:pt x="532" y="84"/>
                    <a:pt x="528" y="80"/>
                    <a:pt x="523" y="77"/>
                  </a:cubicBezTo>
                  <a:cubicBezTo>
                    <a:pt x="498" y="65"/>
                    <a:pt x="484" y="43"/>
                    <a:pt x="477" y="24"/>
                  </a:cubicBezTo>
                  <a:cubicBezTo>
                    <a:pt x="426" y="0"/>
                    <a:pt x="426" y="0"/>
                    <a:pt x="426" y="0"/>
                  </a:cubicBezTo>
                  <a:cubicBezTo>
                    <a:pt x="426" y="2"/>
                    <a:pt x="426" y="4"/>
                    <a:pt x="426" y="5"/>
                  </a:cubicBezTo>
                  <a:cubicBezTo>
                    <a:pt x="431" y="33"/>
                    <a:pt x="446" y="83"/>
                    <a:pt x="495" y="112"/>
                  </a:cubicBezTo>
                  <a:cubicBezTo>
                    <a:pt x="517" y="168"/>
                    <a:pt x="594" y="359"/>
                    <a:pt x="639" y="414"/>
                  </a:cubicBezTo>
                  <a:cubicBezTo>
                    <a:pt x="639" y="512"/>
                    <a:pt x="639" y="512"/>
                    <a:pt x="639" y="512"/>
                  </a:cubicBezTo>
                  <a:cubicBezTo>
                    <a:pt x="646" y="522"/>
                    <a:pt x="646" y="522"/>
                    <a:pt x="646" y="522"/>
                  </a:cubicBezTo>
                  <a:cubicBezTo>
                    <a:pt x="648" y="524"/>
                    <a:pt x="660" y="540"/>
                    <a:pt x="683" y="560"/>
                  </a:cubicBezTo>
                  <a:cubicBezTo>
                    <a:pt x="683" y="451"/>
                    <a:pt x="683" y="451"/>
                    <a:pt x="683" y="451"/>
                  </a:cubicBezTo>
                  <a:cubicBezTo>
                    <a:pt x="742" y="494"/>
                    <a:pt x="838" y="548"/>
                    <a:pt x="903" y="548"/>
                  </a:cubicBezTo>
                  <a:cubicBezTo>
                    <a:pt x="968" y="548"/>
                    <a:pt x="1064" y="494"/>
                    <a:pt x="1123" y="451"/>
                  </a:cubicBezTo>
                  <a:cubicBezTo>
                    <a:pt x="1123" y="560"/>
                    <a:pt x="1123" y="560"/>
                    <a:pt x="1123" y="560"/>
                  </a:cubicBezTo>
                  <a:cubicBezTo>
                    <a:pt x="1146" y="540"/>
                    <a:pt x="1158" y="524"/>
                    <a:pt x="1160" y="522"/>
                  </a:cubicBezTo>
                  <a:cubicBezTo>
                    <a:pt x="1167" y="512"/>
                    <a:pt x="1167" y="512"/>
                    <a:pt x="1167" y="512"/>
                  </a:cubicBezTo>
                  <a:cubicBezTo>
                    <a:pt x="1167" y="414"/>
                    <a:pt x="1167" y="414"/>
                    <a:pt x="1167" y="414"/>
                  </a:cubicBezTo>
                  <a:cubicBezTo>
                    <a:pt x="1212" y="358"/>
                    <a:pt x="1289" y="168"/>
                    <a:pt x="1311" y="112"/>
                  </a:cubicBezTo>
                  <a:cubicBezTo>
                    <a:pt x="1363" y="82"/>
                    <a:pt x="1377" y="26"/>
                    <a:pt x="1380" y="3"/>
                  </a:cubicBezTo>
                  <a:cubicBezTo>
                    <a:pt x="1380" y="2"/>
                    <a:pt x="1380" y="1"/>
                    <a:pt x="1380" y="0"/>
                  </a:cubicBezTo>
                  <a:lnTo>
                    <a:pt x="1329" y="2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55721" tIns="27861" rIns="55721" bIns="27861" numCol="1" anchor="t" anchorCtr="0" compatLnSpc="1"/>
            <a:lstStyle/>
            <a:p>
              <a:endParaRPr lang="en-US" sz="1500" dirty="0">
                <a:solidFill>
                  <a:srgbClr val="000000"/>
                </a:solidFill>
                <a:cs typeface="+mn-ea"/>
                <a:sym typeface="+mn-lt"/>
              </a:endParaRPr>
            </a:p>
          </p:txBody>
        </p:sp>
      </p:grpSp>
      <p:sp>
        <p:nvSpPr>
          <p:cNvPr id="49" name="文本框 48"/>
          <p:cNvSpPr txBox="1"/>
          <p:nvPr/>
        </p:nvSpPr>
        <p:spPr>
          <a:xfrm>
            <a:off x="774312" y="4300565"/>
            <a:ext cx="1135380" cy="321945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algn="ctr"/>
            <a:r>
              <a:rPr lang="zh-CN" altLang="en-US" sz="1500" b="1" dirty="0">
                <a:solidFill>
                  <a:prstClr val="black"/>
                </a:solidFill>
                <a:latin typeface="微软雅黑" panose="020B0503020204020204" pitchFamily="34" charset="-122"/>
                <a:sym typeface="+mn-ea"/>
              </a:rPr>
              <a:t>前端工程师</a:t>
            </a:r>
            <a:endParaRPr lang="en-US" altLang="zh-CN" sz="1500" b="1" dirty="0">
              <a:solidFill>
                <a:prstClr val="black"/>
              </a:solidFill>
              <a:latin typeface="微软雅黑" panose="020B0503020204020204" pitchFamily="34" charset="-122"/>
              <a:sym typeface="+mn-ea"/>
            </a:endParaRPr>
          </a:p>
        </p:txBody>
      </p:sp>
      <p:grpSp>
        <p:nvGrpSpPr>
          <p:cNvPr id="50" name="Group 14"/>
          <p:cNvGrpSpPr/>
          <p:nvPr/>
        </p:nvGrpSpPr>
        <p:grpSpPr>
          <a:xfrm>
            <a:off x="548962" y="3047579"/>
            <a:ext cx="441043" cy="410927"/>
            <a:chOff x="5452110" y="2803779"/>
            <a:chExt cx="1288923" cy="1200912"/>
          </a:xfrm>
        </p:grpSpPr>
        <p:sp>
          <p:nvSpPr>
            <p:cNvPr id="51" name="Freeform 15"/>
            <p:cNvSpPr>
              <a:spLocks noEditPoints="1"/>
            </p:cNvSpPr>
            <p:nvPr/>
          </p:nvSpPr>
          <p:spPr bwMode="auto">
            <a:xfrm>
              <a:off x="5759196" y="2803779"/>
              <a:ext cx="675132" cy="1200912"/>
            </a:xfrm>
            <a:custGeom>
              <a:avLst/>
              <a:gdLst>
                <a:gd name="T0" fmla="*/ 928 w 946"/>
                <a:gd name="T1" fmla="*/ 647 h 1681"/>
                <a:gd name="T2" fmla="*/ 928 w 946"/>
                <a:gd name="T3" fmla="*/ 646 h 1681"/>
                <a:gd name="T4" fmla="*/ 874 w 946"/>
                <a:gd name="T5" fmla="*/ 722 h 1681"/>
                <a:gd name="T6" fmla="*/ 840 w 946"/>
                <a:gd name="T7" fmla="*/ 722 h 1681"/>
                <a:gd name="T8" fmla="*/ 835 w 946"/>
                <a:gd name="T9" fmla="*/ 366 h 1681"/>
                <a:gd name="T10" fmla="*/ 214 w 946"/>
                <a:gd name="T11" fmla="*/ 388 h 1681"/>
                <a:gd name="T12" fmla="*/ 98 w 946"/>
                <a:gd name="T13" fmla="*/ 716 h 1681"/>
                <a:gd name="T14" fmla="*/ 67 w 946"/>
                <a:gd name="T15" fmla="*/ 713 h 1681"/>
                <a:gd name="T16" fmla="*/ 20 w 946"/>
                <a:gd name="T17" fmla="*/ 653 h 1681"/>
                <a:gd name="T18" fmla="*/ 20 w 946"/>
                <a:gd name="T19" fmla="*/ 652 h 1681"/>
                <a:gd name="T20" fmla="*/ 1 w 946"/>
                <a:gd name="T21" fmla="*/ 483 h 1681"/>
                <a:gd name="T22" fmla="*/ 473 w 946"/>
                <a:gd name="T23" fmla="*/ 0 h 1681"/>
                <a:gd name="T24" fmla="*/ 945 w 946"/>
                <a:gd name="T25" fmla="*/ 483 h 1681"/>
                <a:gd name="T26" fmla="*/ 928 w 946"/>
                <a:gd name="T27" fmla="*/ 647 h 1681"/>
                <a:gd name="T28" fmla="*/ 583 w 946"/>
                <a:gd name="T29" fmla="*/ 1667 h 1681"/>
                <a:gd name="T30" fmla="*/ 514 w 946"/>
                <a:gd name="T31" fmla="*/ 1465 h 1681"/>
                <a:gd name="T32" fmla="*/ 515 w 946"/>
                <a:gd name="T33" fmla="*/ 1457 h 1681"/>
                <a:gd name="T34" fmla="*/ 579 w 946"/>
                <a:gd name="T35" fmla="*/ 1356 h 1681"/>
                <a:gd name="T36" fmla="*/ 573 w 946"/>
                <a:gd name="T37" fmla="*/ 1342 h 1681"/>
                <a:gd name="T38" fmla="*/ 476 w 946"/>
                <a:gd name="T39" fmla="*/ 1329 h 1681"/>
                <a:gd name="T40" fmla="*/ 374 w 946"/>
                <a:gd name="T41" fmla="*/ 1342 h 1681"/>
                <a:gd name="T42" fmla="*/ 368 w 946"/>
                <a:gd name="T43" fmla="*/ 1357 h 1681"/>
                <a:gd name="T44" fmla="*/ 432 w 946"/>
                <a:gd name="T45" fmla="*/ 1457 h 1681"/>
                <a:gd name="T46" fmla="*/ 433 w 946"/>
                <a:gd name="T47" fmla="*/ 1465 h 1681"/>
                <a:gd name="T48" fmla="*/ 358 w 946"/>
                <a:gd name="T49" fmla="*/ 1667 h 1681"/>
                <a:gd name="T50" fmla="*/ 368 w 946"/>
                <a:gd name="T51" fmla="*/ 1681 h 1681"/>
                <a:gd name="T52" fmla="*/ 574 w 946"/>
                <a:gd name="T53" fmla="*/ 1681 h 1681"/>
                <a:gd name="T54" fmla="*/ 583 w 946"/>
                <a:gd name="T55" fmla="*/ 1667 h 16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946" h="1681">
                  <a:moveTo>
                    <a:pt x="928" y="647"/>
                  </a:moveTo>
                  <a:cubicBezTo>
                    <a:pt x="928" y="647"/>
                    <a:pt x="928" y="647"/>
                    <a:pt x="928" y="646"/>
                  </a:cubicBezTo>
                  <a:cubicBezTo>
                    <a:pt x="926" y="647"/>
                    <a:pt x="919" y="672"/>
                    <a:pt x="874" y="722"/>
                  </a:cubicBezTo>
                  <a:cubicBezTo>
                    <a:pt x="874" y="722"/>
                    <a:pt x="874" y="722"/>
                    <a:pt x="840" y="722"/>
                  </a:cubicBezTo>
                  <a:cubicBezTo>
                    <a:pt x="840" y="722"/>
                    <a:pt x="840" y="704"/>
                    <a:pt x="835" y="366"/>
                  </a:cubicBezTo>
                  <a:cubicBezTo>
                    <a:pt x="782" y="637"/>
                    <a:pt x="214" y="388"/>
                    <a:pt x="214" y="388"/>
                  </a:cubicBezTo>
                  <a:cubicBezTo>
                    <a:pt x="73" y="431"/>
                    <a:pt x="98" y="716"/>
                    <a:pt x="98" y="716"/>
                  </a:cubicBezTo>
                  <a:cubicBezTo>
                    <a:pt x="98" y="716"/>
                    <a:pt x="98" y="716"/>
                    <a:pt x="67" y="713"/>
                  </a:cubicBezTo>
                  <a:cubicBezTo>
                    <a:pt x="67" y="713"/>
                    <a:pt x="67" y="695"/>
                    <a:pt x="20" y="653"/>
                  </a:cubicBezTo>
                  <a:cubicBezTo>
                    <a:pt x="20" y="653"/>
                    <a:pt x="20" y="652"/>
                    <a:pt x="20" y="652"/>
                  </a:cubicBezTo>
                  <a:cubicBezTo>
                    <a:pt x="0" y="600"/>
                    <a:pt x="1" y="543"/>
                    <a:pt x="1" y="483"/>
                  </a:cubicBezTo>
                  <a:cubicBezTo>
                    <a:pt x="1" y="216"/>
                    <a:pt x="206" y="0"/>
                    <a:pt x="473" y="0"/>
                  </a:cubicBezTo>
                  <a:cubicBezTo>
                    <a:pt x="740" y="0"/>
                    <a:pt x="945" y="216"/>
                    <a:pt x="945" y="483"/>
                  </a:cubicBezTo>
                  <a:cubicBezTo>
                    <a:pt x="945" y="541"/>
                    <a:pt x="946" y="596"/>
                    <a:pt x="928" y="647"/>
                  </a:cubicBezTo>
                  <a:close/>
                  <a:moveTo>
                    <a:pt x="583" y="1667"/>
                  </a:moveTo>
                  <a:cubicBezTo>
                    <a:pt x="514" y="1465"/>
                    <a:pt x="514" y="1465"/>
                    <a:pt x="514" y="1465"/>
                  </a:cubicBezTo>
                  <a:cubicBezTo>
                    <a:pt x="513" y="1462"/>
                    <a:pt x="514" y="1459"/>
                    <a:pt x="515" y="1457"/>
                  </a:cubicBezTo>
                  <a:cubicBezTo>
                    <a:pt x="579" y="1356"/>
                    <a:pt x="579" y="1356"/>
                    <a:pt x="579" y="1356"/>
                  </a:cubicBezTo>
                  <a:cubicBezTo>
                    <a:pt x="582" y="1351"/>
                    <a:pt x="579" y="1344"/>
                    <a:pt x="573" y="1342"/>
                  </a:cubicBezTo>
                  <a:cubicBezTo>
                    <a:pt x="552" y="1337"/>
                    <a:pt x="510" y="1329"/>
                    <a:pt x="476" y="1329"/>
                  </a:cubicBezTo>
                  <a:cubicBezTo>
                    <a:pt x="442" y="1329"/>
                    <a:pt x="396" y="1338"/>
                    <a:pt x="374" y="1342"/>
                  </a:cubicBezTo>
                  <a:cubicBezTo>
                    <a:pt x="368" y="1344"/>
                    <a:pt x="365" y="1351"/>
                    <a:pt x="368" y="1357"/>
                  </a:cubicBezTo>
                  <a:cubicBezTo>
                    <a:pt x="432" y="1457"/>
                    <a:pt x="432" y="1457"/>
                    <a:pt x="432" y="1457"/>
                  </a:cubicBezTo>
                  <a:cubicBezTo>
                    <a:pt x="433" y="1460"/>
                    <a:pt x="434" y="1463"/>
                    <a:pt x="433" y="1465"/>
                  </a:cubicBezTo>
                  <a:cubicBezTo>
                    <a:pt x="358" y="1667"/>
                    <a:pt x="358" y="1667"/>
                    <a:pt x="358" y="1667"/>
                  </a:cubicBezTo>
                  <a:cubicBezTo>
                    <a:pt x="356" y="1674"/>
                    <a:pt x="361" y="1681"/>
                    <a:pt x="368" y="1681"/>
                  </a:cubicBezTo>
                  <a:cubicBezTo>
                    <a:pt x="574" y="1681"/>
                    <a:pt x="574" y="1681"/>
                    <a:pt x="574" y="1681"/>
                  </a:cubicBezTo>
                  <a:cubicBezTo>
                    <a:pt x="581" y="1681"/>
                    <a:pt x="585" y="1674"/>
                    <a:pt x="583" y="1667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55721" tIns="27861" rIns="55721" bIns="27861" numCol="1" anchor="t" anchorCtr="0" compatLnSpc="1"/>
            <a:lstStyle/>
            <a:p>
              <a:endParaRPr lang="en-US" sz="1500" dirty="0">
                <a:solidFill>
                  <a:srgbClr val="000000"/>
                </a:solidFill>
                <a:cs typeface="+mn-ea"/>
                <a:sym typeface="+mn-lt"/>
              </a:endParaRPr>
            </a:p>
          </p:txBody>
        </p:sp>
        <p:sp>
          <p:nvSpPr>
            <p:cNvPr id="52" name="Freeform 16"/>
            <p:cNvSpPr>
              <a:spLocks noEditPoints="1"/>
            </p:cNvSpPr>
            <p:nvPr/>
          </p:nvSpPr>
          <p:spPr bwMode="auto">
            <a:xfrm>
              <a:off x="5452110" y="3318129"/>
              <a:ext cx="1288923" cy="686562"/>
            </a:xfrm>
            <a:custGeom>
              <a:avLst/>
              <a:gdLst>
                <a:gd name="T0" fmla="*/ 26 w 1806"/>
                <a:gd name="T1" fmla="*/ 961 h 961"/>
                <a:gd name="T2" fmla="*/ 5 w 1806"/>
                <a:gd name="T3" fmla="*/ 931 h 961"/>
                <a:gd name="T4" fmla="*/ 223 w 1806"/>
                <a:gd name="T5" fmla="*/ 614 h 961"/>
                <a:gd name="T6" fmla="*/ 602 w 1806"/>
                <a:gd name="T7" fmla="*/ 548 h 961"/>
                <a:gd name="T8" fmla="*/ 612 w 1806"/>
                <a:gd name="T9" fmla="*/ 555 h 961"/>
                <a:gd name="T10" fmla="*/ 703 w 1806"/>
                <a:gd name="T11" fmla="*/ 948 h 961"/>
                <a:gd name="T12" fmla="*/ 693 w 1806"/>
                <a:gd name="T13" fmla="*/ 961 h 961"/>
                <a:gd name="T14" fmla="*/ 26 w 1806"/>
                <a:gd name="T15" fmla="*/ 961 h 961"/>
                <a:gd name="T16" fmla="*/ 1780 w 1806"/>
                <a:gd name="T17" fmla="*/ 961 h 961"/>
                <a:gd name="T18" fmla="*/ 1801 w 1806"/>
                <a:gd name="T19" fmla="*/ 931 h 961"/>
                <a:gd name="T20" fmla="*/ 1583 w 1806"/>
                <a:gd name="T21" fmla="*/ 614 h 961"/>
                <a:gd name="T22" fmla="*/ 1204 w 1806"/>
                <a:gd name="T23" fmla="*/ 548 h 961"/>
                <a:gd name="T24" fmla="*/ 1194 w 1806"/>
                <a:gd name="T25" fmla="*/ 555 h 961"/>
                <a:gd name="T26" fmla="*/ 1103 w 1806"/>
                <a:gd name="T27" fmla="*/ 948 h 961"/>
                <a:gd name="T28" fmla="*/ 1113 w 1806"/>
                <a:gd name="T29" fmla="*/ 961 h 961"/>
                <a:gd name="T30" fmla="*/ 1780 w 1806"/>
                <a:gd name="T31" fmla="*/ 961 h 961"/>
                <a:gd name="T32" fmla="*/ 1329 w 1806"/>
                <a:gd name="T33" fmla="*/ 24 h 961"/>
                <a:gd name="T34" fmla="*/ 1283 w 1806"/>
                <a:gd name="T35" fmla="*/ 77 h 961"/>
                <a:gd name="T36" fmla="*/ 1273 w 1806"/>
                <a:gd name="T37" fmla="*/ 89 h 961"/>
                <a:gd name="T38" fmla="*/ 1129 w 1806"/>
                <a:gd name="T39" fmla="*/ 391 h 961"/>
                <a:gd name="T40" fmla="*/ 903 w 1806"/>
                <a:gd name="T41" fmla="*/ 504 h 961"/>
                <a:gd name="T42" fmla="*/ 677 w 1806"/>
                <a:gd name="T43" fmla="*/ 391 h 961"/>
                <a:gd name="T44" fmla="*/ 533 w 1806"/>
                <a:gd name="T45" fmla="*/ 89 h 961"/>
                <a:gd name="T46" fmla="*/ 523 w 1806"/>
                <a:gd name="T47" fmla="*/ 77 h 961"/>
                <a:gd name="T48" fmla="*/ 477 w 1806"/>
                <a:gd name="T49" fmla="*/ 24 h 961"/>
                <a:gd name="T50" fmla="*/ 426 w 1806"/>
                <a:gd name="T51" fmla="*/ 0 h 961"/>
                <a:gd name="T52" fmla="*/ 426 w 1806"/>
                <a:gd name="T53" fmla="*/ 5 h 961"/>
                <a:gd name="T54" fmla="*/ 495 w 1806"/>
                <a:gd name="T55" fmla="*/ 112 h 961"/>
                <a:gd name="T56" fmla="*/ 639 w 1806"/>
                <a:gd name="T57" fmla="*/ 414 h 961"/>
                <a:gd name="T58" fmla="*/ 639 w 1806"/>
                <a:gd name="T59" fmla="*/ 512 h 961"/>
                <a:gd name="T60" fmla="*/ 646 w 1806"/>
                <a:gd name="T61" fmla="*/ 522 h 961"/>
                <a:gd name="T62" fmla="*/ 683 w 1806"/>
                <a:gd name="T63" fmla="*/ 560 h 961"/>
                <a:gd name="T64" fmla="*/ 683 w 1806"/>
                <a:gd name="T65" fmla="*/ 451 h 961"/>
                <a:gd name="T66" fmla="*/ 903 w 1806"/>
                <a:gd name="T67" fmla="*/ 548 h 961"/>
                <a:gd name="T68" fmla="*/ 1123 w 1806"/>
                <a:gd name="T69" fmla="*/ 451 h 961"/>
                <a:gd name="T70" fmla="*/ 1123 w 1806"/>
                <a:gd name="T71" fmla="*/ 560 h 961"/>
                <a:gd name="T72" fmla="*/ 1160 w 1806"/>
                <a:gd name="T73" fmla="*/ 522 h 961"/>
                <a:gd name="T74" fmla="*/ 1167 w 1806"/>
                <a:gd name="T75" fmla="*/ 512 h 961"/>
                <a:gd name="T76" fmla="*/ 1167 w 1806"/>
                <a:gd name="T77" fmla="*/ 414 h 961"/>
                <a:gd name="T78" fmla="*/ 1311 w 1806"/>
                <a:gd name="T79" fmla="*/ 112 h 961"/>
                <a:gd name="T80" fmla="*/ 1380 w 1806"/>
                <a:gd name="T81" fmla="*/ 3 h 961"/>
                <a:gd name="T82" fmla="*/ 1380 w 1806"/>
                <a:gd name="T83" fmla="*/ 0 h 961"/>
                <a:gd name="T84" fmla="*/ 1329 w 1806"/>
                <a:gd name="T85" fmla="*/ 24 h 9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806" h="961">
                  <a:moveTo>
                    <a:pt x="26" y="961"/>
                  </a:moveTo>
                  <a:cubicBezTo>
                    <a:pt x="10" y="961"/>
                    <a:pt x="0" y="945"/>
                    <a:pt x="5" y="931"/>
                  </a:cubicBezTo>
                  <a:cubicBezTo>
                    <a:pt x="33" y="857"/>
                    <a:pt x="113" y="664"/>
                    <a:pt x="223" y="614"/>
                  </a:cubicBezTo>
                  <a:cubicBezTo>
                    <a:pt x="344" y="557"/>
                    <a:pt x="558" y="549"/>
                    <a:pt x="602" y="548"/>
                  </a:cubicBezTo>
                  <a:cubicBezTo>
                    <a:pt x="607" y="548"/>
                    <a:pt x="611" y="551"/>
                    <a:pt x="612" y="555"/>
                  </a:cubicBezTo>
                  <a:cubicBezTo>
                    <a:pt x="703" y="948"/>
                    <a:pt x="703" y="948"/>
                    <a:pt x="703" y="948"/>
                  </a:cubicBezTo>
                  <a:cubicBezTo>
                    <a:pt x="704" y="955"/>
                    <a:pt x="700" y="961"/>
                    <a:pt x="693" y="961"/>
                  </a:cubicBezTo>
                  <a:lnTo>
                    <a:pt x="26" y="961"/>
                  </a:lnTo>
                  <a:close/>
                  <a:moveTo>
                    <a:pt x="1780" y="961"/>
                  </a:moveTo>
                  <a:cubicBezTo>
                    <a:pt x="1796" y="961"/>
                    <a:pt x="1806" y="945"/>
                    <a:pt x="1801" y="931"/>
                  </a:cubicBezTo>
                  <a:cubicBezTo>
                    <a:pt x="1773" y="857"/>
                    <a:pt x="1693" y="664"/>
                    <a:pt x="1583" y="614"/>
                  </a:cubicBezTo>
                  <a:cubicBezTo>
                    <a:pt x="1462" y="557"/>
                    <a:pt x="1248" y="549"/>
                    <a:pt x="1204" y="548"/>
                  </a:cubicBezTo>
                  <a:cubicBezTo>
                    <a:pt x="1199" y="548"/>
                    <a:pt x="1195" y="551"/>
                    <a:pt x="1194" y="555"/>
                  </a:cubicBezTo>
                  <a:cubicBezTo>
                    <a:pt x="1103" y="948"/>
                    <a:pt x="1103" y="948"/>
                    <a:pt x="1103" y="948"/>
                  </a:cubicBezTo>
                  <a:cubicBezTo>
                    <a:pt x="1102" y="955"/>
                    <a:pt x="1106" y="961"/>
                    <a:pt x="1113" y="961"/>
                  </a:cubicBezTo>
                  <a:lnTo>
                    <a:pt x="1780" y="961"/>
                  </a:lnTo>
                  <a:close/>
                  <a:moveTo>
                    <a:pt x="1329" y="24"/>
                  </a:moveTo>
                  <a:cubicBezTo>
                    <a:pt x="1322" y="43"/>
                    <a:pt x="1308" y="65"/>
                    <a:pt x="1283" y="77"/>
                  </a:cubicBezTo>
                  <a:cubicBezTo>
                    <a:pt x="1278" y="80"/>
                    <a:pt x="1274" y="84"/>
                    <a:pt x="1273" y="89"/>
                  </a:cubicBezTo>
                  <a:cubicBezTo>
                    <a:pt x="1232" y="192"/>
                    <a:pt x="1157" y="365"/>
                    <a:pt x="1129" y="391"/>
                  </a:cubicBezTo>
                  <a:cubicBezTo>
                    <a:pt x="1084" y="430"/>
                    <a:pt x="968" y="504"/>
                    <a:pt x="903" y="504"/>
                  </a:cubicBezTo>
                  <a:cubicBezTo>
                    <a:pt x="838" y="504"/>
                    <a:pt x="722" y="430"/>
                    <a:pt x="677" y="391"/>
                  </a:cubicBezTo>
                  <a:cubicBezTo>
                    <a:pt x="649" y="365"/>
                    <a:pt x="574" y="192"/>
                    <a:pt x="533" y="89"/>
                  </a:cubicBezTo>
                  <a:cubicBezTo>
                    <a:pt x="532" y="84"/>
                    <a:pt x="528" y="80"/>
                    <a:pt x="523" y="77"/>
                  </a:cubicBezTo>
                  <a:cubicBezTo>
                    <a:pt x="498" y="65"/>
                    <a:pt x="484" y="43"/>
                    <a:pt x="477" y="24"/>
                  </a:cubicBezTo>
                  <a:cubicBezTo>
                    <a:pt x="426" y="0"/>
                    <a:pt x="426" y="0"/>
                    <a:pt x="426" y="0"/>
                  </a:cubicBezTo>
                  <a:cubicBezTo>
                    <a:pt x="426" y="2"/>
                    <a:pt x="426" y="4"/>
                    <a:pt x="426" y="5"/>
                  </a:cubicBezTo>
                  <a:cubicBezTo>
                    <a:pt x="431" y="33"/>
                    <a:pt x="446" y="83"/>
                    <a:pt x="495" y="112"/>
                  </a:cubicBezTo>
                  <a:cubicBezTo>
                    <a:pt x="517" y="168"/>
                    <a:pt x="594" y="359"/>
                    <a:pt x="639" y="414"/>
                  </a:cubicBezTo>
                  <a:cubicBezTo>
                    <a:pt x="639" y="512"/>
                    <a:pt x="639" y="512"/>
                    <a:pt x="639" y="512"/>
                  </a:cubicBezTo>
                  <a:cubicBezTo>
                    <a:pt x="646" y="522"/>
                    <a:pt x="646" y="522"/>
                    <a:pt x="646" y="522"/>
                  </a:cubicBezTo>
                  <a:cubicBezTo>
                    <a:pt x="648" y="524"/>
                    <a:pt x="660" y="540"/>
                    <a:pt x="683" y="560"/>
                  </a:cubicBezTo>
                  <a:cubicBezTo>
                    <a:pt x="683" y="451"/>
                    <a:pt x="683" y="451"/>
                    <a:pt x="683" y="451"/>
                  </a:cubicBezTo>
                  <a:cubicBezTo>
                    <a:pt x="742" y="494"/>
                    <a:pt x="838" y="548"/>
                    <a:pt x="903" y="548"/>
                  </a:cubicBezTo>
                  <a:cubicBezTo>
                    <a:pt x="968" y="548"/>
                    <a:pt x="1064" y="494"/>
                    <a:pt x="1123" y="451"/>
                  </a:cubicBezTo>
                  <a:cubicBezTo>
                    <a:pt x="1123" y="560"/>
                    <a:pt x="1123" y="560"/>
                    <a:pt x="1123" y="560"/>
                  </a:cubicBezTo>
                  <a:cubicBezTo>
                    <a:pt x="1146" y="540"/>
                    <a:pt x="1158" y="524"/>
                    <a:pt x="1160" y="522"/>
                  </a:cubicBezTo>
                  <a:cubicBezTo>
                    <a:pt x="1167" y="512"/>
                    <a:pt x="1167" y="512"/>
                    <a:pt x="1167" y="512"/>
                  </a:cubicBezTo>
                  <a:cubicBezTo>
                    <a:pt x="1167" y="414"/>
                    <a:pt x="1167" y="414"/>
                    <a:pt x="1167" y="414"/>
                  </a:cubicBezTo>
                  <a:cubicBezTo>
                    <a:pt x="1212" y="358"/>
                    <a:pt x="1289" y="168"/>
                    <a:pt x="1311" y="112"/>
                  </a:cubicBezTo>
                  <a:cubicBezTo>
                    <a:pt x="1363" y="82"/>
                    <a:pt x="1377" y="26"/>
                    <a:pt x="1380" y="3"/>
                  </a:cubicBezTo>
                  <a:cubicBezTo>
                    <a:pt x="1380" y="2"/>
                    <a:pt x="1380" y="1"/>
                    <a:pt x="1380" y="0"/>
                  </a:cubicBezTo>
                  <a:lnTo>
                    <a:pt x="1329" y="2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55721" tIns="27861" rIns="55721" bIns="27861" numCol="1" anchor="t" anchorCtr="0" compatLnSpc="1"/>
            <a:lstStyle/>
            <a:p>
              <a:endParaRPr lang="en-US" sz="1500" dirty="0">
                <a:solidFill>
                  <a:srgbClr val="000000"/>
                </a:solidFill>
                <a:cs typeface="+mn-ea"/>
                <a:sym typeface="+mn-lt"/>
              </a:endParaRPr>
            </a:p>
          </p:txBody>
        </p:sp>
      </p:grpSp>
      <p:sp>
        <p:nvSpPr>
          <p:cNvPr id="53" name="文本框 52"/>
          <p:cNvSpPr txBox="1"/>
          <p:nvPr/>
        </p:nvSpPr>
        <p:spPr>
          <a:xfrm>
            <a:off x="187620" y="3265523"/>
            <a:ext cx="1135380" cy="321945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algn="ctr"/>
            <a:r>
              <a:rPr lang="zh-CN" altLang="en-US" sz="1500" b="1" dirty="0">
                <a:solidFill>
                  <a:prstClr val="black"/>
                </a:solidFill>
                <a:latin typeface="微软雅黑" panose="020B0503020204020204" pitchFamily="34" charset="-122"/>
                <a:sym typeface="+mn-ea"/>
              </a:rPr>
              <a:t>测试工程师</a:t>
            </a:r>
            <a:endParaRPr lang="en-US" altLang="zh-CN" sz="1500" b="1" dirty="0">
              <a:solidFill>
                <a:prstClr val="black"/>
              </a:solidFill>
              <a:latin typeface="微软雅黑" panose="020B0503020204020204" pitchFamily="34" charset="-122"/>
              <a:sym typeface="+mn-ea"/>
            </a:endParaRPr>
          </a:p>
        </p:txBody>
      </p:sp>
      <p:cxnSp>
        <p:nvCxnSpPr>
          <p:cNvPr id="54" name="直接箭头连接符 53"/>
          <p:cNvCxnSpPr>
            <a:stCxn id="24" idx="27"/>
            <a:endCxn id="37" idx="2"/>
          </p:cNvCxnSpPr>
          <p:nvPr/>
        </p:nvCxnSpPr>
        <p:spPr>
          <a:xfrm flipH="1" flipV="1">
            <a:off x="948763" y="2906028"/>
            <a:ext cx="1040130" cy="439420"/>
          </a:xfrm>
          <a:prstGeom prst="straightConnector1">
            <a:avLst/>
          </a:prstGeom>
          <a:ln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直接箭头连接符 54"/>
          <p:cNvCxnSpPr/>
          <p:nvPr/>
        </p:nvCxnSpPr>
        <p:spPr>
          <a:xfrm flipH="1">
            <a:off x="1050420" y="3408114"/>
            <a:ext cx="802958" cy="0"/>
          </a:xfrm>
          <a:prstGeom prst="straightConnector1">
            <a:avLst/>
          </a:prstGeom>
          <a:ln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直接箭头连接符 55"/>
          <p:cNvCxnSpPr/>
          <p:nvPr/>
        </p:nvCxnSpPr>
        <p:spPr>
          <a:xfrm flipV="1">
            <a:off x="2188658" y="2949485"/>
            <a:ext cx="812006" cy="385763"/>
          </a:xfrm>
          <a:prstGeom prst="straightConnector1">
            <a:avLst/>
          </a:prstGeom>
          <a:ln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直接箭头连接符 56"/>
          <p:cNvCxnSpPr/>
          <p:nvPr/>
        </p:nvCxnSpPr>
        <p:spPr>
          <a:xfrm flipV="1">
            <a:off x="2315816" y="3385254"/>
            <a:ext cx="880110" cy="3334"/>
          </a:xfrm>
          <a:prstGeom prst="straightConnector1">
            <a:avLst/>
          </a:prstGeom>
          <a:ln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直接箭头连接符 57"/>
          <p:cNvCxnSpPr>
            <a:stCxn id="23" idx="11"/>
            <a:endCxn id="38" idx="2"/>
          </p:cNvCxnSpPr>
          <p:nvPr/>
        </p:nvCxnSpPr>
        <p:spPr>
          <a:xfrm flipV="1">
            <a:off x="2089232" y="2838063"/>
            <a:ext cx="21590" cy="304165"/>
          </a:xfrm>
          <a:prstGeom prst="straightConnector1">
            <a:avLst/>
          </a:prstGeom>
          <a:ln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直接箭头连接符 58"/>
          <p:cNvCxnSpPr/>
          <p:nvPr/>
        </p:nvCxnSpPr>
        <p:spPr>
          <a:xfrm>
            <a:off x="2415829" y="3500030"/>
            <a:ext cx="256246" cy="269535"/>
          </a:xfrm>
          <a:prstGeom prst="straightConnector1">
            <a:avLst/>
          </a:prstGeom>
          <a:ln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直接箭头连接符 59"/>
          <p:cNvCxnSpPr/>
          <p:nvPr/>
        </p:nvCxnSpPr>
        <p:spPr>
          <a:xfrm flipH="1">
            <a:off x="1466193" y="3534320"/>
            <a:ext cx="307175" cy="235245"/>
          </a:xfrm>
          <a:prstGeom prst="straightConnector1">
            <a:avLst/>
          </a:prstGeom>
          <a:ln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6" name="组合 65"/>
          <p:cNvGrpSpPr/>
          <p:nvPr/>
        </p:nvGrpSpPr>
        <p:grpSpPr>
          <a:xfrm>
            <a:off x="133595" y="1193463"/>
            <a:ext cx="4070562" cy="582394"/>
            <a:chOff x="161194" y="1204779"/>
            <a:chExt cx="5427416" cy="776525"/>
          </a:xfrm>
        </p:grpSpPr>
        <p:grpSp>
          <p:nvGrpSpPr>
            <p:cNvPr id="64" name="组合 63"/>
            <p:cNvGrpSpPr/>
            <p:nvPr/>
          </p:nvGrpSpPr>
          <p:grpSpPr>
            <a:xfrm>
              <a:off x="161194" y="1204779"/>
              <a:ext cx="5427416" cy="776525"/>
              <a:chOff x="161194" y="1204779"/>
              <a:chExt cx="5427416" cy="776525"/>
            </a:xfrm>
          </p:grpSpPr>
          <p:pic>
            <p:nvPicPr>
              <p:cNvPr id="62" name="图片 61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61194" y="1204779"/>
                <a:ext cx="5427416" cy="776525"/>
              </a:xfrm>
              <a:prstGeom prst="rect">
                <a:avLst/>
              </a:prstGeom>
            </p:spPr>
          </p:pic>
          <p:sp>
            <p:nvSpPr>
              <p:cNvPr id="63" name="矩形 62"/>
              <p:cNvSpPr/>
              <p:nvPr/>
            </p:nvSpPr>
            <p:spPr>
              <a:xfrm>
                <a:off x="3359073" y="1439500"/>
                <a:ext cx="578347" cy="297369"/>
              </a:xfrm>
              <a:prstGeom prst="rect">
                <a:avLst/>
              </a:prstGeom>
              <a:solidFill>
                <a:srgbClr val="CDC59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350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65" name="文本框 64"/>
            <p:cNvSpPr txBox="1"/>
            <p:nvPr/>
          </p:nvSpPr>
          <p:spPr>
            <a:xfrm>
              <a:off x="3357368" y="1450980"/>
              <a:ext cx="732721" cy="26077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675" dirty="0">
                  <a:solidFill>
                    <a:srgbClr val="FFFFFF"/>
                  </a:solidFill>
                </a:rPr>
                <a:t>前端开发</a:t>
              </a:r>
            </a:p>
          </p:txBody>
        </p:sp>
      </p:grpSp>
      <p:sp>
        <p:nvSpPr>
          <p:cNvPr id="67" name="矩形 66"/>
          <p:cNvSpPr/>
          <p:nvPr/>
        </p:nvSpPr>
        <p:spPr>
          <a:xfrm>
            <a:off x="687800" y="802367"/>
            <a:ext cx="3087370" cy="4140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100" b="1" dirty="0">
                <a:solidFill>
                  <a:srgbClr val="000000"/>
                </a:solidFill>
              </a:rPr>
              <a:t>传统</a:t>
            </a:r>
            <a:r>
              <a:rPr lang="en-US" altLang="zh-CN" sz="2100" b="1" dirty="0">
                <a:solidFill>
                  <a:srgbClr val="000000"/>
                </a:solidFill>
              </a:rPr>
              <a:t>IT</a:t>
            </a:r>
            <a:r>
              <a:rPr lang="zh-CN" altLang="en-US" sz="2100" b="1" dirty="0">
                <a:solidFill>
                  <a:srgbClr val="000000"/>
                </a:solidFill>
              </a:rPr>
              <a:t>团队产品开发流程</a:t>
            </a:r>
          </a:p>
        </p:txBody>
      </p:sp>
      <p:sp>
        <p:nvSpPr>
          <p:cNvPr id="3" name="矩形 2"/>
          <p:cNvSpPr/>
          <p:nvPr/>
        </p:nvSpPr>
        <p:spPr>
          <a:xfrm>
            <a:off x="4692286" y="793009"/>
            <a:ext cx="4445635" cy="4140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100" b="1" dirty="0">
                <a:solidFill>
                  <a:srgbClr val="000000"/>
                </a:solidFill>
              </a:rPr>
              <a:t>创新</a:t>
            </a:r>
            <a:r>
              <a:rPr lang="en-US" altLang="zh-CN" sz="2100" b="1" dirty="0">
                <a:solidFill>
                  <a:srgbClr val="000000"/>
                </a:solidFill>
              </a:rPr>
              <a:t>AAA</a:t>
            </a:r>
            <a:r>
              <a:rPr lang="zh-CN" altLang="en-US" sz="2100" b="1" dirty="0">
                <a:solidFill>
                  <a:srgbClr val="000000"/>
                </a:solidFill>
              </a:rPr>
              <a:t>模式</a:t>
            </a:r>
            <a:r>
              <a:rPr lang="zh-CN" altLang="en-US" sz="1200" b="1" dirty="0">
                <a:solidFill>
                  <a:prstClr val="black"/>
                </a:solidFill>
                <a:latin typeface="微软雅黑" panose="020B0503020204020204" pitchFamily="34" charset="-122"/>
              </a:rPr>
              <a:t>（</a:t>
            </a:r>
            <a:r>
              <a:rPr lang="en-US" altLang="zh-CN" sz="1200" b="1" dirty="0">
                <a:solidFill>
                  <a:prstClr val="black"/>
                </a:solidFill>
                <a:latin typeface="微软雅黑" panose="020B0503020204020204" pitchFamily="34" charset="-122"/>
              </a:rPr>
              <a:t>Agile and Automatic Analytics</a:t>
            </a:r>
            <a:r>
              <a:rPr lang="zh-CN" altLang="en-US" sz="1200" b="1" dirty="0">
                <a:solidFill>
                  <a:prstClr val="black"/>
                </a:solidFill>
                <a:latin typeface="微软雅黑" panose="020B0503020204020204" pitchFamily="34" charset="-122"/>
              </a:rPr>
              <a:t>）</a:t>
            </a:r>
            <a:endParaRPr lang="zh-CN" altLang="en-US" sz="1200" dirty="0">
              <a:solidFill>
                <a:srgbClr val="000000"/>
              </a:solidFill>
            </a:endParaRPr>
          </a:p>
        </p:txBody>
      </p:sp>
      <p:sp>
        <p:nvSpPr>
          <p:cNvPr id="13" name="右箭头 12"/>
          <p:cNvSpPr/>
          <p:nvPr/>
        </p:nvSpPr>
        <p:spPr>
          <a:xfrm rot="21231617">
            <a:off x="1410816" y="2229699"/>
            <a:ext cx="263797" cy="282805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>
              <a:solidFill>
                <a:srgbClr val="FFFFFF"/>
              </a:solidFill>
            </a:endParaRPr>
          </a:p>
        </p:txBody>
      </p:sp>
      <p:sp>
        <p:nvSpPr>
          <p:cNvPr id="68" name="右箭头 67"/>
          <p:cNvSpPr/>
          <p:nvPr/>
        </p:nvSpPr>
        <p:spPr>
          <a:xfrm rot="711832">
            <a:off x="2579822" y="2214142"/>
            <a:ext cx="263797" cy="282805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>
              <a:solidFill>
                <a:srgbClr val="FFFFFF"/>
              </a:solidFill>
            </a:endParaRPr>
          </a:p>
        </p:txBody>
      </p:sp>
      <p:sp>
        <p:nvSpPr>
          <p:cNvPr id="69" name="右箭头 68"/>
          <p:cNvSpPr/>
          <p:nvPr/>
        </p:nvSpPr>
        <p:spPr>
          <a:xfrm rot="8191240">
            <a:off x="3142535" y="3862360"/>
            <a:ext cx="255343" cy="282805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>
              <a:solidFill>
                <a:srgbClr val="FFFFFF"/>
              </a:solidFill>
            </a:endParaRPr>
          </a:p>
        </p:txBody>
      </p:sp>
      <p:sp>
        <p:nvSpPr>
          <p:cNvPr id="70" name="右箭头 69"/>
          <p:cNvSpPr/>
          <p:nvPr/>
        </p:nvSpPr>
        <p:spPr>
          <a:xfrm rot="4033636">
            <a:off x="3340668" y="2850059"/>
            <a:ext cx="204913" cy="282805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>
              <a:solidFill>
                <a:srgbClr val="FFFFFF"/>
              </a:solidFill>
            </a:endParaRPr>
          </a:p>
        </p:txBody>
      </p:sp>
      <p:sp>
        <p:nvSpPr>
          <p:cNvPr id="71" name="右箭头 70"/>
          <p:cNvSpPr/>
          <p:nvPr/>
        </p:nvSpPr>
        <p:spPr>
          <a:xfrm rot="10800000">
            <a:off x="1894613" y="4259153"/>
            <a:ext cx="255343" cy="282805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>
              <a:solidFill>
                <a:srgbClr val="FFFFFF"/>
              </a:solidFill>
            </a:endParaRPr>
          </a:p>
        </p:txBody>
      </p:sp>
      <p:sp>
        <p:nvSpPr>
          <p:cNvPr id="72" name="右箭头 71"/>
          <p:cNvSpPr/>
          <p:nvPr/>
        </p:nvSpPr>
        <p:spPr>
          <a:xfrm rot="13781972">
            <a:off x="815361" y="3855504"/>
            <a:ext cx="255343" cy="282805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>
              <a:solidFill>
                <a:srgbClr val="FFFFFF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金融创新部大数据中心 </a:t>
            </a:r>
            <a:r>
              <a:rPr lang="en-US" altLang="zh-CN" dirty="0" smtClean="0"/>
              <a:t>- </a:t>
            </a:r>
            <a:r>
              <a:rPr lang="zh-CN" altLang="en-US" dirty="0" smtClean="0"/>
              <a:t>数据产品开发技术模式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6457949" y="4762447"/>
            <a:ext cx="2182416" cy="154813"/>
          </a:xfrm>
        </p:spPr>
        <p:txBody>
          <a:bodyPr/>
          <a:lstStyle/>
          <a:p>
            <a:pPr>
              <a:defRPr/>
            </a:pPr>
            <a:fld id="{5DD3DB80-B894-403A-B48E-6FDC1A72010E}" type="slidenum">
              <a:rPr lang="zh-CN" altLang="en-US" sz="425" smtClean="0">
                <a:solidFill>
                  <a:srgbClr val="000000"/>
                </a:solidFill>
              </a:rPr>
              <a:t>7</a:t>
            </a:fld>
            <a:endParaRPr lang="zh-CN" altLang="en-US" sz="425">
              <a:solidFill>
                <a:srgbClr val="000000"/>
              </a:solidFill>
            </a:endParaRPr>
          </a:p>
        </p:txBody>
      </p:sp>
      <p:sp>
        <p:nvSpPr>
          <p:cNvPr id="5" name="矩形 4"/>
          <p:cNvSpPr/>
          <p:nvPr/>
        </p:nvSpPr>
        <p:spPr>
          <a:xfrm>
            <a:off x="2260155" y="711251"/>
            <a:ext cx="4857617" cy="3683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b="1" dirty="0" smtClean="0">
                <a:solidFill>
                  <a:prstClr val="black"/>
                </a:solidFill>
                <a:latin typeface="微软雅黑" panose="020B0503020204020204" pitchFamily="34" charset="-122"/>
              </a:rPr>
              <a:t>5</a:t>
            </a:r>
            <a:r>
              <a:rPr lang="zh-CN" altLang="en-US" b="1" dirty="0">
                <a:solidFill>
                  <a:prstClr val="black"/>
                </a:solidFill>
                <a:latin typeface="微软雅黑" panose="020B0503020204020204" pitchFamily="34" charset="-122"/>
              </a:rPr>
              <a:t>种产品开发技术模式</a:t>
            </a:r>
            <a:endParaRPr lang="en-US" altLang="zh-CN" b="1" dirty="0">
              <a:solidFill>
                <a:prstClr val="black"/>
              </a:solidFill>
              <a:latin typeface="微软雅黑" panose="020B0503020204020204" pitchFamily="34" charset="-122"/>
            </a:endParaRPr>
          </a:p>
        </p:txBody>
      </p:sp>
      <p:graphicFrame>
        <p:nvGraphicFramePr>
          <p:cNvPr id="7" name="表格 6"/>
          <p:cNvGraphicFramePr>
            <a:graphicFrameLocks noGrp="1"/>
          </p:cNvGraphicFramePr>
          <p:nvPr/>
        </p:nvGraphicFramePr>
        <p:xfrm>
          <a:off x="898398" y="1053293"/>
          <a:ext cx="7557135" cy="2818923"/>
        </p:xfrm>
        <a:graphic>
          <a:graphicData uri="http://schemas.openxmlformats.org/drawingml/2006/table">
            <a:tbl>
              <a:tblPr/>
              <a:tblGrid>
                <a:gridCol w="1921510"/>
                <a:gridCol w="956310"/>
                <a:gridCol w="937260"/>
                <a:gridCol w="809625"/>
                <a:gridCol w="1102360"/>
                <a:gridCol w="988060"/>
                <a:gridCol w="842010"/>
              </a:tblGrid>
              <a:tr h="58547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5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数据产品开发模式</a:t>
                      </a:r>
                    </a:p>
                  </a:txBody>
                  <a:tcPr marL="7143" marR="7143" marT="71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5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后端技术方案</a:t>
                      </a:r>
                      <a:endParaRPr lang="zh-CN" altLang="en-US" sz="1500" b="1" i="0" u="none" strike="noStrike" dirty="0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43" marR="7143" marT="71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5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前端技术方案</a:t>
                      </a:r>
                      <a:endParaRPr lang="zh-CN" altLang="en-US" sz="1500" b="1" i="0" u="none" strike="noStrike" dirty="0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43" marR="7143" marT="71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5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数据</a:t>
                      </a:r>
                      <a:r>
                        <a:rPr lang="zh-CN" altLang="en-US" sz="15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可视化技术</a:t>
                      </a:r>
                      <a:endParaRPr lang="zh-CN" altLang="en-US" sz="1500" b="1" i="0" u="none" strike="noStrike" dirty="0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43" marR="7143" marT="71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5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用户交互模式支持</a:t>
                      </a:r>
                    </a:p>
                  </a:txBody>
                  <a:tcPr marL="7143" marR="7143" marT="71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5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交付格式</a:t>
                      </a:r>
                      <a:endParaRPr lang="zh-CN" altLang="en-US" sz="1500" b="1" i="0" u="none" strike="noStrike" dirty="0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43" marR="7143" marT="71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5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开发周期</a:t>
                      </a:r>
                      <a:r>
                        <a:rPr lang="en-US" altLang="zh-CN" sz="15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/>
                      </a:r>
                      <a:br>
                        <a:rPr lang="en-US" altLang="zh-CN" sz="15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</a:br>
                      <a:r>
                        <a:rPr lang="zh-CN" altLang="en-US" sz="12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（不含</a:t>
                      </a:r>
                      <a:r>
                        <a:rPr lang="en-US" altLang="zh-CN" sz="12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ETL</a:t>
                      </a:r>
                      <a:r>
                        <a:rPr lang="zh-CN" altLang="en-US" sz="12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）</a:t>
                      </a:r>
                      <a:endParaRPr lang="zh-CN" alt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43" marR="7143" marT="71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</a:tr>
              <a:tr h="43688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35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自动化分析监控短信</a:t>
                      </a:r>
                    </a:p>
                  </a:txBody>
                  <a:tcPr marL="7143" marR="7143" marT="71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SAS</a:t>
                      </a:r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宏</a:t>
                      </a:r>
                      <a:r>
                        <a:rPr lang="zh-CN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编程</a:t>
                      </a:r>
                      <a:r>
                        <a:rPr lang="en-US" altLang="zh-CN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/>
                      </a:r>
                      <a:br>
                        <a:rPr lang="en-US" altLang="zh-CN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</a:b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SAS Pipe</a:t>
                      </a:r>
                      <a:r>
                        <a:rPr lang="zh-CN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编程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43" marR="7143" marT="71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无需前端开发</a:t>
                      </a:r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43" marR="7143" marT="71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无</a:t>
                      </a:r>
                    </a:p>
                  </a:txBody>
                  <a:tcPr marL="7143" marR="7143" marT="71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自动推送</a:t>
                      </a:r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43" marR="7143" marT="71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自动短</a:t>
                      </a:r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信</a:t>
                      </a:r>
                    </a:p>
                  </a:txBody>
                  <a:tcPr marL="7143" marR="7143" marT="71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-2</a:t>
                      </a:r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天</a:t>
                      </a:r>
                    </a:p>
                  </a:txBody>
                  <a:tcPr marL="7143" marR="7143" marT="71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52755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35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快速非交互式报表</a:t>
                      </a:r>
                    </a:p>
                  </a:txBody>
                  <a:tcPr marL="7143" marR="7143" marT="71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SAS</a:t>
                      </a:r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宏</a:t>
                      </a:r>
                      <a:r>
                        <a:rPr lang="zh-CN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编程</a:t>
                      </a:r>
                      <a:r>
                        <a:rPr lang="en-US" altLang="zh-CN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/>
                      </a:r>
                      <a:br>
                        <a:rPr lang="en-US" altLang="zh-CN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</a:b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SAS 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ODS</a:t>
                      </a:r>
                    </a:p>
                  </a:txBody>
                  <a:tcPr marL="7143" marR="7143" marT="71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无需前端开发</a:t>
                      </a:r>
                    </a:p>
                  </a:txBody>
                  <a:tcPr marL="7143" marR="7143" marT="71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SAS SGPLOT</a:t>
                      </a:r>
                    </a:p>
                  </a:txBody>
                  <a:tcPr marL="7143" marR="7143" marT="71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自动推送</a:t>
                      </a:r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43" marR="7143" marT="71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自动</a:t>
                      </a: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PDF</a:t>
                      </a:r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报表</a:t>
                      </a:r>
                    </a:p>
                  </a:txBody>
                  <a:tcPr marL="7143" marR="7143" marT="71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-2</a:t>
                      </a:r>
                      <a:r>
                        <a:rPr lang="zh-CN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天</a:t>
                      </a:r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43" marR="7143" marT="71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46405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35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自助配置交互式</a:t>
                      </a:r>
                      <a:r>
                        <a:rPr lang="zh-CN" altLang="en-US" sz="135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报表</a:t>
                      </a:r>
                    </a:p>
                  </a:txBody>
                  <a:tcPr marL="7143" marR="7143" marT="71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SAS</a:t>
                      </a:r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宏</a:t>
                      </a:r>
                      <a:r>
                        <a:rPr lang="zh-CN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编程</a:t>
                      </a:r>
                      <a:r>
                        <a:rPr lang="en-US" altLang="zh-CN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/>
                      </a:r>
                      <a:br>
                        <a:rPr lang="en-US" altLang="zh-CN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</a:br>
                      <a:r>
                        <a:rPr lang="en-US" altLang="zh-CN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SAS</a:t>
                      </a:r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存储过程</a:t>
                      </a:r>
                    </a:p>
                  </a:txBody>
                  <a:tcPr marL="7143" marR="7143" marT="71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无需前端开发</a:t>
                      </a:r>
                    </a:p>
                  </a:txBody>
                  <a:tcPr marL="7143" marR="7143" marT="71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SAS SGPLOT</a:t>
                      </a:r>
                    </a:p>
                  </a:txBody>
                  <a:tcPr marL="7143" marR="7143" marT="71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简单表单交互</a:t>
                      </a:r>
                    </a:p>
                  </a:txBody>
                  <a:tcPr marL="7143" marR="7143" marT="71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SAS</a:t>
                      </a:r>
                      <a:r>
                        <a:rPr lang="zh-CN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储存过程表</a:t>
                      </a:r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单</a:t>
                      </a:r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+</a:t>
                      </a:r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静态</a:t>
                      </a:r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H5</a:t>
                      </a:r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页面</a:t>
                      </a:r>
                    </a:p>
                  </a:txBody>
                  <a:tcPr marL="7143" marR="7143" marT="71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-2</a:t>
                      </a:r>
                      <a:r>
                        <a:rPr lang="zh-CN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天</a:t>
                      </a:r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43" marR="7143" marT="71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7879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35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前后端分离式数据产品</a:t>
                      </a:r>
                    </a:p>
                  </a:txBody>
                  <a:tcPr marL="7143" marR="7143" marT="71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SAS</a:t>
                      </a:r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宏</a:t>
                      </a:r>
                      <a:r>
                        <a:rPr lang="zh-CN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编程</a:t>
                      </a:r>
                      <a:r>
                        <a:rPr lang="en-US" altLang="zh-CN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/>
                      </a:r>
                      <a:br>
                        <a:rPr lang="en-US" altLang="zh-CN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</a:br>
                      <a:r>
                        <a:rPr lang="en-US" altLang="zh-CN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SAS</a:t>
                      </a:r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存储过程</a:t>
                      </a:r>
                      <a:r>
                        <a:rPr lang="zh-CN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，</a:t>
                      </a:r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43" marR="7143" marT="71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H5,</a:t>
                      </a:r>
                      <a:r>
                        <a:rPr lang="en-US" altLang="zh-CN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CSS, </a:t>
                      </a:r>
                      <a:r>
                        <a:rPr lang="en-US" altLang="zh-CN" sz="9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Javascript</a:t>
                      </a:r>
                      <a:r>
                        <a:rPr lang="en-US" altLang="zh-CN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, JQuery, </a:t>
                      </a:r>
                      <a:r>
                        <a:rPr lang="en-US" altLang="zh-CN" sz="9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Echarts</a:t>
                      </a:r>
                      <a:endParaRPr lang="zh-CN" altLang="en-US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43" marR="7143" marT="71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Echarts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43" marR="7143" marT="71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灵活自定义</a:t>
                      </a:r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交互</a:t>
                      </a:r>
                    </a:p>
                  </a:txBody>
                  <a:tcPr marL="7143" marR="7143" marT="71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动态</a:t>
                      </a: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H5</a:t>
                      </a:r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页面</a:t>
                      </a:r>
                    </a:p>
                  </a:txBody>
                  <a:tcPr marL="7143" marR="7143" marT="71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-2</a:t>
                      </a:r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周</a:t>
                      </a:r>
                    </a:p>
                  </a:txBody>
                  <a:tcPr marL="7143" marR="7143" marT="71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18465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35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前后端混合式数据产品</a:t>
                      </a:r>
                    </a:p>
                  </a:txBody>
                  <a:tcPr marL="7143" marR="7143" marT="71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SAS</a:t>
                      </a:r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宏</a:t>
                      </a:r>
                      <a:r>
                        <a:rPr lang="zh-CN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编程</a:t>
                      </a:r>
                      <a:r>
                        <a:rPr lang="en-US" altLang="zh-CN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/>
                      </a:r>
                      <a:br>
                        <a:rPr lang="en-US" altLang="zh-CN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</a:br>
                      <a:r>
                        <a:rPr lang="en-US" altLang="zh-CN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SAS</a:t>
                      </a:r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存储</a:t>
                      </a:r>
                      <a:r>
                        <a:rPr lang="zh-CN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过程</a:t>
                      </a:r>
                      <a:endParaRPr lang="en-US" altLang="zh-CN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SAS ODS</a:t>
                      </a:r>
                      <a:endParaRPr lang="zh-CN" altLang="en-US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43" marR="7143" marT="71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H5,</a:t>
                      </a:r>
                      <a:r>
                        <a:rPr lang="en-US" altLang="zh-CN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CSS, </a:t>
                      </a:r>
                      <a:r>
                        <a:rPr lang="en-US" altLang="zh-CN" sz="9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Javascript</a:t>
                      </a:r>
                      <a:r>
                        <a:rPr lang="en-US" altLang="zh-CN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, JQuery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43" marR="7143" marT="71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SAS SGPLOT, </a:t>
                      </a:r>
                      <a:r>
                        <a:rPr lang="en-US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Echarts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43" marR="7143" marT="71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灵活自定义</a:t>
                      </a:r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交互</a:t>
                      </a:r>
                    </a:p>
                  </a:txBody>
                  <a:tcPr marL="7143" marR="7143" marT="71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动态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H5</a:t>
                      </a:r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页面</a:t>
                      </a:r>
                    </a:p>
                  </a:txBody>
                  <a:tcPr marL="7143" marR="7143" marT="71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-3</a:t>
                      </a:r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周</a:t>
                      </a:r>
                    </a:p>
                  </a:txBody>
                  <a:tcPr marL="7143" marR="7143" marT="71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9" name="矩形 8"/>
          <p:cNvSpPr/>
          <p:nvPr/>
        </p:nvSpPr>
        <p:spPr>
          <a:xfrm>
            <a:off x="1121881" y="4451459"/>
            <a:ext cx="6940569" cy="645160"/>
          </a:xfrm>
          <a:prstGeom prst="rect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/>
            <a:r>
              <a:rPr lang="zh-CN" altLang="en-US" b="1" dirty="0">
                <a:solidFill>
                  <a:srgbClr val="FFFFFF"/>
                </a:solidFill>
                <a:latin typeface="微软雅黑" panose="020B0503020204020204" pitchFamily="34" charset="-122"/>
              </a:rPr>
              <a:t>基本建立了</a:t>
            </a:r>
            <a:r>
              <a:rPr lang="en-US" altLang="zh-CN" b="1" dirty="0">
                <a:solidFill>
                  <a:srgbClr val="FFFFFF"/>
                </a:solidFill>
                <a:latin typeface="微软雅黑" panose="020B0503020204020204" pitchFamily="34" charset="-122"/>
              </a:rPr>
              <a:t>AAA</a:t>
            </a:r>
            <a:r>
              <a:rPr lang="zh-CN" altLang="en-US" b="1" dirty="0">
                <a:solidFill>
                  <a:srgbClr val="FFFFFF"/>
                </a:solidFill>
                <a:latin typeface="微软雅黑" panose="020B0503020204020204" pitchFamily="34" charset="-122"/>
              </a:rPr>
              <a:t>（</a:t>
            </a:r>
            <a:r>
              <a:rPr lang="en-US" altLang="zh-CN" b="1" dirty="0">
                <a:solidFill>
                  <a:srgbClr val="FFFFFF"/>
                </a:solidFill>
                <a:latin typeface="微软雅黑" panose="020B0503020204020204" pitchFamily="34" charset="-122"/>
              </a:rPr>
              <a:t>Agile and Automatic Analytics</a:t>
            </a:r>
            <a:r>
              <a:rPr lang="zh-CN" altLang="en-US" b="1" dirty="0">
                <a:solidFill>
                  <a:srgbClr val="FFFFFF"/>
                </a:solidFill>
                <a:latin typeface="微软雅黑" panose="020B0503020204020204" pitchFamily="34" charset="-122"/>
              </a:rPr>
              <a:t>）开发能力，</a:t>
            </a:r>
            <a:endParaRPr lang="en-US" altLang="zh-CN" b="1" dirty="0">
              <a:solidFill>
                <a:srgbClr val="FFFFFF"/>
              </a:solidFill>
              <a:latin typeface="微软雅黑" panose="020B0503020204020204" pitchFamily="34" charset="-122"/>
            </a:endParaRPr>
          </a:p>
          <a:p>
            <a:pPr algn="ctr"/>
            <a:r>
              <a:rPr lang="zh-CN" altLang="en-US" b="1" dirty="0">
                <a:solidFill>
                  <a:srgbClr val="FFFFFF"/>
                </a:solidFill>
                <a:latin typeface="微软雅黑" panose="020B0503020204020204" pitchFamily="34" charset="-122"/>
              </a:rPr>
              <a:t>即数据分析支持的“一条龙服务”模式</a:t>
            </a:r>
            <a:endParaRPr lang="en-US" altLang="zh-CN" b="1" dirty="0">
              <a:solidFill>
                <a:srgbClr val="FFFFFF"/>
              </a:solidFill>
              <a:latin typeface="微软雅黑" panose="020B0503020204020204" pitchFamily="34" charset="-122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2196449" y="3876722"/>
            <a:ext cx="4098925" cy="3219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1500" b="1" dirty="0">
                <a:solidFill>
                  <a:srgbClr val="000000"/>
                </a:solidFill>
              </a:rPr>
              <a:t>所有</a:t>
            </a:r>
            <a:r>
              <a:rPr lang="en-US" altLang="zh-CN" sz="1500" b="1" dirty="0">
                <a:solidFill>
                  <a:srgbClr val="000000"/>
                </a:solidFill>
              </a:rPr>
              <a:t>5</a:t>
            </a:r>
            <a:r>
              <a:rPr lang="zh-CN" altLang="en-US" sz="1500" b="1" dirty="0">
                <a:solidFill>
                  <a:srgbClr val="000000"/>
                </a:solidFill>
              </a:rPr>
              <a:t>种模式都可由数据分析师独立完成全</a:t>
            </a:r>
            <a:r>
              <a:rPr lang="zh-CN" altLang="en-US" sz="1500" b="1" dirty="0" smtClean="0">
                <a:solidFill>
                  <a:srgbClr val="000000"/>
                </a:solidFill>
              </a:rPr>
              <a:t>流程</a:t>
            </a:r>
            <a:endParaRPr lang="zh-CN" altLang="en-US" sz="1500" b="1" dirty="0">
              <a:solidFill>
                <a:srgbClr val="000000"/>
              </a:solidFill>
            </a:endParaRPr>
          </a:p>
        </p:txBody>
      </p:sp>
      <p:sp>
        <p:nvSpPr>
          <p:cNvPr id="11" name="下箭头 10"/>
          <p:cNvSpPr/>
          <p:nvPr/>
        </p:nvSpPr>
        <p:spPr>
          <a:xfrm>
            <a:off x="4097800" y="4178460"/>
            <a:ext cx="620138" cy="213383"/>
          </a:xfrm>
          <a:prstGeom prst="downArrow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>
              <a:solidFill>
                <a:srgbClr val="FFFFFF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当前金融创新部大</a:t>
            </a:r>
            <a:r>
              <a:rPr lang="zh-CN" altLang="en-US" dirty="0" smtClean="0"/>
              <a:t>数据中心开发的数据产品</a:t>
            </a:r>
            <a:r>
              <a:rPr lang="zh-CN" altLang="en-US" dirty="0"/>
              <a:t>示例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7620712" y="4886643"/>
            <a:ext cx="1019653" cy="154786"/>
          </a:xfrm>
        </p:spPr>
        <p:txBody>
          <a:bodyPr/>
          <a:lstStyle/>
          <a:p>
            <a:pPr>
              <a:defRPr/>
            </a:pPr>
            <a:fld id="{5DD3DB80-B894-403A-B48E-6FDC1A72010E}" type="slidenum">
              <a:rPr lang="zh-CN" altLang="en-US" sz="425" smtClean="0">
                <a:solidFill>
                  <a:srgbClr val="000000"/>
                </a:solidFill>
              </a:rPr>
              <a:t>8</a:t>
            </a:fld>
            <a:endParaRPr lang="zh-CN" altLang="en-US" sz="425">
              <a:solidFill>
                <a:srgbClr val="000000"/>
              </a:solidFill>
            </a:endParaRPr>
          </a:p>
        </p:txBody>
      </p:sp>
      <p:sp>
        <p:nvSpPr>
          <p:cNvPr id="6" name="矩形 5"/>
          <p:cNvSpPr/>
          <p:nvPr/>
        </p:nvSpPr>
        <p:spPr>
          <a:xfrm>
            <a:off x="218209" y="867013"/>
            <a:ext cx="2849880" cy="3219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ctr"/>
            <a:r>
              <a:rPr lang="zh-CN" altLang="en-US" sz="1500" b="1" dirty="0">
                <a:solidFill>
                  <a:srgbClr val="000000"/>
                </a:solidFill>
                <a:latin typeface="微软雅黑" panose="020B0503020204020204" pitchFamily="34" charset="-122"/>
              </a:rPr>
              <a:t>渝快</a:t>
            </a:r>
            <a:r>
              <a:rPr lang="zh-CN" altLang="en-US" sz="1500" b="1" dirty="0" smtClean="0">
                <a:solidFill>
                  <a:srgbClr val="000000"/>
                </a:solidFill>
                <a:latin typeface="微软雅黑" panose="020B0503020204020204" pitchFamily="34" charset="-122"/>
              </a:rPr>
              <a:t>贷审批自动化监控</a:t>
            </a:r>
            <a:r>
              <a:rPr lang="zh-CN" altLang="en-US" sz="1500" b="1" dirty="0">
                <a:solidFill>
                  <a:srgbClr val="000000"/>
                </a:solidFill>
                <a:latin typeface="微软雅黑" panose="020B0503020204020204" pitchFamily="34" charset="-122"/>
              </a:rPr>
              <a:t>日报短信</a:t>
            </a:r>
          </a:p>
        </p:txBody>
      </p:sp>
      <p:grpSp>
        <p:nvGrpSpPr>
          <p:cNvPr id="16" name="组合 15"/>
          <p:cNvGrpSpPr/>
          <p:nvPr/>
        </p:nvGrpSpPr>
        <p:grpSpPr>
          <a:xfrm>
            <a:off x="539750" y="1258570"/>
            <a:ext cx="2034540" cy="3784600"/>
            <a:chOff x="918578" y="1240229"/>
            <a:chExt cx="2513951" cy="5274871"/>
          </a:xfrm>
        </p:grpSpPr>
        <p:grpSp>
          <p:nvGrpSpPr>
            <p:cNvPr id="13" name="组合 12"/>
            <p:cNvGrpSpPr/>
            <p:nvPr/>
          </p:nvGrpSpPr>
          <p:grpSpPr>
            <a:xfrm>
              <a:off x="918578" y="1240229"/>
              <a:ext cx="2513951" cy="5274871"/>
              <a:chOff x="669924" y="1320654"/>
              <a:chExt cx="2513951" cy="5274871"/>
            </a:xfrm>
          </p:grpSpPr>
          <p:sp>
            <p:nvSpPr>
              <p:cNvPr id="8" name="ís1íḍè"/>
              <p:cNvSpPr/>
              <p:nvPr/>
            </p:nvSpPr>
            <p:spPr bwMode="auto">
              <a:xfrm>
                <a:off x="669924" y="1320654"/>
                <a:ext cx="2513951" cy="5274871"/>
              </a:xfrm>
              <a:custGeom>
                <a:avLst/>
                <a:gdLst>
                  <a:gd name="T0" fmla="*/ 1592 w 1592"/>
                  <a:gd name="T1" fmla="*/ 2654 h 2796"/>
                  <a:gd name="T2" fmla="*/ 1459 w 1592"/>
                  <a:gd name="T3" fmla="*/ 2796 h 2796"/>
                  <a:gd name="T4" fmla="*/ 144 w 1592"/>
                  <a:gd name="T5" fmla="*/ 2796 h 2796"/>
                  <a:gd name="T6" fmla="*/ 0 w 1592"/>
                  <a:gd name="T7" fmla="*/ 2654 h 2796"/>
                  <a:gd name="T8" fmla="*/ 0 w 1592"/>
                  <a:gd name="T9" fmla="*/ 131 h 2796"/>
                  <a:gd name="T10" fmla="*/ 144 w 1592"/>
                  <a:gd name="T11" fmla="*/ 0 h 2796"/>
                  <a:gd name="T12" fmla="*/ 1459 w 1592"/>
                  <a:gd name="T13" fmla="*/ 0 h 2796"/>
                  <a:gd name="T14" fmla="*/ 1592 w 1592"/>
                  <a:gd name="T15" fmla="*/ 131 h 2796"/>
                  <a:gd name="T16" fmla="*/ 1592 w 1592"/>
                  <a:gd name="T17" fmla="*/ 2654 h 27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592" h="2796">
                    <a:moveTo>
                      <a:pt x="1592" y="2654"/>
                    </a:moveTo>
                    <a:cubicBezTo>
                      <a:pt x="1592" y="2730"/>
                      <a:pt x="1535" y="2796"/>
                      <a:pt x="1459" y="2796"/>
                    </a:cubicBezTo>
                    <a:cubicBezTo>
                      <a:pt x="144" y="2796"/>
                      <a:pt x="144" y="2796"/>
                      <a:pt x="144" y="2796"/>
                    </a:cubicBezTo>
                    <a:cubicBezTo>
                      <a:pt x="68" y="2796"/>
                      <a:pt x="0" y="2730"/>
                      <a:pt x="0" y="2654"/>
                    </a:cubicBezTo>
                    <a:cubicBezTo>
                      <a:pt x="0" y="131"/>
                      <a:pt x="0" y="131"/>
                      <a:pt x="0" y="131"/>
                    </a:cubicBezTo>
                    <a:cubicBezTo>
                      <a:pt x="0" y="56"/>
                      <a:pt x="68" y="0"/>
                      <a:pt x="144" y="0"/>
                    </a:cubicBezTo>
                    <a:cubicBezTo>
                      <a:pt x="1459" y="0"/>
                      <a:pt x="1459" y="0"/>
                      <a:pt x="1459" y="0"/>
                    </a:cubicBezTo>
                    <a:cubicBezTo>
                      <a:pt x="1535" y="0"/>
                      <a:pt x="1592" y="56"/>
                      <a:pt x="1592" y="131"/>
                    </a:cubicBezTo>
                    <a:lnTo>
                      <a:pt x="1592" y="2654"/>
                    </a:lnTo>
                    <a:close/>
                  </a:path>
                </a:pathLst>
              </a:custGeom>
              <a:solidFill>
                <a:srgbClr val="442E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10" name="iŝliḓé"/>
              <p:cNvSpPr/>
              <p:nvPr/>
            </p:nvSpPr>
            <p:spPr bwMode="auto">
              <a:xfrm>
                <a:off x="866214" y="1795320"/>
                <a:ext cx="2094669" cy="4154228"/>
              </a:xfrm>
              <a:custGeom>
                <a:avLst/>
                <a:gdLst>
                  <a:gd name="T0" fmla="*/ 730 w 730"/>
                  <a:gd name="T1" fmla="*/ 1164 h 1164"/>
                  <a:gd name="T2" fmla="*/ 0 w 730"/>
                  <a:gd name="T3" fmla="*/ 1164 h 1164"/>
                  <a:gd name="T4" fmla="*/ 0 w 730"/>
                  <a:gd name="T5" fmla="*/ 0 h 1164"/>
                  <a:gd name="T6" fmla="*/ 730 w 730"/>
                  <a:gd name="T7" fmla="*/ 0 h 1164"/>
                  <a:gd name="T8" fmla="*/ 730 w 730"/>
                  <a:gd name="T9" fmla="*/ 1164 h 1164"/>
                  <a:gd name="T10" fmla="*/ 9 w 730"/>
                  <a:gd name="T11" fmla="*/ 1155 h 1164"/>
                  <a:gd name="T12" fmla="*/ 722 w 730"/>
                  <a:gd name="T13" fmla="*/ 1155 h 1164"/>
                  <a:gd name="T14" fmla="*/ 722 w 730"/>
                  <a:gd name="T15" fmla="*/ 9 h 1164"/>
                  <a:gd name="T16" fmla="*/ 9 w 730"/>
                  <a:gd name="T17" fmla="*/ 9 h 1164"/>
                  <a:gd name="T18" fmla="*/ 9 w 730"/>
                  <a:gd name="T19" fmla="*/ 1155 h 1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30" h="1164">
                    <a:moveTo>
                      <a:pt x="730" y="1164"/>
                    </a:moveTo>
                    <a:lnTo>
                      <a:pt x="0" y="1164"/>
                    </a:lnTo>
                    <a:lnTo>
                      <a:pt x="0" y="0"/>
                    </a:lnTo>
                    <a:lnTo>
                      <a:pt x="730" y="0"/>
                    </a:lnTo>
                    <a:lnTo>
                      <a:pt x="730" y="1164"/>
                    </a:lnTo>
                    <a:close/>
                    <a:moveTo>
                      <a:pt x="9" y="1155"/>
                    </a:moveTo>
                    <a:lnTo>
                      <a:pt x="722" y="1155"/>
                    </a:lnTo>
                    <a:lnTo>
                      <a:pt x="722" y="9"/>
                    </a:lnTo>
                    <a:lnTo>
                      <a:pt x="9" y="9"/>
                    </a:lnTo>
                    <a:lnTo>
                      <a:pt x="9" y="1155"/>
                    </a:lnTo>
                    <a:close/>
                  </a:path>
                </a:pathLst>
              </a:custGeom>
              <a:solidFill>
                <a:srgbClr val="301F1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11" name="íṩľîḍe"/>
              <p:cNvSpPr>
                <a:spLocks noChangeAspect="1"/>
              </p:cNvSpPr>
              <p:nvPr/>
            </p:nvSpPr>
            <p:spPr bwMode="auto">
              <a:xfrm>
                <a:off x="1697998" y="6087983"/>
                <a:ext cx="403290" cy="383201"/>
              </a:xfrm>
              <a:prstGeom prst="ellipse">
                <a:avLst/>
              </a:prstGeom>
              <a:solidFill>
                <a:srgbClr val="6049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12" name="iṧḻíḑe"/>
              <p:cNvSpPr>
                <a:spLocks noChangeAspect="1"/>
              </p:cNvSpPr>
              <p:nvPr/>
            </p:nvSpPr>
            <p:spPr bwMode="auto">
              <a:xfrm>
                <a:off x="1683722" y="6071465"/>
                <a:ext cx="431841" cy="413995"/>
              </a:xfrm>
              <a:custGeom>
                <a:avLst/>
                <a:gdLst>
                  <a:gd name="T0" fmla="*/ 115 w 230"/>
                  <a:gd name="T1" fmla="*/ 229 h 229"/>
                  <a:gd name="T2" fmla="*/ 0 w 230"/>
                  <a:gd name="T3" fmla="*/ 115 h 229"/>
                  <a:gd name="T4" fmla="*/ 115 w 230"/>
                  <a:gd name="T5" fmla="*/ 0 h 229"/>
                  <a:gd name="T6" fmla="*/ 230 w 230"/>
                  <a:gd name="T7" fmla="*/ 115 h 229"/>
                  <a:gd name="T8" fmla="*/ 115 w 230"/>
                  <a:gd name="T9" fmla="*/ 229 h 229"/>
                  <a:gd name="T10" fmla="*/ 115 w 230"/>
                  <a:gd name="T11" fmla="*/ 16 h 229"/>
                  <a:gd name="T12" fmla="*/ 17 w 230"/>
                  <a:gd name="T13" fmla="*/ 115 h 229"/>
                  <a:gd name="T14" fmla="*/ 115 w 230"/>
                  <a:gd name="T15" fmla="*/ 213 h 229"/>
                  <a:gd name="T16" fmla="*/ 213 w 230"/>
                  <a:gd name="T17" fmla="*/ 115 h 229"/>
                  <a:gd name="T18" fmla="*/ 115 w 230"/>
                  <a:gd name="T19" fmla="*/ 16 h 2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30" h="229">
                    <a:moveTo>
                      <a:pt x="115" y="229"/>
                    </a:moveTo>
                    <a:cubicBezTo>
                      <a:pt x="52" y="229"/>
                      <a:pt x="0" y="178"/>
                      <a:pt x="0" y="115"/>
                    </a:cubicBezTo>
                    <a:cubicBezTo>
                      <a:pt x="0" y="52"/>
                      <a:pt x="52" y="0"/>
                      <a:pt x="115" y="0"/>
                    </a:cubicBezTo>
                    <a:cubicBezTo>
                      <a:pt x="178" y="0"/>
                      <a:pt x="230" y="52"/>
                      <a:pt x="230" y="115"/>
                    </a:cubicBezTo>
                    <a:cubicBezTo>
                      <a:pt x="230" y="178"/>
                      <a:pt x="178" y="229"/>
                      <a:pt x="115" y="229"/>
                    </a:cubicBezTo>
                    <a:close/>
                    <a:moveTo>
                      <a:pt x="115" y="16"/>
                    </a:moveTo>
                    <a:cubicBezTo>
                      <a:pt x="61" y="16"/>
                      <a:pt x="17" y="61"/>
                      <a:pt x="17" y="115"/>
                    </a:cubicBezTo>
                    <a:cubicBezTo>
                      <a:pt x="17" y="169"/>
                      <a:pt x="61" y="213"/>
                      <a:pt x="115" y="213"/>
                    </a:cubicBezTo>
                    <a:cubicBezTo>
                      <a:pt x="169" y="213"/>
                      <a:pt x="213" y="169"/>
                      <a:pt x="213" y="115"/>
                    </a:cubicBezTo>
                    <a:cubicBezTo>
                      <a:pt x="213" y="61"/>
                      <a:pt x="169" y="16"/>
                      <a:pt x="115" y="16"/>
                    </a:cubicBezTo>
                    <a:close/>
                  </a:path>
                </a:pathLst>
              </a:custGeom>
              <a:solidFill>
                <a:srgbClr val="FDC57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>
                  <a:solidFill>
                    <a:srgbClr val="000000"/>
                  </a:solidFill>
                </a:endParaRPr>
              </a:p>
            </p:txBody>
          </p:sp>
          <p:pic>
            <p:nvPicPr>
              <p:cNvPr id="3" name="图片 2"/>
              <p:cNvPicPr>
                <a:picLocks noChangeAspect="1"/>
              </p:cNvPicPr>
              <p:nvPr/>
            </p:nvPicPr>
            <p:blipFill rotWithShape="1">
              <a:blip r:embed="rId2"/>
              <a:srcRect l="2063" t="811" b="7965"/>
              <a:stretch>
                <a:fillRect/>
              </a:stretch>
            </p:blipFill>
            <p:spPr>
              <a:xfrm>
                <a:off x="923543" y="1847088"/>
                <a:ext cx="2037340" cy="4084617"/>
              </a:xfrm>
              <a:prstGeom prst="rect">
                <a:avLst/>
              </a:prstGeom>
              <a:noFill/>
            </p:spPr>
          </p:pic>
        </p:grpSp>
        <p:pic>
          <p:nvPicPr>
            <p:cNvPr id="14" name="图片 13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993509" y="2935644"/>
              <a:ext cx="154596" cy="93695"/>
            </a:xfrm>
            <a:prstGeom prst="rect">
              <a:avLst/>
            </a:prstGeom>
          </p:spPr>
        </p:pic>
        <p:pic>
          <p:nvPicPr>
            <p:cNvPr id="15" name="图片 14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524225" y="2841949"/>
              <a:ext cx="154596" cy="93695"/>
            </a:xfrm>
            <a:prstGeom prst="rect">
              <a:avLst/>
            </a:prstGeom>
          </p:spPr>
        </p:pic>
      </p:grpSp>
      <p:sp>
        <p:nvSpPr>
          <p:cNvPr id="20" name="矩形 19"/>
          <p:cNvSpPr/>
          <p:nvPr/>
        </p:nvSpPr>
        <p:spPr>
          <a:xfrm>
            <a:off x="7214464" y="1334095"/>
            <a:ext cx="1372469" cy="5530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ctr"/>
            <a:r>
              <a:rPr lang="zh-CN" altLang="en-US" sz="1500" b="1" dirty="0">
                <a:solidFill>
                  <a:srgbClr val="000000"/>
                </a:solidFill>
                <a:latin typeface="微软雅黑" panose="020B0503020204020204" pitchFamily="34" charset="-122"/>
              </a:rPr>
              <a:t>经营数据可视化分析系统</a:t>
            </a:r>
          </a:p>
        </p:txBody>
      </p:sp>
      <p:sp>
        <p:nvSpPr>
          <p:cNvPr id="21" name="矩形 20"/>
          <p:cNvSpPr/>
          <p:nvPr/>
        </p:nvSpPr>
        <p:spPr>
          <a:xfrm>
            <a:off x="7239466" y="3634696"/>
            <a:ext cx="1390848" cy="5530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ctr"/>
            <a:r>
              <a:rPr lang="zh-CN" altLang="en-US" sz="1500" b="1" dirty="0" smtClean="0">
                <a:solidFill>
                  <a:srgbClr val="000000"/>
                </a:solidFill>
                <a:latin typeface="微软雅黑" panose="020B0503020204020204" pitchFamily="34" charset="-122"/>
              </a:rPr>
              <a:t>客户画像自助式分析</a:t>
            </a:r>
            <a:r>
              <a:rPr lang="zh-CN" altLang="en-US" sz="1500" b="1" dirty="0">
                <a:solidFill>
                  <a:srgbClr val="000000"/>
                </a:solidFill>
                <a:latin typeface="微软雅黑" panose="020B0503020204020204" pitchFamily="34" charset="-122"/>
              </a:rPr>
              <a:t>工具</a:t>
            </a:r>
          </a:p>
        </p:txBody>
      </p:sp>
      <p:sp>
        <p:nvSpPr>
          <p:cNvPr id="22" name="矩形 21"/>
          <p:cNvSpPr/>
          <p:nvPr/>
        </p:nvSpPr>
        <p:spPr>
          <a:xfrm>
            <a:off x="7277662" y="1963295"/>
            <a:ext cx="1325880" cy="2298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ctr"/>
            <a:r>
              <a:rPr lang="zh-CN" altLang="en-US" sz="900" b="1" u="sng" dirty="0">
                <a:solidFill>
                  <a:srgbClr val="000000"/>
                </a:solidFill>
                <a:latin typeface="微软雅黑" panose="020B0503020204020204" pitchFamily="34" charset="-122"/>
              </a:rPr>
              <a:t>前后端分离式数据产品</a:t>
            </a:r>
          </a:p>
        </p:txBody>
      </p:sp>
      <p:sp>
        <p:nvSpPr>
          <p:cNvPr id="23" name="矩形 22"/>
          <p:cNvSpPr/>
          <p:nvPr/>
        </p:nvSpPr>
        <p:spPr>
          <a:xfrm>
            <a:off x="7271950" y="4293985"/>
            <a:ext cx="1325880" cy="2298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ctr"/>
            <a:r>
              <a:rPr lang="zh-CN" altLang="en-US" sz="900" b="1" u="sng" dirty="0">
                <a:solidFill>
                  <a:srgbClr val="000000"/>
                </a:solidFill>
                <a:latin typeface="微软雅黑" panose="020B0503020204020204" pitchFamily="34" charset="-122"/>
              </a:rPr>
              <a:t>前后端混合式数据产品</a:t>
            </a:r>
          </a:p>
        </p:txBody>
      </p:sp>
      <p:grpSp>
        <p:nvGrpSpPr>
          <p:cNvPr id="17" name="组合 16"/>
          <p:cNvGrpSpPr/>
          <p:nvPr/>
        </p:nvGrpSpPr>
        <p:grpSpPr>
          <a:xfrm>
            <a:off x="3484880" y="927735"/>
            <a:ext cx="3270885" cy="4013835"/>
            <a:chOff x="5024" y="1013"/>
            <a:chExt cx="6247" cy="6927"/>
          </a:xfrm>
        </p:grpSpPr>
        <p:pic>
          <p:nvPicPr>
            <p:cNvPr id="5" name="图片 4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027" y="4526"/>
              <a:ext cx="6245" cy="3414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  <p:pic>
          <p:nvPicPr>
            <p:cNvPr id="19" name="图片 18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648" y="4675"/>
              <a:ext cx="338" cy="158"/>
            </a:xfrm>
            <a:prstGeom prst="rect">
              <a:avLst/>
            </a:prstGeom>
          </p:spPr>
        </p:pic>
        <p:sp>
          <p:nvSpPr>
            <p:cNvPr id="25" name="圆角矩形 24"/>
            <p:cNvSpPr/>
            <p:nvPr/>
          </p:nvSpPr>
          <p:spPr>
            <a:xfrm>
              <a:off x="6450" y="5228"/>
              <a:ext cx="666" cy="161"/>
            </a:xfrm>
            <a:prstGeom prst="roundRect">
              <a:avLst/>
            </a:prstGeom>
            <a:noFill/>
            <a:ln w="44450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zh-CN" altLang="en-US" sz="1350">
                <a:solidFill>
                  <a:srgbClr val="000000"/>
                </a:solidFill>
              </a:endParaRPr>
            </a:p>
          </p:txBody>
        </p:sp>
        <p:sp>
          <p:nvSpPr>
            <p:cNvPr id="26" name="圆角矩形 25"/>
            <p:cNvSpPr/>
            <p:nvPr/>
          </p:nvSpPr>
          <p:spPr>
            <a:xfrm>
              <a:off x="5311" y="5493"/>
              <a:ext cx="764" cy="185"/>
            </a:xfrm>
            <a:prstGeom prst="roundRect">
              <a:avLst/>
            </a:prstGeom>
            <a:noFill/>
            <a:ln w="44450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zh-CN" altLang="en-US" sz="1350">
                <a:solidFill>
                  <a:srgbClr val="000000"/>
                </a:solidFill>
              </a:endParaRPr>
            </a:p>
          </p:txBody>
        </p:sp>
        <p:pic>
          <p:nvPicPr>
            <p:cNvPr id="28" name="图片 27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057" y="5471"/>
              <a:ext cx="2435" cy="2224"/>
            </a:xfrm>
            <a:prstGeom prst="rect">
              <a:avLst/>
            </a:prstGeom>
          </p:spPr>
        </p:pic>
        <p:grpSp>
          <p:nvGrpSpPr>
            <p:cNvPr id="7" name="组合 6"/>
            <p:cNvGrpSpPr/>
            <p:nvPr/>
          </p:nvGrpSpPr>
          <p:grpSpPr>
            <a:xfrm>
              <a:off x="5024" y="1013"/>
              <a:ext cx="6188" cy="3257"/>
              <a:chOff x="4253841" y="857567"/>
              <a:chExt cx="5239377" cy="2757181"/>
            </a:xfrm>
          </p:grpSpPr>
          <p:pic>
            <p:nvPicPr>
              <p:cNvPr id="9" name="图片 8"/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4253841" y="857567"/>
                <a:ext cx="5239377" cy="2757181"/>
              </a:xfrm>
              <a:prstGeom prst="rect">
                <a:avLst/>
              </a:prstGeom>
              <a:ln>
                <a:noFill/>
              </a:ln>
              <a:effectLst>
                <a:outerShdw blurRad="190500" algn="tl" rotWithShape="0">
                  <a:srgbClr val="000000">
                    <a:alpha val="70000"/>
                  </a:srgbClr>
                </a:outerShdw>
              </a:effectLst>
            </p:spPr>
          </p:pic>
          <p:pic>
            <p:nvPicPr>
              <p:cNvPr id="24" name="图片 23"/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6727433" y="867092"/>
                <a:ext cx="285750" cy="72919"/>
              </a:xfrm>
              <a:prstGeom prst="rect">
                <a:avLst/>
              </a:prstGeom>
              <a:effectLst>
                <a:softEdge rad="12700"/>
              </a:effectLst>
            </p:spPr>
          </p:pic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307340" y="2553335"/>
            <a:ext cx="5080000" cy="746125"/>
          </a:xfrm>
        </p:spPr>
        <p:txBody>
          <a:bodyPr>
            <a:normAutofit/>
          </a:bodyPr>
          <a:lstStyle/>
          <a:p>
            <a:r>
              <a:rPr lang="zh-CN" altLang="en-US" sz="2800" dirty="0">
                <a:solidFill>
                  <a:schemeClr val="accent3">
                    <a:lumMod val="50000"/>
                  </a:schemeClr>
                </a:solidFill>
                <a:sym typeface="+mn-lt"/>
              </a:rPr>
              <a:t>客户画像自助式分析工具介绍</a:t>
            </a:r>
            <a:endParaRPr lang="zh-CN" altLang="en-US" sz="280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3834765" y="1017905"/>
            <a:ext cx="756285" cy="640080"/>
          </a:xfrm>
          <a:prstGeom prst="rect">
            <a:avLst/>
          </a:prstGeom>
          <a:noFill/>
          <a:ln w="117475">
            <a:noFill/>
          </a:ln>
        </p:spPr>
        <p:txBody>
          <a:bodyPr wrap="square" rtlCol="0">
            <a:prstTxWarp prst="textPlain">
              <a:avLst/>
            </a:prstTxWarp>
            <a:spAutoFit/>
          </a:bodyPr>
          <a:lstStyle/>
          <a:p>
            <a:r>
              <a:rPr lang="en-US" altLang="zh-CN" sz="1200" spc="75" dirty="0">
                <a:solidFill>
                  <a:schemeClr val="accent3">
                    <a:lumMod val="50000"/>
                  </a:schemeClr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2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b751056-6b97-492c-b763-340acee7e99d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47996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heme/theme1.xml><?xml version="1.0" encoding="utf-8"?>
<a:theme xmlns:a="http://schemas.openxmlformats.org/drawingml/2006/main" name="主题5">
  <a:themeElements>
    <a:clrScheme name="Aspect">
      <a:dk1>
        <a:sysClr val="windowText" lastClr="000000"/>
      </a:dk1>
      <a:lt1>
        <a:sysClr val="window" lastClr="FFFFFF"/>
      </a:lt1>
      <a:dk2>
        <a:srgbClr val="323232"/>
      </a:dk2>
      <a:lt2>
        <a:srgbClr val="E3DED1"/>
      </a:lt2>
      <a:accent1>
        <a:srgbClr val="F07F09"/>
      </a:accent1>
      <a:accent2>
        <a:srgbClr val="9F2936"/>
      </a:accent2>
      <a:accent3>
        <a:srgbClr val="1B587C"/>
      </a:accent3>
      <a:accent4>
        <a:srgbClr val="4E8542"/>
      </a:accent4>
      <a:accent5>
        <a:srgbClr val="604878"/>
      </a:accent5>
      <a:accent6>
        <a:srgbClr val="C19859"/>
      </a:accent6>
      <a:hlink>
        <a:srgbClr val="6B9F25"/>
      </a:hlink>
      <a:folHlink>
        <a:srgbClr val="B26B02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Aspect">
    <a:dk1>
      <a:sysClr val="windowText" lastClr="000000"/>
    </a:dk1>
    <a:lt1>
      <a:sysClr val="window" lastClr="FFFFFF"/>
    </a:lt1>
    <a:dk2>
      <a:srgbClr val="323232"/>
    </a:dk2>
    <a:lt2>
      <a:srgbClr val="E3DED1"/>
    </a:lt2>
    <a:accent1>
      <a:srgbClr val="F07F09"/>
    </a:accent1>
    <a:accent2>
      <a:srgbClr val="9F2936"/>
    </a:accent2>
    <a:accent3>
      <a:srgbClr val="1B587C"/>
    </a:accent3>
    <a:accent4>
      <a:srgbClr val="4E8542"/>
    </a:accent4>
    <a:accent5>
      <a:srgbClr val="604878"/>
    </a:accent5>
    <a:accent6>
      <a:srgbClr val="C19859"/>
    </a:accent6>
    <a:hlink>
      <a:srgbClr val="6B9F25"/>
    </a:hlink>
    <a:folHlink>
      <a:srgbClr val="B26B02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276</TotalTime>
  <Words>2019</Words>
  <Application>Microsoft Office PowerPoint</Application>
  <PresentationFormat>全屏显示(16:9)</PresentationFormat>
  <Paragraphs>362</Paragraphs>
  <Slides>33</Slides>
  <Notes>17</Notes>
  <HiddenSlides>0</HiddenSlides>
  <MMClips>0</MMClips>
  <ScaleCrop>false</ScaleCrop>
  <HeadingPairs>
    <vt:vector size="8" baseType="variant">
      <vt:variant>
        <vt:lpstr>已用的字体</vt:lpstr>
      </vt:variant>
      <vt:variant>
        <vt:i4>10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4</vt:i4>
      </vt:variant>
      <vt:variant>
        <vt:lpstr>幻灯片标题</vt:lpstr>
      </vt:variant>
      <vt:variant>
        <vt:i4>33</vt:i4>
      </vt:variant>
    </vt:vector>
  </HeadingPairs>
  <TitlesOfParts>
    <vt:vector size="48" baseType="lpstr">
      <vt:lpstr>FontAwesome</vt:lpstr>
      <vt:lpstr>等线</vt:lpstr>
      <vt:lpstr>仿宋</vt:lpstr>
      <vt:lpstr>宋体</vt:lpstr>
      <vt:lpstr>微软雅黑</vt:lpstr>
      <vt:lpstr>Arial</vt:lpstr>
      <vt:lpstr>Arial Black</vt:lpstr>
      <vt:lpstr>Calibri</vt:lpstr>
      <vt:lpstr>Impact</vt:lpstr>
      <vt:lpstr>Times New Roman</vt:lpstr>
      <vt:lpstr>主题5</vt:lpstr>
      <vt:lpstr>think-cell Slide</vt:lpstr>
      <vt:lpstr>Microsoft Word 文档</vt:lpstr>
      <vt:lpstr>Microsoft Word 97 - 2003 文档</vt:lpstr>
      <vt:lpstr>Microsoft Excel 工作表</vt:lpstr>
      <vt:lpstr>重庆农商银行大数据分析平台 暨客户画像自助式分析工具 产品发布会</vt:lpstr>
      <vt:lpstr>PowerPoint 演示文稿</vt:lpstr>
      <vt:lpstr>重庆农商大数据分析平台介绍</vt:lpstr>
      <vt:lpstr>重庆农商行大数据分析平台简介</vt:lpstr>
      <vt:lpstr>金融创新部大数据中心的开发模式：小而美，短平快</vt:lpstr>
      <vt:lpstr>AAA模式：从“流水线”作业到“一条龙”服务</vt:lpstr>
      <vt:lpstr>金融创新部大数据中心 - 数据产品开发技术模式</vt:lpstr>
      <vt:lpstr>当前金融创新部大数据中心开发的数据产品示例</vt:lpstr>
      <vt:lpstr>客户画像自助式分析工具介绍</vt:lpstr>
      <vt:lpstr>为什么要做客户画像自助式分析工具？——解决客户营销痛点，提高营销效率</vt:lpstr>
      <vt:lpstr>客户画像自助式分析工具亮点1——描述客户更全面</vt:lpstr>
      <vt:lpstr>客户画像自助式分析工具亮点2——触达客户更精准</vt:lpstr>
      <vt:lpstr>客户画像自助式分析工具亮点3——用户使用更便捷</vt:lpstr>
      <vt:lpstr>业务需求驱动与数据治理基础建设相结合：客户画像自助式分析工具产品开发全流程</vt:lpstr>
      <vt:lpstr>客户画像数据从何而来？——1.建立数据治理体系，确保数据准确性和高可用性 </vt:lpstr>
      <vt:lpstr>客户画像数据从何而来？——2.打通10+个行内系统，建立客户视图 </vt:lpstr>
      <vt:lpstr>客户画像数据从何而来？——3.跨系统交叉数据验证，全面提升数据质量  </vt:lpstr>
      <vt:lpstr>客户画像数据从何而来？——4.数据加工逻辑可溯源，数据资产管控成体系   </vt:lpstr>
      <vt:lpstr>用户手册</vt:lpstr>
      <vt:lpstr>登陆</vt:lpstr>
      <vt:lpstr>客群筛选——配置筛选标签</vt:lpstr>
      <vt:lpstr>客群筛选——创建自定义分箱方案</vt:lpstr>
      <vt:lpstr>客群筛选——选择标签分组</vt:lpstr>
      <vt:lpstr>画像分析——配置分析标签</vt:lpstr>
      <vt:lpstr>画像分析——计算结果和下载数据</vt:lpstr>
      <vt:lpstr>后续迭代开发计划</vt:lpstr>
      <vt:lpstr>后续迭代开发计划</vt:lpstr>
      <vt:lpstr>访问权限申请流程</vt:lpstr>
      <vt:lpstr>访问权限申请流程——线上和线下结合</vt:lpstr>
      <vt:lpstr>开发需求受理与技术支持</vt:lpstr>
      <vt:lpstr>大数据中心开发需求受理流程</vt:lpstr>
      <vt:lpstr>大数据中心开发需求受理流程</vt:lpstr>
      <vt:lpstr>问题与建议 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孙光辉</cp:lastModifiedBy>
  <cp:revision>117</cp:revision>
  <cp:lastPrinted>2019-04-29T16:00:00Z</cp:lastPrinted>
  <dcterms:created xsi:type="dcterms:W3CDTF">2019-04-29T16:00:00Z</dcterms:created>
  <dcterms:modified xsi:type="dcterms:W3CDTF">2019-05-31T10:16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KSOProductBuildVer">
    <vt:lpwstr>2052-11.1.0.8661</vt:lpwstr>
  </property>
</Properties>
</file>